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tags/tag16.xml" ContentType="application/vnd.openxmlformats-officedocument.presentationml.tags+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2.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3.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4.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5.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tags/tag48.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tags/tag49.xml" ContentType="application/vnd.openxmlformats-officedocument.presentationml.tags+xml"/>
  <Override PartName="/ppt/notesSlides/notesSlide24.xml" ContentType="application/vnd.openxmlformats-officedocument.presentationml.notesSlide+xml"/>
  <Override PartName="/ppt/charts/chart8.xml" ContentType="application/vnd.openxmlformats-officedocument.drawingml.chart+xml"/>
  <Override PartName="/ppt/tags/tag50.xml" ContentType="application/vnd.openxmlformats-officedocument.presentationml.tags+xml"/>
  <Override PartName="/ppt/notesSlides/notesSlide25.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drawings/drawing3.xml" ContentType="application/vnd.openxmlformats-officedocument.drawingml.chartshapes+xml"/>
  <Override PartName="/ppt/charts/chart12.xml" ContentType="application/vnd.openxmlformats-officedocument.drawingml.chart+xml"/>
  <Override PartName="/ppt/drawings/drawing4.xml" ContentType="application/vnd.openxmlformats-officedocument.drawingml.chartshapes+xml"/>
  <Override PartName="/ppt/tags/tag51.xml" ContentType="application/vnd.openxmlformats-officedocument.presentationml.tags+xml"/>
  <Override PartName="/ppt/notesSlides/notesSlide26.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ags/tag52.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53.xml" ContentType="application/vnd.openxmlformats-officedocument.presentationml.tags+xml"/>
  <Override PartName="/ppt/notesSlides/notesSlide27.xml" ContentType="application/vnd.openxmlformats-officedocument.presentationml.notesSlide+xml"/>
  <Override PartName="/ppt/tags/tag54.xml" ContentType="application/vnd.openxmlformats-officedocument.presentationml.tags+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55.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56.xml" ContentType="application/vnd.openxmlformats-officedocument.presentationml.tag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57.xml" ContentType="application/vnd.openxmlformats-officedocument.presentationml.tags+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ppt/tags/tag60.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tags/tag61.xml" ContentType="application/vnd.openxmlformats-officedocument.presentationml.tags+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64.xml" ContentType="application/vnd.openxmlformats-officedocument.presentationml.tags+xml"/>
  <Override PartName="/ppt/tags/tag65.xml" ContentType="application/vnd.openxmlformats-officedocument.presentationml.tags+xml"/>
  <Override PartName="/ppt/charts/chartEx2.xml" ContentType="application/vnd.ms-office.chartex+xml"/>
  <Override PartName="/ppt/charts/style15.xml" ContentType="application/vnd.ms-office.chartstyle+xml"/>
  <Override PartName="/ppt/charts/colors15.xml" ContentType="application/vnd.ms-office.chartcolorstyle+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tags/tag68.xml" ContentType="application/vnd.openxmlformats-officedocument.presentationml.tags+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69.xml" ContentType="application/vnd.openxmlformats-officedocument.presentationml.tags+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70.xml" ContentType="application/vnd.openxmlformats-officedocument.presentationml.tags+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3.xml" ContentType="application/vnd.openxmlformats-officedocument.presentationml.notesSlide+xml"/>
  <Override PartName="/ppt/tags/tag80.xml" ContentType="application/vnd.openxmlformats-officedocument.presentationml.tags+xml"/>
  <Override PartName="/ppt/notesSlides/notesSlide34.xml" ContentType="application/vnd.openxmlformats-officedocument.presentationml.notesSlide+xml"/>
  <Override PartName="/ppt/charts/chart25.xml" ContentType="application/vnd.openxmlformats-officedocument.drawingml.chart+xml"/>
  <Override PartName="/ppt/tags/tag81.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notesSlides/notesSlide36.xml" ContentType="application/vnd.openxmlformats-officedocument.presentationml.notesSlide+xml"/>
  <Override PartName="/ppt/tags/tag83.xml" ContentType="application/vnd.openxmlformats-officedocument.presentationml.tags+xml"/>
  <Override PartName="/ppt/notesSlides/notesSlide37.xml" ContentType="application/vnd.openxmlformats-officedocument.presentationml.notesSlide+xml"/>
  <Override PartName="/ppt/tags/tag84.xml" ContentType="application/vnd.openxmlformats-officedocument.presentationml.tags+xml"/>
  <Override PartName="/ppt/notesSlides/notesSlide38.xml" ContentType="application/vnd.openxmlformats-officedocument.presentationml.notesSlide+xml"/>
  <Override PartName="/ppt/tags/tag85.xml" ContentType="application/vnd.openxmlformats-officedocument.presentationml.tags+xml"/>
  <Override PartName="/ppt/notesSlides/notesSlide39.xml" ContentType="application/vnd.openxmlformats-officedocument.presentationml.notesSlide+xml"/>
  <Override PartName="/ppt/tags/tag86.xml" ContentType="application/vnd.openxmlformats-officedocument.presentationml.tags+xml"/>
  <Override PartName="/ppt/notesSlides/notesSlide40.xml" ContentType="application/vnd.openxmlformats-officedocument.presentationml.notesSlide+xml"/>
  <Override PartName="/ppt/tags/tag87.xml" ContentType="application/vnd.openxmlformats-officedocument.presentationml.tags+xml"/>
  <Override PartName="/ppt/notesSlides/notesSlide4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42.xml" ContentType="application/vnd.openxmlformats-officedocument.presentationml.notesSlide+xml"/>
  <Override PartName="/ppt/tags/tag100.xml" ContentType="application/vnd.openxmlformats-officedocument.presentationml.tags+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ags/tag101.xml" ContentType="application/vnd.openxmlformats-officedocument.presentationml.tags+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charts/chart30.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5.xml" ContentType="application/vnd.openxmlformats-officedocument.drawingml.chartshapes+xml"/>
  <Override PartName="/ppt/tags/tag103.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6.xml" ContentType="application/vnd.openxmlformats-officedocument.drawingml.chartshapes+xml"/>
  <Override PartName="/ppt/tags/tag104.xml" ContentType="application/vnd.openxmlformats-officedocument.presentationml.tags+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ags/tag105.xml" ContentType="application/vnd.openxmlformats-officedocument.presentationml.tags+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ags/tag106.xml" ContentType="application/vnd.openxmlformats-officedocument.presentationml.tags+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43.xml" ContentType="application/vnd.openxmlformats-officedocument.presentationml.notesSlide+xml"/>
  <Override PartName="/ppt/tags/tag124.xml" ContentType="application/vnd.openxmlformats-officedocument.presentationml.tags+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122"/>
  </p:notesMasterIdLst>
  <p:handoutMasterIdLst>
    <p:handoutMasterId r:id="rId123"/>
  </p:handoutMasterIdLst>
  <p:sldIdLst>
    <p:sldId id="2147472762" r:id="rId5"/>
    <p:sldId id="2147472796" r:id="rId6"/>
    <p:sldId id="2147472797" r:id="rId7"/>
    <p:sldId id="2147472798" r:id="rId8"/>
    <p:sldId id="2147472801" r:id="rId9"/>
    <p:sldId id="2147472805" r:id="rId10"/>
    <p:sldId id="2147472804" r:id="rId11"/>
    <p:sldId id="2147472814" r:id="rId12"/>
    <p:sldId id="2147472813" r:id="rId13"/>
    <p:sldId id="2147472802" r:id="rId14"/>
    <p:sldId id="2147472823" r:id="rId15"/>
    <p:sldId id="2147472809" r:id="rId16"/>
    <p:sldId id="2147472807" r:id="rId17"/>
    <p:sldId id="2147472815" r:id="rId18"/>
    <p:sldId id="2147472816" r:id="rId19"/>
    <p:sldId id="2147472819" r:id="rId20"/>
    <p:sldId id="2147472820" r:id="rId21"/>
    <p:sldId id="2147472808" r:id="rId22"/>
    <p:sldId id="2147472812" r:id="rId23"/>
    <p:sldId id="2147472817" r:id="rId24"/>
    <p:sldId id="2147472822" r:id="rId25"/>
    <p:sldId id="2147472806" r:id="rId26"/>
    <p:sldId id="2147472795" r:id="rId27"/>
    <p:sldId id="2147472794" r:id="rId28"/>
    <p:sldId id="2147472772" r:id="rId29"/>
    <p:sldId id="2147472753" r:id="rId30"/>
    <p:sldId id="2147472725" r:id="rId31"/>
    <p:sldId id="2147472754" r:id="rId32"/>
    <p:sldId id="2147472784" r:id="rId33"/>
    <p:sldId id="2147472684" r:id="rId34"/>
    <p:sldId id="433" r:id="rId35"/>
    <p:sldId id="2147472686" r:id="rId36"/>
    <p:sldId id="2147472783" r:id="rId37"/>
    <p:sldId id="2147472726" r:id="rId38"/>
    <p:sldId id="2147472727" r:id="rId39"/>
    <p:sldId id="2147472728" r:id="rId40"/>
    <p:sldId id="2147472675" r:id="rId41"/>
    <p:sldId id="2147472729" r:id="rId42"/>
    <p:sldId id="2147472785" r:id="rId43"/>
    <p:sldId id="2147472731" r:id="rId44"/>
    <p:sldId id="2147472730" r:id="rId45"/>
    <p:sldId id="2147472732" r:id="rId46"/>
    <p:sldId id="2147472733" r:id="rId47"/>
    <p:sldId id="2147472734" r:id="rId48"/>
    <p:sldId id="2147472735" r:id="rId49"/>
    <p:sldId id="2147472786" r:id="rId50"/>
    <p:sldId id="2147472759" r:id="rId51"/>
    <p:sldId id="2147472737" r:id="rId52"/>
    <p:sldId id="2147472739" r:id="rId53"/>
    <p:sldId id="2147472740" r:id="rId54"/>
    <p:sldId id="2147472741" r:id="rId55"/>
    <p:sldId id="2147472787" r:id="rId56"/>
    <p:sldId id="2147472745" r:id="rId57"/>
    <p:sldId id="2147472746" r:id="rId58"/>
    <p:sldId id="2147472788" r:id="rId59"/>
    <p:sldId id="2147472742" r:id="rId60"/>
    <p:sldId id="2147472743" r:id="rId61"/>
    <p:sldId id="2147472744" r:id="rId62"/>
    <p:sldId id="2147472789" r:id="rId63"/>
    <p:sldId id="2147472748" r:id="rId64"/>
    <p:sldId id="2147472749" r:id="rId65"/>
    <p:sldId id="2147472750" r:id="rId66"/>
    <p:sldId id="2147472751" r:id="rId67"/>
    <p:sldId id="2147472790" r:id="rId68"/>
    <p:sldId id="2147472757" r:id="rId69"/>
    <p:sldId id="2147472756" r:id="rId70"/>
    <p:sldId id="2147472755" r:id="rId71"/>
    <p:sldId id="2147472752" r:id="rId72"/>
    <p:sldId id="2147472761" r:id="rId73"/>
    <p:sldId id="2147472791" r:id="rId74"/>
    <p:sldId id="2147472760" r:id="rId75"/>
    <p:sldId id="2147472792" r:id="rId76"/>
    <p:sldId id="2147472678" r:id="rId77"/>
    <p:sldId id="2147472676" r:id="rId78"/>
    <p:sldId id="2147472681" r:id="rId79"/>
    <p:sldId id="2147472677" r:id="rId80"/>
    <p:sldId id="2147472683" r:id="rId81"/>
    <p:sldId id="2147472679" r:id="rId82"/>
    <p:sldId id="2147472673" r:id="rId83"/>
    <p:sldId id="2147472680" r:id="rId84"/>
    <p:sldId id="2147472687" r:id="rId85"/>
    <p:sldId id="2147472688" r:id="rId86"/>
    <p:sldId id="2147472689" r:id="rId87"/>
    <p:sldId id="2147472690" r:id="rId88"/>
    <p:sldId id="2147472691" r:id="rId89"/>
    <p:sldId id="2147472692" r:id="rId90"/>
    <p:sldId id="2147472693" r:id="rId91"/>
    <p:sldId id="2147472694" r:id="rId92"/>
    <p:sldId id="2147472695" r:id="rId93"/>
    <p:sldId id="2147472696" r:id="rId94"/>
    <p:sldId id="2147472697" r:id="rId95"/>
    <p:sldId id="2147472698" r:id="rId96"/>
    <p:sldId id="2147472699" r:id="rId97"/>
    <p:sldId id="2147472700" r:id="rId98"/>
    <p:sldId id="2147472701" r:id="rId99"/>
    <p:sldId id="2147472703" r:id="rId100"/>
    <p:sldId id="2147472702" r:id="rId101"/>
    <p:sldId id="2147472704" r:id="rId102"/>
    <p:sldId id="2147472707" r:id="rId103"/>
    <p:sldId id="2147472708" r:id="rId104"/>
    <p:sldId id="2147472709" r:id="rId105"/>
    <p:sldId id="2147472710" r:id="rId106"/>
    <p:sldId id="2147472711" r:id="rId107"/>
    <p:sldId id="2147472712" r:id="rId108"/>
    <p:sldId id="2147472713" r:id="rId109"/>
    <p:sldId id="2147472714" r:id="rId110"/>
    <p:sldId id="2147472715" r:id="rId111"/>
    <p:sldId id="2147472716" r:id="rId112"/>
    <p:sldId id="2147472718" r:id="rId113"/>
    <p:sldId id="2147472719" r:id="rId114"/>
    <p:sldId id="2147472720" r:id="rId115"/>
    <p:sldId id="2147472721" r:id="rId116"/>
    <p:sldId id="2147472722" r:id="rId117"/>
    <p:sldId id="2147472723" r:id="rId118"/>
    <p:sldId id="2147472724" r:id="rId119"/>
    <p:sldId id="2147472682" r:id="rId120"/>
    <p:sldId id="2147472747" r:id="rId121"/>
  </p:sldIdLst>
  <p:sldSz cx="12192000" cy="6858000"/>
  <p:notesSz cx="6858000" cy="9144000"/>
  <p:custDataLst>
    <p:tags r:id="rId1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3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1B55"/>
    <a:srgbClr val="FFD7D7"/>
    <a:srgbClr val="F8F8F8"/>
    <a:srgbClr val="D58E38"/>
    <a:srgbClr val="D0563F"/>
    <a:srgbClr val="FFFFFF"/>
    <a:srgbClr val="0B9BC5"/>
    <a:srgbClr val="EFFFFE"/>
    <a:srgbClr val="3A5C87"/>
    <a:srgbClr val="FF00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5" autoAdjust="0"/>
    <p:restoredTop sz="96370" autoAdjust="0"/>
  </p:normalViewPr>
  <p:slideViewPr>
    <p:cSldViewPr snapToGrid="0">
      <p:cViewPr>
        <p:scale>
          <a:sx n="82" d="100"/>
          <a:sy n="82" d="100"/>
        </p:scale>
        <p:origin x="1722" y="750"/>
      </p:cViewPr>
      <p:guideLst>
        <p:guide orient="horz" pos="2136"/>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handoutMaster" Target="handoutMasters/handoutMaster1.xml"/><Relationship Id="rId128"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ags" Target="tags/tag1.xml"/><Relationship Id="rId129"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2.xml"/><Relationship Id="rId1" Type="http://schemas.microsoft.com/office/2011/relationships/chartStyle" Target="style2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3.xml"/><Relationship Id="rId1" Type="http://schemas.microsoft.com/office/2011/relationships/chartStyle" Target="style2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chartUserShapes" Target="../drawings/drawing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6.xml"/><Relationship Id="rId1" Type="http://schemas.microsoft.com/office/2011/relationships/chartStyle" Target="style26.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7.xml"/><Relationship Id="rId1" Type="http://schemas.microsoft.com/office/2011/relationships/chartStyle" Target="style27.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8.xml"/><Relationship Id="rId1" Type="http://schemas.microsoft.com/office/2011/relationships/chartStyle" Target="style28.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9.xml"/><Relationship Id="rId1" Type="http://schemas.microsoft.com/office/2011/relationships/chartStyle" Target="style29.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0.xml"/><Relationship Id="rId1" Type="http://schemas.microsoft.com/office/2011/relationships/chartStyle" Target="style30.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1.xml"/><Relationship Id="rId1" Type="http://schemas.microsoft.com/office/2011/relationships/chartStyle" Target="style31.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2.xml"/><Relationship Id="rId1" Type="http://schemas.microsoft.com/office/2011/relationships/chartStyle" Target="style32.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4.xml"/><Relationship Id="rId1" Type="http://schemas.microsoft.com/office/2011/relationships/chartStyle" Target="style3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2.xlsx"/></Relationships>
</file>

<file path=ppt/charts/_rels/chartEx2.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2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C819-4EBF-A949-3C7BC294CEE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05B1-4ADD-AE1E-CBA3C4BD2C78}"/>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B574-4445-BFA5-40B518CD043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noFill/>
              <a:round/>
            </a:ln>
            <a:effectLst/>
          </c:spPr>
          <c:marker>
            <c:symbol val="circle"/>
            <c:size val="9"/>
            <c:spPr>
              <a:solidFill>
                <a:schemeClr val="accent1"/>
              </a:solidFill>
              <a:ln w="9525">
                <a:no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2</c:v>
                </c:pt>
                <c:pt idx="1">
                  <c:v>0.19</c:v>
                </c:pt>
                <c:pt idx="2">
                  <c:v>0.27</c:v>
                </c:pt>
                <c:pt idx="3">
                  <c:v>0.28000000000000003</c:v>
                </c:pt>
                <c:pt idx="4">
                  <c:v>0.32</c:v>
                </c:pt>
              </c:numCache>
            </c:numRef>
          </c:val>
          <c:smooth val="0"/>
          <c:extLst>
            <c:ext xmlns:c16="http://schemas.microsoft.com/office/drawing/2014/chart" uri="{C3380CC4-5D6E-409C-BE32-E72D297353CC}">
              <c16:uniqueId val="{00000000-0998-4E3B-8D8B-0A5B1CD85B1C}"/>
            </c:ext>
          </c:extLst>
        </c:ser>
        <c:ser>
          <c:idx val="1"/>
          <c:order val="1"/>
          <c:tx>
            <c:strRef>
              <c:f>Hoja1!$C$1</c:f>
              <c:strCache>
                <c:ptCount val="1"/>
                <c:pt idx="0">
                  <c:v>Serie 2</c:v>
                </c:pt>
              </c:strCache>
            </c:strRef>
          </c:tx>
          <c:spPr>
            <a:ln w="28575" cap="rnd">
              <a:noFill/>
              <a:round/>
            </a:ln>
            <a:effectLst/>
          </c:spPr>
          <c:marker>
            <c:symbol val="circle"/>
            <c:size val="9"/>
            <c:spPr>
              <a:solidFill>
                <a:schemeClr val="accent2"/>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Text</c:v>
                </c:pt>
                <c:pt idx="1">
                  <c:v>Text</c:v>
                </c:pt>
                <c:pt idx="2">
                  <c:v>Text</c:v>
                </c:pt>
                <c:pt idx="3">
                  <c:v>Text</c:v>
                </c:pt>
                <c:pt idx="4">
                  <c:v>Text</c:v>
                </c:pt>
              </c:strCache>
            </c:strRef>
          </c:cat>
          <c:val>
            <c:numRef>
              <c:f>Hoja1!$C$2:$C$6</c:f>
              <c:numCache>
                <c:formatCode>0%</c:formatCode>
                <c:ptCount val="5"/>
                <c:pt idx="0">
                  <c:v>0.38</c:v>
                </c:pt>
                <c:pt idx="1">
                  <c:v>0.37</c:v>
                </c:pt>
                <c:pt idx="2">
                  <c:v>0.4</c:v>
                </c:pt>
                <c:pt idx="3">
                  <c:v>0.4</c:v>
                </c:pt>
                <c:pt idx="4">
                  <c:v>0.48</c:v>
                </c:pt>
              </c:numCache>
            </c:numRef>
          </c:val>
          <c:smooth val="0"/>
          <c:extLst>
            <c:ext xmlns:c16="http://schemas.microsoft.com/office/drawing/2014/chart" uri="{C3380CC4-5D6E-409C-BE32-E72D297353CC}">
              <c16:uniqueId val="{00000001-0998-4E3B-8D8B-0A5B1CD85B1C}"/>
            </c:ext>
          </c:extLst>
        </c:ser>
        <c:ser>
          <c:idx val="2"/>
          <c:order val="2"/>
          <c:tx>
            <c:strRef>
              <c:f>Hoja1!$D$1</c:f>
              <c:strCache>
                <c:ptCount val="1"/>
                <c:pt idx="0">
                  <c:v>Columna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Hoja1!$A$2:$A$6</c:f>
              <c:strCache>
                <c:ptCount val="5"/>
                <c:pt idx="0">
                  <c:v>Text</c:v>
                </c:pt>
                <c:pt idx="1">
                  <c:v>Text</c:v>
                </c:pt>
                <c:pt idx="2">
                  <c:v>Text</c:v>
                </c:pt>
                <c:pt idx="3">
                  <c:v>Text</c:v>
                </c:pt>
                <c:pt idx="4">
                  <c:v>Text</c:v>
                </c:pt>
              </c:strCache>
            </c:strRef>
          </c:cat>
          <c:val>
            <c:numRef>
              <c:f>Hoja1!$D$2:$D$6</c:f>
              <c:numCache>
                <c:formatCode>General</c:formatCode>
                <c:ptCount val="5"/>
              </c:numCache>
            </c:numRef>
          </c:val>
          <c:smooth val="0"/>
          <c:extLst>
            <c:ext xmlns:c16="http://schemas.microsoft.com/office/drawing/2014/chart" uri="{C3380CC4-5D6E-409C-BE32-E72D297353CC}">
              <c16:uniqueId val="{00000002-0998-4E3B-8D8B-0A5B1CD85B1C}"/>
            </c:ext>
          </c:extLst>
        </c:ser>
        <c:dLbls>
          <c:showLegendKey val="0"/>
          <c:showVal val="0"/>
          <c:showCatName val="0"/>
          <c:showSerName val="0"/>
          <c:showPercent val="0"/>
          <c:showBubbleSize val="0"/>
        </c:dLbls>
        <c:marker val="1"/>
        <c:smooth val="0"/>
        <c:axId val="191269647"/>
        <c:axId val="191264071"/>
      </c:lineChart>
      <c:catAx>
        <c:axId val="19126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1264071"/>
        <c:crosses val="autoZero"/>
        <c:auto val="1"/>
        <c:lblAlgn val="ctr"/>
        <c:lblOffset val="100"/>
        <c:noMultiLvlLbl val="0"/>
      </c:catAx>
      <c:valAx>
        <c:axId val="191264071"/>
        <c:scaling>
          <c:orientation val="minMax"/>
        </c:scaling>
        <c:delete val="1"/>
        <c:axPos val="l"/>
        <c:numFmt formatCode="0%" sourceLinked="1"/>
        <c:majorTickMark val="none"/>
        <c:minorTickMark val="none"/>
        <c:tickLblPos val="nextTo"/>
        <c:crossAx val="19126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395389577248543E-2"/>
          <c:y val="2.9301807357291598E-2"/>
          <c:w val="0.89256902475363009"/>
          <c:h val="0.8931415312952532"/>
        </c:manualLayout>
      </c:layout>
      <c:scatterChart>
        <c:scatterStyle val="lineMarker"/>
        <c:varyColors val="0"/>
        <c:ser>
          <c:idx val="0"/>
          <c:order val="0"/>
          <c:spPr>
            <a:ln w="28575" cap="rnd">
              <a:solidFill>
                <a:schemeClr val="accent1"/>
              </a:solidFill>
              <a:round/>
            </a:ln>
            <a:effectLst/>
          </c:spPr>
          <c:marker>
            <c:symbol val="circle"/>
            <c:size val="5"/>
            <c:spPr>
              <a:solidFill>
                <a:schemeClr val="accent1"/>
              </a:solidFill>
              <a:ln w="28575">
                <a:solidFill>
                  <a:schemeClr val="accent1"/>
                </a:solidFill>
              </a:ln>
              <a:effectLst/>
            </c:spPr>
          </c:marker>
          <c:xVal>
            <c:numRef>
              <c:f>Sheet1!$A$2:$E$2</c:f>
              <c:numCache>
                <c:formatCode>General</c:formatCode>
                <c:ptCount val="5"/>
                <c:pt idx="0">
                  <c:v>50</c:v>
                </c:pt>
                <c:pt idx="1">
                  <c:v>80</c:v>
                </c:pt>
                <c:pt idx="2">
                  <c:v>100</c:v>
                </c:pt>
                <c:pt idx="3">
                  <c:v>45</c:v>
                </c:pt>
                <c:pt idx="4">
                  <c:v>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0-D15E-4039-9A95-185D82E60254}"/>
            </c:ext>
          </c:extLst>
        </c:ser>
        <c:ser>
          <c:idx val="1"/>
          <c:order val="1"/>
          <c:spPr>
            <a:ln w="28575" cap="rnd">
              <a:solidFill>
                <a:schemeClr val="accent2"/>
              </a:solidFill>
              <a:round/>
            </a:ln>
            <a:effectLst/>
          </c:spPr>
          <c:marker>
            <c:symbol val="circle"/>
            <c:size val="5"/>
            <c:spPr>
              <a:solidFill>
                <a:schemeClr val="accent2"/>
              </a:solidFill>
              <a:ln w="28575">
                <a:solidFill>
                  <a:schemeClr val="accent2"/>
                </a:solidFill>
              </a:ln>
              <a:effectLst/>
            </c:spPr>
          </c:marker>
          <c:xVal>
            <c:numRef>
              <c:f>Sheet1!$A$3:$E$3</c:f>
              <c:numCache>
                <c:formatCode>General</c:formatCode>
                <c:ptCount val="5"/>
                <c:pt idx="0">
                  <c:v>90</c:v>
                </c:pt>
                <c:pt idx="1">
                  <c:v>120</c:v>
                </c:pt>
                <c:pt idx="2">
                  <c:v>120</c:v>
                </c:pt>
                <c:pt idx="3">
                  <c:v>152</c:v>
                </c:pt>
                <c:pt idx="4">
                  <c:v>2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1-D15E-4039-9A95-185D82E60254}"/>
            </c:ext>
          </c:extLst>
        </c:ser>
        <c:ser>
          <c:idx val="2"/>
          <c:order val="2"/>
          <c:spPr>
            <a:ln w="28575" cap="rnd">
              <a:solidFill>
                <a:schemeClr val="accent3"/>
              </a:solidFill>
              <a:round/>
            </a:ln>
            <a:effectLst/>
          </c:spPr>
          <c:marker>
            <c:symbol val="circle"/>
            <c:size val="5"/>
            <c:spPr>
              <a:solidFill>
                <a:schemeClr val="accent3"/>
              </a:solidFill>
              <a:ln w="28575">
                <a:solidFill>
                  <a:schemeClr val="accent3"/>
                </a:solidFill>
              </a:ln>
              <a:effectLst/>
            </c:spPr>
          </c:marker>
          <c:xVal>
            <c:numRef>
              <c:f>Sheet1!$A$4:$E$4</c:f>
              <c:numCache>
                <c:formatCode>General</c:formatCode>
                <c:ptCount val="5"/>
                <c:pt idx="0">
                  <c:v>120</c:v>
                </c:pt>
                <c:pt idx="1">
                  <c:v>158</c:v>
                </c:pt>
                <c:pt idx="2">
                  <c:v>200</c:v>
                </c:pt>
                <c:pt idx="3">
                  <c:v>220</c:v>
                </c:pt>
                <c:pt idx="4">
                  <c:v>300</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2-D15E-4039-9A95-185D82E60254}"/>
            </c:ext>
          </c:extLst>
        </c:ser>
        <c:ser>
          <c:idx val="3"/>
          <c:order val="3"/>
          <c:spPr>
            <a:ln w="28575" cap="rnd">
              <a:solidFill>
                <a:schemeClr val="accent4"/>
              </a:solidFill>
              <a:round/>
            </a:ln>
            <a:effectLst/>
          </c:spPr>
          <c:marker>
            <c:symbol val="circle"/>
            <c:size val="5"/>
            <c:spPr>
              <a:solidFill>
                <a:schemeClr val="accent4"/>
              </a:solidFill>
              <a:ln w="28575">
                <a:solidFill>
                  <a:schemeClr val="accent4"/>
                </a:solidFill>
              </a:ln>
              <a:effectLst/>
            </c:spPr>
          </c:marker>
          <c:xVal>
            <c:numRef>
              <c:f>Sheet1!$A$5:$E$5</c:f>
              <c:numCache>
                <c:formatCode>General</c:formatCode>
                <c:ptCount val="5"/>
                <c:pt idx="0">
                  <c:v>200</c:v>
                </c:pt>
                <c:pt idx="1">
                  <c:v>250</c:v>
                </c:pt>
                <c:pt idx="2">
                  <c:v>220</c:v>
                </c:pt>
                <c:pt idx="3">
                  <c:v>250</c:v>
                </c:pt>
                <c:pt idx="4">
                  <c:v>287</c:v>
                </c:pt>
              </c:numCache>
            </c:numRef>
          </c:xVal>
          <c:yVal>
            <c:numRef>
              <c:f>Sheet1!$A$1:$E$1</c:f>
              <c:numCache>
                <c:formatCode>General</c:formatCode>
                <c:ptCount val="5"/>
                <c:pt idx="0">
                  <c:v>1</c:v>
                </c:pt>
                <c:pt idx="1">
                  <c:v>2</c:v>
                </c:pt>
                <c:pt idx="2">
                  <c:v>3</c:v>
                </c:pt>
                <c:pt idx="3">
                  <c:v>4</c:v>
                </c:pt>
                <c:pt idx="4">
                  <c:v>5</c:v>
                </c:pt>
              </c:numCache>
            </c:numRef>
          </c:yVal>
          <c:smooth val="0"/>
          <c:extLst>
            <c:ext xmlns:c16="http://schemas.microsoft.com/office/drawing/2014/chart" uri="{C3380CC4-5D6E-409C-BE32-E72D297353CC}">
              <c16:uniqueId val="{00000003-D15E-4039-9A95-185D82E60254}"/>
            </c:ext>
          </c:extLst>
        </c:ser>
        <c:dLbls>
          <c:showLegendKey val="0"/>
          <c:showVal val="0"/>
          <c:showCatName val="0"/>
          <c:showSerName val="0"/>
          <c:showPercent val="0"/>
          <c:showBubbleSize val="0"/>
        </c:dLbls>
        <c:axId val="2007680192"/>
        <c:axId val="2007495568"/>
      </c:scatterChart>
      <c:valAx>
        <c:axId val="200768019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7495568"/>
        <c:crosses val="autoZero"/>
        <c:crossBetween val="midCat"/>
      </c:valAx>
      <c:valAx>
        <c:axId val="2007495568"/>
        <c:scaling>
          <c:orientation val="minMax"/>
        </c:scaling>
        <c:delete val="1"/>
        <c:axPos val="l"/>
        <c:numFmt formatCode="General" sourceLinked="1"/>
        <c:majorTickMark val="none"/>
        <c:minorTickMark val="none"/>
        <c:tickLblPos val="nextTo"/>
        <c:crossAx val="2007680192"/>
        <c:crosses val="autoZero"/>
        <c:crossBetween val="midCat"/>
      </c:valAx>
      <c:spPr>
        <a:noFill/>
        <a:ln>
          <a:noFill/>
        </a:ln>
        <a:effectLst/>
      </c:spPr>
    </c:plotArea>
    <c:legend>
      <c:legendPos val="r"/>
      <c:layout>
        <c:manualLayout>
          <c:xMode val="edge"/>
          <c:yMode val="edge"/>
          <c:x val="0.89421848331661469"/>
          <c:y val="0.24465226284623115"/>
          <c:w val="9.7926461218137667E-2"/>
          <c:h val="0.364186437521079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Tex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A$2:$A$5</c:f>
              <c:numCache>
                <c:formatCode>General</c:formatCode>
                <c:ptCount val="4"/>
                <c:pt idx="0">
                  <c:v>2018</c:v>
                </c:pt>
                <c:pt idx="1">
                  <c:v>2019</c:v>
                </c:pt>
                <c:pt idx="2">
                  <c:v>2020</c:v>
                </c:pt>
                <c:pt idx="3">
                  <c:v>2021</c:v>
                </c:pt>
              </c:numCache>
            </c:numRef>
          </c:cat>
          <c:val>
            <c:numRef>
              <c:f>Hoja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B138-420B-B981-C7B3037A0879}"/>
            </c:ext>
          </c:extLst>
        </c:ser>
        <c:ser>
          <c:idx val="1"/>
          <c:order val="1"/>
          <c:tx>
            <c:strRef>
              <c:f>Hoja1!$C$1</c:f>
              <c:strCache>
                <c:ptCount val="1"/>
                <c:pt idx="0">
                  <c:v>Text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Hoja1!$A$2:$A$5</c:f>
              <c:numCache>
                <c:formatCode>General</c:formatCode>
                <c:ptCount val="4"/>
                <c:pt idx="0">
                  <c:v>2018</c:v>
                </c:pt>
                <c:pt idx="1">
                  <c:v>2019</c:v>
                </c:pt>
                <c:pt idx="2">
                  <c:v>2020</c:v>
                </c:pt>
                <c:pt idx="3">
                  <c:v>2021</c:v>
                </c:pt>
              </c:numCache>
            </c:numRef>
          </c:cat>
          <c:val>
            <c:numRef>
              <c:f>Hoja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B138-420B-B981-C7B3037A0879}"/>
            </c:ext>
          </c:extLst>
        </c:ser>
        <c:ser>
          <c:idx val="2"/>
          <c:order val="2"/>
          <c:tx>
            <c:strRef>
              <c:f>Hoja1!$D$1</c:f>
              <c:strCache>
                <c:ptCount val="1"/>
                <c:pt idx="0">
                  <c:v>Text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Hoja1!$A$2:$A$5</c:f>
              <c:numCache>
                <c:formatCode>General</c:formatCode>
                <c:ptCount val="4"/>
                <c:pt idx="0">
                  <c:v>2018</c:v>
                </c:pt>
                <c:pt idx="1">
                  <c:v>2019</c:v>
                </c:pt>
                <c:pt idx="2">
                  <c:v>2020</c:v>
                </c:pt>
                <c:pt idx="3">
                  <c:v>2021</c:v>
                </c:pt>
              </c:numCache>
            </c:numRef>
          </c:cat>
          <c:val>
            <c:numRef>
              <c:f>Hoja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B138-420B-B981-C7B3037A0879}"/>
            </c:ext>
          </c:extLst>
        </c:ser>
        <c:dLbls>
          <c:showLegendKey val="0"/>
          <c:showVal val="0"/>
          <c:showCatName val="0"/>
          <c:showSerName val="0"/>
          <c:showPercent val="0"/>
          <c:showBubbleSize val="0"/>
        </c:dLbls>
        <c:marker val="1"/>
        <c:smooth val="0"/>
        <c:axId val="719095808"/>
        <c:axId val="719096136"/>
      </c:lineChart>
      <c:catAx>
        <c:axId val="719095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6136"/>
        <c:crosses val="autoZero"/>
        <c:auto val="1"/>
        <c:lblAlgn val="ctr"/>
        <c:lblOffset val="100"/>
        <c:noMultiLvlLbl val="0"/>
      </c:catAx>
      <c:valAx>
        <c:axId val="719096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9095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circle"/>
            <c:size val="8"/>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0%</c:formatCode>
                <c:ptCount val="5"/>
                <c:pt idx="0">
                  <c:v>0.05</c:v>
                </c:pt>
                <c:pt idx="1">
                  <c:v>0.1</c:v>
                </c:pt>
                <c:pt idx="2">
                  <c:v>0.27</c:v>
                </c:pt>
                <c:pt idx="3">
                  <c:v>0.36</c:v>
                </c:pt>
                <c:pt idx="4">
                  <c:v>0.22</c:v>
                </c:pt>
              </c:numCache>
            </c:numRef>
          </c:val>
          <c:smooth val="1"/>
          <c:extLst>
            <c:ext xmlns:c16="http://schemas.microsoft.com/office/drawing/2014/chart" uri="{C3380CC4-5D6E-409C-BE32-E72D297353CC}">
              <c16:uniqueId val="{00000000-2900-44EB-B5E4-5D1BBB43EB48}"/>
            </c:ext>
          </c:extLst>
        </c:ser>
        <c:dLbls>
          <c:showLegendKey val="0"/>
          <c:showVal val="0"/>
          <c:showCatName val="0"/>
          <c:showSerName val="0"/>
          <c:showPercent val="0"/>
          <c:showBubbleSize val="0"/>
        </c:dLbls>
        <c:marker val="1"/>
        <c:smooth val="0"/>
        <c:axId val="197778615"/>
        <c:axId val="197778943"/>
      </c:lineChart>
      <c:catAx>
        <c:axId val="197778615"/>
        <c:scaling>
          <c:orientation val="minMax"/>
        </c:scaling>
        <c:delete val="1"/>
        <c:axPos val="b"/>
        <c:numFmt formatCode="General" sourceLinked="1"/>
        <c:majorTickMark val="none"/>
        <c:minorTickMark val="none"/>
        <c:tickLblPos val="nextTo"/>
        <c:crossAx val="197778943"/>
        <c:crosses val="autoZero"/>
        <c:auto val="1"/>
        <c:lblAlgn val="ctr"/>
        <c:lblOffset val="100"/>
        <c:noMultiLvlLbl val="0"/>
      </c:catAx>
      <c:valAx>
        <c:axId val="197778943"/>
        <c:scaling>
          <c:orientation val="minMax"/>
        </c:scaling>
        <c:delete val="1"/>
        <c:axPos val="l"/>
        <c:numFmt formatCode="0%" sourceLinked="1"/>
        <c:majorTickMark val="none"/>
        <c:minorTickMark val="none"/>
        <c:tickLblPos val="nextTo"/>
        <c:crossAx val="197778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B$2:$B$7</c:f>
              <c:numCache>
                <c:formatCode>General</c:formatCode>
                <c:ptCount val="6"/>
                <c:pt idx="0">
                  <c:v>1</c:v>
                </c:pt>
                <c:pt idx="1">
                  <c:v>10</c:v>
                </c:pt>
                <c:pt idx="2">
                  <c:v>1</c:v>
                </c:pt>
                <c:pt idx="3">
                  <c:v>10</c:v>
                </c:pt>
                <c:pt idx="4">
                  <c:v>1</c:v>
                </c:pt>
                <c:pt idx="5">
                  <c:v>10</c:v>
                </c:pt>
              </c:numCache>
            </c:numRef>
          </c:val>
          <c:smooth val="0"/>
          <c:extLst>
            <c:ext xmlns:c16="http://schemas.microsoft.com/office/drawing/2014/chart" uri="{C3380CC4-5D6E-409C-BE32-E72D297353CC}">
              <c16:uniqueId val="{00000000-98AC-4F6C-991E-2471981AFF49}"/>
            </c:ext>
          </c:extLst>
        </c:ser>
        <c:ser>
          <c:idx val="1"/>
          <c:order val="1"/>
          <c:tx>
            <c:strRef>
              <c:f>Hoja1!$C$1</c:f>
              <c:strCache>
                <c:ptCount val="1"/>
                <c:pt idx="0">
                  <c:v>Serie 2</c:v>
                </c:pt>
              </c:strCache>
            </c:strRef>
          </c:tx>
          <c:spPr>
            <a:ln w="28575" cap="rnd">
              <a:solidFill>
                <a:schemeClr val="accent2"/>
              </a:solidFill>
              <a:round/>
            </a:ln>
            <a:effectLst/>
          </c:spPr>
          <c:marker>
            <c:symbol val="none"/>
          </c:marker>
          <c:cat>
            <c:strRef>
              <c:f>Hoja1!$A$2:$A$7</c:f>
              <c:strCache>
                <c:ptCount val="6"/>
                <c:pt idx="0">
                  <c:v>Text</c:v>
                </c:pt>
                <c:pt idx="1">
                  <c:v>Text</c:v>
                </c:pt>
                <c:pt idx="2">
                  <c:v>Text</c:v>
                </c:pt>
                <c:pt idx="3">
                  <c:v>Text</c:v>
                </c:pt>
                <c:pt idx="4">
                  <c:v>Text</c:v>
                </c:pt>
                <c:pt idx="5">
                  <c:v>Text</c:v>
                </c:pt>
              </c:strCache>
            </c:strRef>
          </c:cat>
          <c:val>
            <c:numRef>
              <c:f>Hoja1!$C$2:$C$7</c:f>
              <c:numCache>
                <c:formatCode>General</c:formatCode>
                <c:ptCount val="6"/>
                <c:pt idx="0">
                  <c:v>1</c:v>
                </c:pt>
                <c:pt idx="1">
                  <c:v>5</c:v>
                </c:pt>
                <c:pt idx="2">
                  <c:v>1</c:v>
                </c:pt>
                <c:pt idx="3">
                  <c:v>5</c:v>
                </c:pt>
                <c:pt idx="4">
                  <c:v>1</c:v>
                </c:pt>
                <c:pt idx="5">
                  <c:v>5</c:v>
                </c:pt>
              </c:numCache>
            </c:numRef>
          </c:val>
          <c:smooth val="0"/>
          <c:extLst>
            <c:ext xmlns:c16="http://schemas.microsoft.com/office/drawing/2014/chart" uri="{C3380CC4-5D6E-409C-BE32-E72D297353CC}">
              <c16:uniqueId val="{00000001-98AC-4F6C-991E-2471981AFF49}"/>
            </c:ext>
          </c:extLst>
        </c:ser>
        <c:dLbls>
          <c:showLegendKey val="0"/>
          <c:showVal val="0"/>
          <c:showCatName val="0"/>
          <c:showSerName val="0"/>
          <c:showPercent val="0"/>
          <c:showBubbleSize val="0"/>
        </c:dLbls>
        <c:smooth val="0"/>
        <c:axId val="197775335"/>
        <c:axId val="197769431"/>
      </c:lineChart>
      <c:catAx>
        <c:axId val="197775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69431"/>
        <c:crosses val="autoZero"/>
        <c:auto val="1"/>
        <c:lblAlgn val="ctr"/>
        <c:lblOffset val="100"/>
        <c:noMultiLvlLbl val="0"/>
      </c:catAx>
      <c:valAx>
        <c:axId val="197769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775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963-40BB-AA39-C4AEF14B1B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963-40BB-AA39-C4AEF14B1B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12D-45E4-A96E-B3A62D97017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963-40BB-AA39-C4AEF14B1B7D}"/>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E12D-45E4-A96E-B3A62D97017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0-E12D-45E4-A96E-B3A62D97017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D1-41CB-86BB-66B5AA5DAC7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D1-41CB-86BB-66B5AA5DAC7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D1-41CB-86BB-66B5AA5DAC7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D1-41CB-86BB-66B5AA5DAC7F}"/>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DD1-41CB-86BB-66B5AA5DAC7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4"/>
                <c:pt idx="0">
                  <c:v>Text</c:v>
                </c:pt>
                <c:pt idx="1">
                  <c:v>Text</c:v>
                </c:pt>
                <c:pt idx="2">
                  <c:v>Text</c:v>
                </c:pt>
                <c:pt idx="3">
                  <c:v>Text</c:v>
                </c:pt>
              </c:strCache>
            </c:strRef>
          </c:cat>
          <c:val>
            <c:numRef>
              <c:f>Hoja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EDD1-41CB-86BB-66B5AA5DAC7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Hoja1!$B$1</c:f>
              <c:strCache>
                <c:ptCount val="1"/>
                <c:pt idx="0">
                  <c:v>Serie 1</c:v>
                </c:pt>
              </c:strCache>
            </c:strRef>
          </c:tx>
          <c:spPr>
            <a:solidFill>
              <a:schemeClr val="accent1"/>
            </a:solidFill>
            <a:ln>
              <a:noFill/>
            </a:ln>
            <a:effectLst/>
          </c:spPr>
          <c:cat>
            <c:strRef>
              <c:f>Hoja1!$A$2:$A$6</c:f>
              <c:strCache>
                <c:ptCount val="5"/>
                <c:pt idx="0">
                  <c:v>2019</c:v>
                </c:pt>
                <c:pt idx="1">
                  <c:v>2020</c:v>
                </c:pt>
                <c:pt idx="2">
                  <c:v>2021</c:v>
                </c:pt>
                <c:pt idx="3">
                  <c:v>2022</c:v>
                </c:pt>
                <c:pt idx="4">
                  <c:v>2023</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0C77-47C4-AAD6-AFD99422591D}"/>
            </c:ext>
          </c:extLst>
        </c:ser>
        <c:ser>
          <c:idx val="1"/>
          <c:order val="1"/>
          <c:tx>
            <c:strRef>
              <c:f>Hoja1!$C$1</c:f>
              <c:strCache>
                <c:ptCount val="1"/>
                <c:pt idx="0">
                  <c:v>Serie 2</c:v>
                </c:pt>
              </c:strCache>
            </c:strRef>
          </c:tx>
          <c:spPr>
            <a:solidFill>
              <a:schemeClr val="accent2"/>
            </a:solidFill>
            <a:ln>
              <a:noFill/>
            </a:ln>
            <a:effectLst/>
          </c:spPr>
          <c:cat>
            <c:strRef>
              <c:f>Hoja1!$A$2:$A$6</c:f>
              <c:strCache>
                <c:ptCount val="5"/>
                <c:pt idx="0">
                  <c:v>2019</c:v>
                </c:pt>
                <c:pt idx="1">
                  <c:v>2020</c:v>
                </c:pt>
                <c:pt idx="2">
                  <c:v>2021</c:v>
                </c:pt>
                <c:pt idx="3">
                  <c:v>2022</c:v>
                </c:pt>
                <c:pt idx="4">
                  <c:v>2023</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0C77-47C4-AAD6-AFD99422591D}"/>
            </c:ext>
          </c:extLst>
        </c:ser>
        <c:dLbls>
          <c:showLegendKey val="0"/>
          <c:showVal val="0"/>
          <c:showCatName val="0"/>
          <c:showSerName val="0"/>
          <c:showPercent val="0"/>
          <c:showBubbleSize val="0"/>
        </c:dLbls>
        <c:axId val="1021399784"/>
        <c:axId val="1021400112"/>
      </c:areaChart>
      <c:catAx>
        <c:axId val="1021399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400112"/>
        <c:crosses val="autoZero"/>
        <c:auto val="1"/>
        <c:lblAlgn val="ctr"/>
        <c:lblOffset val="100"/>
        <c:noMultiLvlLbl val="0"/>
      </c:catAx>
      <c:valAx>
        <c:axId val="1021400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2139978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FEC3-49B4-8ABC-11B5267E9105}"/>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ue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3C5E-43A7-A718-DBCCE7EA2106}"/>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12"/>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smooth val="0"/>
          <c:extLst>
            <c:ext xmlns:c16="http://schemas.microsoft.com/office/drawing/2014/chart" uri="{C3380CC4-5D6E-409C-BE32-E72D297353CC}">
              <c16:uniqueId val="{00000000-7C69-40E8-8932-BBD95499127D}"/>
            </c:ext>
          </c:extLst>
        </c:ser>
        <c:dLbls>
          <c:showLegendKey val="0"/>
          <c:showVal val="0"/>
          <c:showCatName val="0"/>
          <c:showSerName val="0"/>
          <c:showPercent val="0"/>
          <c:showBubbleSize val="0"/>
        </c:dLbls>
        <c:axId val="1393563880"/>
        <c:axId val="1393564208"/>
      </c:scatterChart>
      <c:valAx>
        <c:axId val="1393563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4208"/>
        <c:crosses val="autoZero"/>
        <c:crossBetween val="midCat"/>
      </c:valAx>
      <c:valAx>
        <c:axId val="13935642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35638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Hoja1!$B$1</c:f>
              <c:strCache>
                <c:ptCount val="1"/>
                <c:pt idx="0">
                  <c:v>Valores 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oja1!$A$2:$A$4</c:f>
              <c:numCache>
                <c:formatCode>General</c:formatCode>
                <c:ptCount val="3"/>
                <c:pt idx="0">
                  <c:v>0.7</c:v>
                </c:pt>
                <c:pt idx="1">
                  <c:v>1.8</c:v>
                </c:pt>
                <c:pt idx="2">
                  <c:v>2.6</c:v>
                </c:pt>
              </c:numCache>
            </c:numRef>
          </c:xVal>
          <c:yVal>
            <c:numRef>
              <c:f>Hoja1!$B$2:$B$4</c:f>
              <c:numCache>
                <c:formatCode>General</c:formatCode>
                <c:ptCount val="3"/>
                <c:pt idx="0">
                  <c:v>2.7</c:v>
                </c:pt>
                <c:pt idx="1">
                  <c:v>3.2</c:v>
                </c:pt>
                <c:pt idx="2">
                  <c:v>0.8</c:v>
                </c:pt>
              </c:numCache>
            </c:numRef>
          </c:yVal>
          <c:bubbleSize>
            <c:numRef>
              <c:f>Hoja1!$C$2:$C$4</c:f>
              <c:numCache>
                <c:formatCode>General</c:formatCode>
                <c:ptCount val="3"/>
                <c:pt idx="0">
                  <c:v>10</c:v>
                </c:pt>
                <c:pt idx="1">
                  <c:v>4</c:v>
                </c:pt>
                <c:pt idx="2">
                  <c:v>8</c:v>
                </c:pt>
              </c:numCache>
            </c:numRef>
          </c:bubbleSize>
          <c:bubble3D val="0"/>
          <c:extLst>
            <c:ext xmlns:c16="http://schemas.microsoft.com/office/drawing/2014/chart" uri="{C3380CC4-5D6E-409C-BE32-E72D297353CC}">
              <c16:uniqueId val="{00000000-8C0D-40B4-B8A6-BA32D33E11E5}"/>
            </c:ext>
          </c:extLst>
        </c:ser>
        <c:dLbls>
          <c:showLegendKey val="0"/>
          <c:showVal val="0"/>
          <c:showCatName val="0"/>
          <c:showSerName val="0"/>
          <c:showPercent val="0"/>
          <c:showBubbleSize val="0"/>
        </c:dLbls>
        <c:bubbleScale val="100"/>
        <c:showNegBubbles val="0"/>
        <c:axId val="915072984"/>
        <c:axId val="915070032"/>
      </c:bubbleChart>
      <c:valAx>
        <c:axId val="915072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0032"/>
        <c:crosses val="autoZero"/>
        <c:crossBetween val="midCat"/>
      </c:valAx>
      <c:valAx>
        <c:axId val="915070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15072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tertainment</c:v>
                </c:pt>
              </c:strCache>
            </c:strRef>
          </c:tx>
          <c:spPr>
            <a:solidFill>
              <a:schemeClr val="bg2"/>
            </a:solidFill>
            <a:ln>
              <a:noFill/>
            </a:ln>
            <a:effectLst/>
          </c:spPr>
          <c:invertIfNegative val="0"/>
          <c:dLbls>
            <c:dLbl>
              <c:idx val="0"/>
              <c:tx>
                <c:rich>
                  <a:bodyPr/>
                  <a:lstStyle/>
                  <a:p>
                    <a:fld id="{04E59AC5-BAEE-4F95-AEFB-4F34B7A3A15B}" type="SERIESNAME">
                      <a:rPr lang="en-US" sz="1000"/>
                      <a:pPr/>
                      <a:t>[SERIES NAME]</a:t>
                    </a:fld>
                    <a:r>
                      <a:rPr lang="en-US" sz="1000" baseline="0"/>
                      <a:t>; </a:t>
                    </a:r>
                    <a:br>
                      <a:rPr lang="en-US" sz="1000" baseline="0"/>
                    </a:br>
                    <a:fld id="{20D71BCA-8FD8-4D8E-A46B-61B2EA7A96D4}" type="VALUE">
                      <a:rPr lang="en-US" sz="1000" baseline="0" smtClean="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DDC-49BF-82E8-8BE8CEE9DF36}"/>
                </c:ext>
              </c:extLst>
            </c:dLbl>
            <c:dLbl>
              <c:idx val="1"/>
              <c:tx>
                <c:rich>
                  <a:bodyPr/>
                  <a:lstStyle/>
                  <a:p>
                    <a:fld id="{2B1D6288-0908-4A20-A520-0BBB91457C0A}" type="SERIESNAME">
                      <a:rPr lang="en-US"/>
                      <a:pPr/>
                      <a:t>[SERIES NAME]</a:t>
                    </a:fld>
                    <a:r>
                      <a:rPr lang="en-US" baseline="0"/>
                      <a:t>; </a:t>
                    </a:r>
                    <a:br>
                      <a:rPr lang="en-US" baseline="0"/>
                    </a:br>
                    <a:fld id="{BF3A284F-1B79-4561-B036-CB6C7955D1D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DDC-49BF-82E8-8BE8CEE9DF36}"/>
                </c:ext>
              </c:extLst>
            </c:dLbl>
            <c:dLbl>
              <c:idx val="2"/>
              <c:tx>
                <c:rich>
                  <a:bodyPr/>
                  <a:lstStyle/>
                  <a:p>
                    <a:fld id="{9115C746-F0E6-475B-969C-852E9747C12C}" type="SERIESNAME">
                      <a:rPr lang="en-US"/>
                      <a:pPr/>
                      <a:t>[SERIES NAME]</a:t>
                    </a:fld>
                    <a:r>
                      <a:rPr lang="en-US" baseline="0"/>
                      <a:t>; </a:t>
                    </a:r>
                    <a:br>
                      <a:rPr lang="en-US" baseline="0"/>
                    </a:br>
                    <a:fld id="{15E650AB-281C-4C6C-BE2E-132EE04200A3}"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EC7F-6949-997C-0E8854CB49D8}"/>
            </c:ext>
          </c:extLst>
        </c:ser>
        <c:ser>
          <c:idx val="1"/>
          <c:order val="1"/>
          <c:tx>
            <c:strRef>
              <c:f>Sheet1!$C$1</c:f>
              <c:strCache>
                <c:ptCount val="1"/>
                <c:pt idx="0">
                  <c:v>Business</c:v>
                </c:pt>
              </c:strCache>
            </c:strRef>
          </c:tx>
          <c:spPr>
            <a:solidFill>
              <a:schemeClr val="tx2"/>
            </a:solidFill>
            <a:ln>
              <a:noFill/>
            </a:ln>
            <a:effectLst/>
          </c:spPr>
          <c:invertIfNegative val="0"/>
          <c:dLbls>
            <c:dLbl>
              <c:idx val="0"/>
              <c:tx>
                <c:rich>
                  <a:bodyPr/>
                  <a:lstStyle/>
                  <a:p>
                    <a:fld id="{2AA87F91-DCC5-426B-81D6-DCF0BB3A1987}" type="SERIESNAME">
                      <a:rPr lang="en-US"/>
                      <a:pPr/>
                      <a:t>[SERIES NAME]</a:t>
                    </a:fld>
                    <a:r>
                      <a:rPr lang="en-US" baseline="0"/>
                      <a:t>; </a:t>
                    </a:r>
                    <a:br>
                      <a:rPr lang="en-US" baseline="0"/>
                    </a:br>
                    <a:fld id="{C00D6620-5CD6-4E34-92E5-E73D3CFE3008}"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DDC-49BF-82E8-8BE8CEE9DF36}"/>
                </c:ext>
              </c:extLst>
            </c:dLbl>
            <c:dLbl>
              <c:idx val="1"/>
              <c:tx>
                <c:rich>
                  <a:bodyPr/>
                  <a:lstStyle/>
                  <a:p>
                    <a:fld id="{0154AE51-69D1-4907-9AE3-0EF0586DF364}" type="SERIESNAME">
                      <a:rPr lang="en-US"/>
                      <a:pPr/>
                      <a:t>[SERIES NAME]</a:t>
                    </a:fld>
                    <a:r>
                      <a:rPr lang="en-US" baseline="0"/>
                      <a:t>; </a:t>
                    </a:r>
                    <a:br>
                      <a:rPr lang="en-US" baseline="0"/>
                    </a:br>
                    <a:fld id="{7E7C79E4-B8F6-4F20-948B-1F12545D89A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DDC-49BF-82E8-8BE8CEE9DF36}"/>
                </c:ext>
              </c:extLst>
            </c:dLbl>
            <c:dLbl>
              <c:idx val="2"/>
              <c:tx>
                <c:rich>
                  <a:bodyPr/>
                  <a:lstStyle/>
                  <a:p>
                    <a:fld id="{62E9BE2A-5B0D-4A36-8219-B27DA020F73D}" type="SERIESNAME">
                      <a:rPr lang="en-US"/>
                      <a:pPr/>
                      <a:t>[SERIES NAME]</a:t>
                    </a:fld>
                    <a:r>
                      <a:rPr lang="en-US" baseline="0"/>
                      <a:t>; </a:t>
                    </a:r>
                    <a:br>
                      <a:rPr lang="en-US" baseline="0"/>
                    </a:br>
                    <a:fld id="{3F4C54BA-E353-4CBD-9CB3-071413AD3F3D}"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EC7F-6949-997C-0E8854CB49D8}"/>
            </c:ext>
          </c:extLst>
        </c:ser>
        <c:ser>
          <c:idx val="2"/>
          <c:order val="2"/>
          <c:tx>
            <c:strRef>
              <c:f>Sheet1!$D$1</c:f>
              <c:strCache>
                <c:ptCount val="1"/>
                <c:pt idx="0">
                  <c:v>Social Media</c:v>
                </c:pt>
              </c:strCache>
            </c:strRef>
          </c:tx>
          <c:spPr>
            <a:solidFill>
              <a:schemeClr val="accent1"/>
            </a:solidFill>
            <a:ln>
              <a:noFill/>
            </a:ln>
            <a:effectLst/>
          </c:spPr>
          <c:invertIfNegative val="0"/>
          <c:dLbls>
            <c:dLbl>
              <c:idx val="0"/>
              <c:tx>
                <c:rich>
                  <a:bodyPr/>
                  <a:lstStyle/>
                  <a:p>
                    <a:fld id="{F6A98E04-1204-4BE7-9D70-9B8E777D28C2}" type="SERIESNAME">
                      <a:rPr lang="en-US"/>
                      <a:pPr/>
                      <a:t>[SERIES NAME]</a:t>
                    </a:fld>
                    <a:r>
                      <a:rPr lang="en-US" baseline="0"/>
                      <a:t>; </a:t>
                    </a:r>
                    <a:br>
                      <a:rPr lang="en-US" baseline="0"/>
                    </a:br>
                    <a:fld id="{9EDFD2E5-D3B5-48DD-84E9-734056CD95C4}"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DDC-49BF-82E8-8BE8CEE9DF36}"/>
                </c:ext>
              </c:extLst>
            </c:dLbl>
            <c:dLbl>
              <c:idx val="1"/>
              <c:tx>
                <c:rich>
                  <a:bodyPr/>
                  <a:lstStyle/>
                  <a:p>
                    <a:fld id="{4B6D3BF3-3709-41B8-9985-5916031B01A1}" type="SERIESNAME">
                      <a:rPr lang="en-US"/>
                      <a:pPr/>
                      <a:t>[SERIES NAME]</a:t>
                    </a:fld>
                    <a:r>
                      <a:rPr lang="en-US" baseline="0"/>
                      <a:t>; </a:t>
                    </a:r>
                    <a:br>
                      <a:rPr lang="en-US" baseline="0"/>
                    </a:br>
                    <a:fld id="{29B8195D-0796-4F86-A775-AE8A8E0326EB}"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DDC-49BF-82E8-8BE8CEE9DF36}"/>
                </c:ext>
              </c:extLst>
            </c:dLbl>
            <c:dLbl>
              <c:idx val="2"/>
              <c:tx>
                <c:rich>
                  <a:bodyPr/>
                  <a:lstStyle/>
                  <a:p>
                    <a:fld id="{E392EC95-0809-4C1F-A49B-3423F27755E2}" type="SERIESNAME">
                      <a:rPr lang="en-US"/>
                      <a:pPr/>
                      <a:t>[SERIES NAME]</a:t>
                    </a:fld>
                    <a:r>
                      <a:rPr lang="en-US" baseline="0"/>
                      <a:t>; </a:t>
                    </a:r>
                    <a:br>
                      <a:rPr lang="en-US" baseline="0"/>
                    </a:br>
                    <a:fld id="{3ACF3DD0-3D8B-4342-AC29-006B99A5AE21}" type="VALUE">
                      <a:rPr lang="en-US" baseline="0" smtClean="0"/>
                      <a:pPr/>
                      <a:t>[VALUE]</a:t>
                    </a:fld>
                    <a:endParaRPr lang="en-US"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DDC-49BF-82E8-8BE8CEE9DF36}"/>
                </c:ext>
              </c:extLst>
            </c:dLbl>
            <c:spPr>
              <a:noFill/>
              <a:ln>
                <a:noFill/>
              </a:ln>
              <a:effectLst/>
            </c:spPr>
            <c:txPr>
              <a:bodyPr rot="0" spcFirstLastPara="1" vertOverflow="ellipsis" vert="horz" wrap="square" lIns="0" tIns="0" rIns="0" bIns="0" anchor="ctr" anchorCtr="1"/>
              <a:lstStyle/>
              <a:p>
                <a:pPr>
                  <a:defRPr sz="10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EC7F-6949-997C-0E8854CB49D8}"/>
            </c:ext>
          </c:extLst>
        </c:ser>
        <c:dLbls>
          <c:showLegendKey val="0"/>
          <c:showVal val="0"/>
          <c:showCatName val="0"/>
          <c:showSerName val="0"/>
          <c:showPercent val="0"/>
          <c:showBubbleSize val="0"/>
        </c:dLbls>
        <c:gapWidth val="130"/>
        <c:overlap val="-25"/>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05485139400455E-2"/>
          <c:y val="5.3383949408555474E-2"/>
          <c:w val="0.94529451486059957"/>
          <c:h val="0.8201234134583478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300</c:v>
                </c:pt>
                <c:pt idx="1">
                  <c:v>700</c:v>
                </c:pt>
                <c:pt idx="2">
                  <c:v>380</c:v>
                </c:pt>
                <c:pt idx="3">
                  <c:v>203</c:v>
                </c:pt>
                <c:pt idx="4">
                  <c:v>180</c:v>
                </c:pt>
              </c:numCache>
            </c:numRef>
          </c:val>
          <c:extLst>
            <c:ext xmlns:c16="http://schemas.microsoft.com/office/drawing/2014/chart" uri="{C3380CC4-5D6E-409C-BE32-E72D297353CC}">
              <c16:uniqueId val="{00000000-B8B3-0B4A-8DCD-ABD30CE9D6CE}"/>
            </c:ext>
          </c:extLst>
        </c:ser>
        <c:ser>
          <c:idx val="1"/>
          <c:order val="1"/>
          <c:tx>
            <c:strRef>
              <c:f>Sheet1!$C$1</c:f>
              <c:strCache>
                <c:ptCount val="1"/>
                <c:pt idx="0">
                  <c:v>Series 2</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330</c:v>
                </c:pt>
                <c:pt idx="1">
                  <c:v>725</c:v>
                </c:pt>
                <c:pt idx="2">
                  <c:v>390</c:v>
                </c:pt>
                <c:pt idx="3">
                  <c:v>205</c:v>
                </c:pt>
                <c:pt idx="4">
                  <c:v>170</c:v>
                </c:pt>
              </c:numCache>
            </c:numRef>
          </c:val>
          <c:extLst>
            <c:ext xmlns:c16="http://schemas.microsoft.com/office/drawing/2014/chart" uri="{C3380CC4-5D6E-409C-BE32-E72D297353CC}">
              <c16:uniqueId val="{00000001-B8B3-0B4A-8DCD-ABD30CE9D6CE}"/>
            </c:ext>
          </c:extLst>
        </c:ser>
        <c:ser>
          <c:idx val="2"/>
          <c:order val="2"/>
          <c:tx>
            <c:strRef>
              <c:f>Sheet1!$D$1</c:f>
              <c:strCache>
                <c:ptCount val="1"/>
                <c:pt idx="0">
                  <c:v>Series 3</c:v>
                </c:pt>
              </c:strCache>
            </c:strRef>
          </c:tx>
          <c:spPr>
            <a:solidFill>
              <a:schemeClr val="accent1"/>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600</c:v>
                </c:pt>
                <c:pt idx="1">
                  <c:v>1400</c:v>
                </c:pt>
                <c:pt idx="2">
                  <c:v>750</c:v>
                </c:pt>
                <c:pt idx="3">
                  <c:v>405</c:v>
                </c:pt>
                <c:pt idx="4">
                  <c:v>300</c:v>
                </c:pt>
              </c:numCache>
            </c:numRef>
          </c:val>
          <c:extLst>
            <c:ext xmlns:c16="http://schemas.microsoft.com/office/drawing/2014/chart" uri="{C3380CC4-5D6E-409C-BE32-E72D297353CC}">
              <c16:uniqueId val="{00000002-B8B3-0B4A-8DCD-ABD30CE9D6CE}"/>
            </c:ext>
          </c:extLst>
        </c:ser>
        <c:ser>
          <c:idx val="3"/>
          <c:order val="3"/>
          <c:tx>
            <c:strRef>
              <c:f>Sheet1!$E$1</c:f>
              <c:strCache>
                <c:ptCount val="1"/>
                <c:pt idx="0">
                  <c:v>Series 4</c:v>
                </c:pt>
              </c:strCache>
            </c:strRef>
          </c:tx>
          <c:spPr>
            <a:solidFill>
              <a:schemeClr val="accent2"/>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E$2:$E$6</c:f>
              <c:numCache>
                <c:formatCode>General</c:formatCode>
                <c:ptCount val="5"/>
                <c:pt idx="0">
                  <c:v>615</c:v>
                </c:pt>
                <c:pt idx="1">
                  <c:v>1467</c:v>
                </c:pt>
                <c:pt idx="2">
                  <c:v>745</c:v>
                </c:pt>
                <c:pt idx="3">
                  <c:v>444</c:v>
                </c:pt>
                <c:pt idx="4">
                  <c:v>280</c:v>
                </c:pt>
              </c:numCache>
            </c:numRef>
          </c:val>
          <c:extLst>
            <c:ext xmlns:c16="http://schemas.microsoft.com/office/drawing/2014/chart" uri="{C3380CC4-5D6E-409C-BE32-E72D297353CC}">
              <c16:uniqueId val="{00000003-B8B3-0B4A-8DCD-ABD30CE9D6CE}"/>
            </c:ext>
          </c:extLst>
        </c:ser>
        <c:ser>
          <c:idx val="4"/>
          <c:order val="4"/>
          <c:tx>
            <c:strRef>
              <c:f>Sheet1!$F$1</c:f>
              <c:strCache>
                <c:ptCount val="1"/>
                <c:pt idx="0">
                  <c:v>Series 5</c:v>
                </c:pt>
              </c:strCache>
            </c:strRef>
          </c:tx>
          <c:spPr>
            <a:solidFill>
              <a:schemeClr val="accent3"/>
            </a:solidFill>
            <a:ln>
              <a:noFill/>
            </a:ln>
            <a:effectLst/>
          </c:spPr>
          <c:invertIfNegative val="0"/>
          <c:cat>
            <c:numRef>
              <c:f>Sheet1!$A$2:$A$6</c:f>
              <c:numCache>
                <c:formatCode>General</c:formatCode>
                <c:ptCount val="5"/>
                <c:pt idx="0">
                  <c:v>2016</c:v>
                </c:pt>
                <c:pt idx="1">
                  <c:v>2017</c:v>
                </c:pt>
                <c:pt idx="2">
                  <c:v>2018</c:v>
                </c:pt>
                <c:pt idx="3">
                  <c:v>2019</c:v>
                </c:pt>
                <c:pt idx="4">
                  <c:v>2020</c:v>
                </c:pt>
              </c:numCache>
            </c:numRef>
          </c:cat>
          <c:val>
            <c:numRef>
              <c:f>Sheet1!$F$2:$F$6</c:f>
              <c:numCache>
                <c:formatCode>General</c:formatCode>
                <c:ptCount val="5"/>
                <c:pt idx="0">
                  <c:v>610</c:v>
                </c:pt>
                <c:pt idx="1">
                  <c:v>1467</c:v>
                </c:pt>
                <c:pt idx="2">
                  <c:v>750</c:v>
                </c:pt>
                <c:pt idx="3">
                  <c:v>439</c:v>
                </c:pt>
                <c:pt idx="4">
                  <c:v>280</c:v>
                </c:pt>
              </c:numCache>
            </c:numRef>
          </c:val>
          <c:extLst>
            <c:ext xmlns:c16="http://schemas.microsoft.com/office/drawing/2014/chart" uri="{C3380CC4-5D6E-409C-BE32-E72D297353CC}">
              <c16:uniqueId val="{00000004-B8B3-0B4A-8DCD-ABD30CE9D6CE}"/>
            </c:ext>
          </c:extLst>
        </c:ser>
        <c:dLbls>
          <c:showLegendKey val="0"/>
          <c:showVal val="0"/>
          <c:showCatName val="0"/>
          <c:showSerName val="0"/>
          <c:showPercent val="0"/>
          <c:showBubbleSize val="0"/>
        </c:dLbls>
        <c:gapWidth val="100"/>
        <c:overlap val="-20"/>
        <c:axId val="384810592"/>
        <c:axId val="384622272"/>
      </c:barChart>
      <c:catAx>
        <c:axId val="38481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622272"/>
        <c:crosses val="autoZero"/>
        <c:auto val="1"/>
        <c:lblAlgn val="ctr"/>
        <c:lblOffset val="100"/>
        <c:noMultiLvlLbl val="0"/>
      </c:catAx>
      <c:valAx>
        <c:axId val="384622272"/>
        <c:scaling>
          <c:orientation val="minMax"/>
          <c:max val="2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384810592"/>
        <c:crosses val="autoZero"/>
        <c:crossBetween val="between"/>
        <c:majorUnit val="4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DBCB-DD48-AA85-6E3F3ABA15B6}"/>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DBCB-DD48-AA85-6E3F3ABA15B6}"/>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DBCB-DD48-AA85-6E3F3ABA15B6}"/>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7954-1541-A7CC-063D57EEC494}"/>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7954-1541-A7CC-063D57EEC494}"/>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7954-1541-A7CC-063D57EEC494}"/>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6</c:f>
              <c:numCache>
                <c:formatCode>General</c:formatCode>
                <c:ptCount val="5"/>
                <c:pt idx="0">
                  <c:v>2016</c:v>
                </c:pt>
                <c:pt idx="1">
                  <c:v>2017</c:v>
                </c:pt>
                <c:pt idx="2">
                  <c:v>2018</c:v>
                </c:pt>
                <c:pt idx="3">
                  <c:v>2019</c:v>
                </c:pt>
                <c:pt idx="4">
                  <c:v>2020</c:v>
                </c:pt>
              </c:numCache>
            </c:numRef>
          </c:cat>
          <c:val>
            <c:numRef>
              <c:f>Sheet1!$B$2:$B$6</c:f>
              <c:numCache>
                <c:formatCode>General</c:formatCode>
                <c:ptCount val="5"/>
                <c:pt idx="0">
                  <c:v>110</c:v>
                </c:pt>
                <c:pt idx="1">
                  <c:v>27</c:v>
                </c:pt>
                <c:pt idx="2">
                  <c:v>76</c:v>
                </c:pt>
                <c:pt idx="3">
                  <c:v>90</c:v>
                </c:pt>
                <c:pt idx="4">
                  <c:v>115</c:v>
                </c:pt>
              </c:numCache>
            </c:numRef>
          </c:val>
          <c:smooth val="0"/>
          <c:extLst>
            <c:ext xmlns:c16="http://schemas.microsoft.com/office/drawing/2014/chart" uri="{C3380CC4-5D6E-409C-BE32-E72D297353CC}">
              <c16:uniqueId val="{00000000-F130-D548-83F2-7F0BE8BA4097}"/>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6</c:f>
              <c:numCache>
                <c:formatCode>General</c:formatCode>
                <c:ptCount val="5"/>
                <c:pt idx="0">
                  <c:v>2016</c:v>
                </c:pt>
                <c:pt idx="1">
                  <c:v>2017</c:v>
                </c:pt>
                <c:pt idx="2">
                  <c:v>2018</c:v>
                </c:pt>
                <c:pt idx="3">
                  <c:v>2019</c:v>
                </c:pt>
                <c:pt idx="4">
                  <c:v>2020</c:v>
                </c:pt>
              </c:numCache>
            </c:numRef>
          </c:cat>
          <c:val>
            <c:numRef>
              <c:f>Sheet1!$C$2:$C$6</c:f>
              <c:numCache>
                <c:formatCode>General</c:formatCode>
                <c:ptCount val="5"/>
                <c:pt idx="0">
                  <c:v>88</c:v>
                </c:pt>
                <c:pt idx="1">
                  <c:v>142</c:v>
                </c:pt>
                <c:pt idx="2">
                  <c:v>88</c:v>
                </c:pt>
                <c:pt idx="3">
                  <c:v>98</c:v>
                </c:pt>
                <c:pt idx="4">
                  <c:v>112</c:v>
                </c:pt>
              </c:numCache>
            </c:numRef>
          </c:val>
          <c:smooth val="0"/>
          <c:extLst>
            <c:ext xmlns:c16="http://schemas.microsoft.com/office/drawing/2014/chart" uri="{C3380CC4-5D6E-409C-BE32-E72D297353CC}">
              <c16:uniqueId val="{00000001-F130-D548-83F2-7F0BE8BA4097}"/>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6</c:f>
              <c:numCache>
                <c:formatCode>General</c:formatCode>
                <c:ptCount val="5"/>
                <c:pt idx="0">
                  <c:v>2016</c:v>
                </c:pt>
                <c:pt idx="1">
                  <c:v>2017</c:v>
                </c:pt>
                <c:pt idx="2">
                  <c:v>2018</c:v>
                </c:pt>
                <c:pt idx="3">
                  <c:v>2019</c:v>
                </c:pt>
                <c:pt idx="4">
                  <c:v>2020</c:v>
                </c:pt>
              </c:numCache>
            </c:numRef>
          </c:cat>
          <c:val>
            <c:numRef>
              <c:f>Sheet1!$D$2:$D$6</c:f>
              <c:numCache>
                <c:formatCode>General</c:formatCode>
                <c:ptCount val="5"/>
                <c:pt idx="0">
                  <c:v>25</c:v>
                </c:pt>
                <c:pt idx="1">
                  <c:v>55</c:v>
                </c:pt>
                <c:pt idx="2">
                  <c:v>75</c:v>
                </c:pt>
                <c:pt idx="3">
                  <c:v>83</c:v>
                </c:pt>
                <c:pt idx="4">
                  <c:v>108</c:v>
                </c:pt>
              </c:numCache>
            </c:numRef>
          </c:val>
          <c:smooth val="0"/>
          <c:extLst>
            <c:ext xmlns:c16="http://schemas.microsoft.com/office/drawing/2014/chart" uri="{C3380CC4-5D6E-409C-BE32-E72D297353CC}">
              <c16:uniqueId val="{00000002-F130-D548-83F2-7F0BE8BA4097}"/>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percentStack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B$2:$B$4</c:f>
              <c:numCache>
                <c:formatCode>General</c:formatCode>
                <c:ptCount val="3"/>
                <c:pt idx="0">
                  <c:v>20</c:v>
                </c:pt>
                <c:pt idx="1">
                  <c:v>20</c:v>
                </c:pt>
                <c:pt idx="2">
                  <c:v>2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xt</c:v>
                </c:pt>
                <c:pt idx="1">
                  <c:v>Text</c:v>
                </c:pt>
                <c:pt idx="2">
                  <c:v>Text</c:v>
                </c:pt>
              </c:strCache>
            </c:strRef>
          </c:cat>
          <c:val>
            <c:numRef>
              <c:f>Sheet1!$C$2:$C$4</c:f>
              <c:numCache>
                <c:formatCode>General</c:formatCode>
                <c:ptCount val="3"/>
                <c:pt idx="0">
                  <c:v>20</c:v>
                </c:pt>
                <c:pt idx="1">
                  <c:v>20</c:v>
                </c:pt>
                <c:pt idx="2">
                  <c:v>2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chemeClr val="accent1"/>
              </a:solidFill>
              <a:round/>
            </a:ln>
            <a:effectLst/>
          </c:spPr>
          <c:marker>
            <c:symbol val="circle"/>
            <c:size val="5"/>
            <c:spPr>
              <a:solidFill>
                <a:schemeClr val="accent1"/>
              </a:solidFill>
              <a:ln w="12700">
                <a:solidFill>
                  <a:schemeClr val="accent1"/>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110</c:v>
                </c:pt>
                <c:pt idx="1">
                  <c:v>27</c:v>
                </c:pt>
                <c:pt idx="2">
                  <c:v>76</c:v>
                </c:pt>
                <c:pt idx="3">
                  <c:v>90</c:v>
                </c:pt>
                <c:pt idx="4">
                  <c:v>115</c:v>
                </c:pt>
                <c:pt idx="5">
                  <c:v>50</c:v>
                </c:pt>
                <c:pt idx="6">
                  <c:v>67</c:v>
                </c:pt>
                <c:pt idx="7">
                  <c:v>150</c:v>
                </c:pt>
              </c:numCache>
            </c:numRef>
          </c:val>
          <c:smooth val="0"/>
          <c:extLst>
            <c:ext xmlns:c16="http://schemas.microsoft.com/office/drawing/2014/chart" uri="{C3380CC4-5D6E-409C-BE32-E72D297353CC}">
              <c16:uniqueId val="{00000000-679A-1949-876D-197407AA5D5D}"/>
            </c:ext>
          </c:extLst>
        </c:ser>
        <c:ser>
          <c:idx val="1"/>
          <c:order val="1"/>
          <c:tx>
            <c:strRef>
              <c:f>Sheet1!$C$1</c:f>
              <c:strCache>
                <c:ptCount val="1"/>
                <c:pt idx="0">
                  <c:v>Series 2</c:v>
                </c:pt>
              </c:strCache>
            </c:strRef>
          </c:tx>
          <c:spPr>
            <a:ln w="12700" cap="rnd">
              <a:solidFill>
                <a:schemeClr val="accent2"/>
              </a:solidFill>
              <a:round/>
            </a:ln>
            <a:effectLst/>
          </c:spPr>
          <c:marker>
            <c:symbol val="circle"/>
            <c:size val="5"/>
            <c:spPr>
              <a:solidFill>
                <a:schemeClr val="accent2"/>
              </a:solidFill>
              <a:ln w="12700">
                <a:solidFill>
                  <a:schemeClr val="accent2"/>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C$2:$C$9</c:f>
              <c:numCache>
                <c:formatCode>General</c:formatCode>
                <c:ptCount val="8"/>
                <c:pt idx="0">
                  <c:v>88</c:v>
                </c:pt>
                <c:pt idx="1">
                  <c:v>142</c:v>
                </c:pt>
                <c:pt idx="2">
                  <c:v>88</c:v>
                </c:pt>
                <c:pt idx="3">
                  <c:v>98</c:v>
                </c:pt>
                <c:pt idx="4">
                  <c:v>112</c:v>
                </c:pt>
                <c:pt idx="5">
                  <c:v>101</c:v>
                </c:pt>
                <c:pt idx="6">
                  <c:v>133</c:v>
                </c:pt>
                <c:pt idx="7">
                  <c:v>142</c:v>
                </c:pt>
              </c:numCache>
            </c:numRef>
          </c:val>
          <c:smooth val="0"/>
          <c:extLst>
            <c:ext xmlns:c16="http://schemas.microsoft.com/office/drawing/2014/chart" uri="{C3380CC4-5D6E-409C-BE32-E72D297353CC}">
              <c16:uniqueId val="{00000001-679A-1949-876D-197407AA5D5D}"/>
            </c:ext>
          </c:extLst>
        </c:ser>
        <c:ser>
          <c:idx val="2"/>
          <c:order val="2"/>
          <c:tx>
            <c:strRef>
              <c:f>Sheet1!$D$1</c:f>
              <c:strCache>
                <c:ptCount val="1"/>
                <c:pt idx="0">
                  <c:v>Series 3</c:v>
                </c:pt>
              </c:strCache>
            </c:strRef>
          </c:tx>
          <c:spPr>
            <a:ln w="12700" cap="rnd">
              <a:solidFill>
                <a:schemeClr val="accent3"/>
              </a:solidFill>
              <a:round/>
            </a:ln>
            <a:effectLst/>
          </c:spPr>
          <c:marker>
            <c:symbol val="circle"/>
            <c:size val="5"/>
            <c:spPr>
              <a:solidFill>
                <a:schemeClr val="accent3"/>
              </a:solidFill>
              <a:ln w="12700">
                <a:solidFill>
                  <a:schemeClr val="accent3"/>
                </a:solidFill>
              </a:ln>
              <a:effectLst/>
            </c:spPr>
          </c:marker>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D$2:$D$9</c:f>
              <c:numCache>
                <c:formatCode>General</c:formatCode>
                <c:ptCount val="8"/>
                <c:pt idx="0">
                  <c:v>25</c:v>
                </c:pt>
                <c:pt idx="1">
                  <c:v>55</c:v>
                </c:pt>
                <c:pt idx="2">
                  <c:v>75</c:v>
                </c:pt>
                <c:pt idx="3">
                  <c:v>83</c:v>
                </c:pt>
                <c:pt idx="4">
                  <c:v>108</c:v>
                </c:pt>
                <c:pt idx="5">
                  <c:v>74</c:v>
                </c:pt>
                <c:pt idx="6">
                  <c:v>88</c:v>
                </c:pt>
                <c:pt idx="7">
                  <c:v>98</c:v>
                </c:pt>
              </c:numCache>
            </c:numRef>
          </c:val>
          <c:smooth val="0"/>
          <c:extLst>
            <c:ext xmlns:c16="http://schemas.microsoft.com/office/drawing/2014/chart" uri="{C3380CC4-5D6E-409C-BE32-E72D297353CC}">
              <c16:uniqueId val="{00000002-679A-1949-876D-197407AA5D5D}"/>
            </c:ext>
          </c:extLst>
        </c:ser>
        <c:dLbls>
          <c:showLegendKey val="0"/>
          <c:showVal val="0"/>
          <c:showCatName val="0"/>
          <c:showSerName val="0"/>
          <c:showPercent val="0"/>
          <c:showBubbleSize val="0"/>
        </c:dLbls>
        <c:marker val="1"/>
        <c:smooth val="0"/>
        <c:axId val="2036638559"/>
        <c:axId val="2036641359"/>
      </c:lineChart>
      <c:catAx>
        <c:axId val="2036638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41359"/>
        <c:crosses val="autoZero"/>
        <c:auto val="1"/>
        <c:lblAlgn val="ctr"/>
        <c:lblOffset val="100"/>
        <c:noMultiLvlLbl val="0"/>
      </c:catAx>
      <c:valAx>
        <c:axId val="2036641359"/>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2036638559"/>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06869063656341E-2"/>
          <c:y val="0.11573512091998733"/>
          <c:w val="0.942574301764322"/>
          <c:h val="0.78303665242532605"/>
        </c:manualLayout>
      </c:layout>
      <c:lineChart>
        <c:grouping val="standard"/>
        <c:varyColors val="0"/>
        <c:ser>
          <c:idx val="0"/>
          <c:order val="0"/>
          <c:tx>
            <c:strRef>
              <c:f>Sheet1!$B$1</c:f>
              <c:strCache>
                <c:ptCount val="1"/>
                <c:pt idx="0">
                  <c:v>Series 1</c:v>
                </c:pt>
              </c:strCache>
            </c:strRef>
          </c:tx>
          <c:spPr>
            <a:ln w="12700" cap="rnd">
              <a:solidFill>
                <a:schemeClr val="tx2"/>
              </a:solidFill>
              <a:round/>
            </a:ln>
            <a:effectLst/>
          </c:spPr>
          <c:marker>
            <c:symbol val="circle"/>
            <c:size val="5"/>
            <c:spPr>
              <a:solidFill>
                <a:schemeClr val="accent6">
                  <a:lumMod val="90000"/>
                </a:schemeClr>
              </a:solidFill>
              <a:ln w="12700">
                <a:solidFill>
                  <a:schemeClr val="tx2"/>
                </a:solidFill>
              </a:ln>
              <a:effectLst/>
            </c:spPr>
          </c:marker>
          <c:cat>
            <c:numRef>
              <c:f>Sheet1!$A$2:$A$1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B$2:$B$11</c:f>
              <c:numCache>
                <c:formatCode>General</c:formatCode>
                <c:ptCount val="10"/>
                <c:pt idx="0">
                  <c:v>25</c:v>
                </c:pt>
                <c:pt idx="1">
                  <c:v>98</c:v>
                </c:pt>
                <c:pt idx="2">
                  <c:v>34</c:v>
                </c:pt>
                <c:pt idx="3">
                  <c:v>57</c:v>
                </c:pt>
                <c:pt idx="4">
                  <c:v>11</c:v>
                </c:pt>
                <c:pt idx="5">
                  <c:v>22</c:v>
                </c:pt>
                <c:pt idx="6">
                  <c:v>99</c:v>
                </c:pt>
                <c:pt idx="7">
                  <c:v>36</c:v>
                </c:pt>
                <c:pt idx="8">
                  <c:v>69</c:v>
                </c:pt>
                <c:pt idx="9">
                  <c:v>25</c:v>
                </c:pt>
              </c:numCache>
            </c:numRef>
          </c:val>
          <c:smooth val="0"/>
          <c:extLst>
            <c:ext xmlns:c16="http://schemas.microsoft.com/office/drawing/2014/chart" uri="{C3380CC4-5D6E-409C-BE32-E72D297353CC}">
              <c16:uniqueId val="{00000000-7241-AE4A-9291-43B144D52A8B}"/>
            </c:ext>
          </c:extLst>
        </c:ser>
        <c:dLbls>
          <c:showLegendKey val="0"/>
          <c:showVal val="0"/>
          <c:showCatName val="0"/>
          <c:showSerName val="0"/>
          <c:showPercent val="0"/>
          <c:showBubbleSize val="0"/>
        </c:dLbls>
        <c:marker val="1"/>
        <c:smooth val="0"/>
        <c:axId val="1787364735"/>
        <c:axId val="1787366367"/>
      </c:lineChart>
      <c:catAx>
        <c:axId val="1787364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6367"/>
        <c:crosses val="autoZero"/>
        <c:auto val="1"/>
        <c:lblAlgn val="ctr"/>
        <c:lblOffset val="100"/>
        <c:noMultiLvlLbl val="0"/>
      </c:catAx>
      <c:valAx>
        <c:axId val="17873663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Open Sans Light" panose="020B0306030504020204" pitchFamily="34" charset="0"/>
                <a:cs typeface="Open Sans Light" panose="020B0306030504020204" pitchFamily="34" charset="0"/>
              </a:defRPr>
            </a:pPr>
            <a:endParaRPr lang="en-US"/>
          </a:p>
        </c:txPr>
        <c:crossAx val="1787364735"/>
        <c:crosses val="autoZero"/>
        <c:crossBetween val="between"/>
        <c:majorUnit val="20"/>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0" i="0">
          <a:solidFill>
            <a:schemeClr val="tx1"/>
          </a:solidFill>
          <a:latin typeface="+mn-lt"/>
          <a:ea typeface="Open Sans Light" panose="020B0306030504020204" pitchFamily="34" charset="0"/>
          <a:cs typeface="Open Sans Light" panose="020B0306030504020204" pitchFamily="34" charset="0"/>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7E4-8447-ACE7-DE8CEA8362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E4-8447-ACE7-DE8CEA8362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E4-8447-ACE7-DE8CEA836238}"/>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7E4-8447-ACE7-DE8CEA83623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F2E-5D44-97CF-44566A04F7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F2E-5D44-97CF-44566A04F7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F2E-5D44-97CF-44566A04F770}"/>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F2E-5D44-97CF-44566A04F77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A552-BA48-AB56-33B606F2BC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552-BA48-AB56-33B606F2BCE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552-BA48-AB56-33B606F2BCE1}"/>
              </c:ext>
            </c:extLst>
          </c:dPt>
          <c:cat>
            <c:strRef>
              <c:f>Sheet1!$A$2:$A$3</c:f>
              <c:strCache>
                <c:ptCount val="2"/>
                <c:pt idx="0">
                  <c:v>Item 01</c:v>
                </c:pt>
                <c:pt idx="1">
                  <c:v>Item 02</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6-A552-BA48-AB56-33B606F2BC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582F-AC40-95CC-45C728D1C18F}"/>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582F-AC40-95CC-45C728D1C1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2F-AC40-95CC-45C728D1C18F}"/>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582F-AC40-95CC-45C728D1C18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FB-E647-8CCC-898FC26AB40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CDFB-E647-8CCC-898FC26AB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FB-E647-8CCC-898FC26AB400}"/>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CDFB-E647-8CCC-898FC26AB4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B070-804F-B254-48358E1E33E2}"/>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B070-804F-B254-48358E1E33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70-804F-B254-48358E1E33E2}"/>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B070-804F-B254-48358E1E33E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DB4-5B48-9BAB-83E5D639ED7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DB4-5B48-9BAB-83E5D639ED7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DB4-5B48-9BAB-83E5D639ED7B}"/>
              </c:ext>
            </c:extLst>
          </c:dPt>
          <c:cat>
            <c:strRef>
              <c:f>Sheet1!$A$2:$A$3</c:f>
              <c:strCache>
                <c:ptCount val="2"/>
                <c:pt idx="0">
                  <c:v>Item 01</c:v>
                </c:pt>
                <c:pt idx="1">
                  <c:v>Item 02</c:v>
                </c:pt>
              </c:strCache>
            </c:strRef>
          </c:cat>
          <c:val>
            <c:numRef>
              <c:f>Sheet1!$B$2:$B$3</c:f>
              <c:numCache>
                <c:formatCode>General</c:formatCode>
                <c:ptCount val="2"/>
                <c:pt idx="0">
                  <c:v>2</c:v>
                </c:pt>
                <c:pt idx="1">
                  <c:v>8</c:v>
                </c:pt>
              </c:numCache>
            </c:numRef>
          </c:val>
          <c:extLst>
            <c:ext xmlns:c16="http://schemas.microsoft.com/office/drawing/2014/chart" uri="{C3380CC4-5D6E-409C-BE32-E72D297353CC}">
              <c16:uniqueId val="{00000006-1DB4-5B48-9BAB-83E5D639ED7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STATISTICS</c:v>
                </c:pt>
              </c:strCache>
            </c:strRef>
          </c:tx>
          <c:spPr>
            <a:solidFill>
              <a:schemeClr val="accent1"/>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0-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1-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02-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03-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04-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05-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06-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07-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08-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09-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0A-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0B-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0C-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B$2:$B$18</c:f>
              <c:numCache>
                <c:formatCode>General</c:formatCode>
                <c:ptCount val="17"/>
                <c:pt idx="0">
                  <c:v>0</c:v>
                </c:pt>
                <c:pt idx="1">
                  <c:v>25</c:v>
                </c:pt>
                <c:pt idx="2">
                  <c:v>25</c:v>
                </c:pt>
                <c:pt idx="3">
                  <c:v>25</c:v>
                </c:pt>
                <c:pt idx="4">
                  <c:v>0</c:v>
                </c:pt>
                <c:pt idx="5">
                  <c:v>30</c:v>
                </c:pt>
                <c:pt idx="6">
                  <c:v>30</c:v>
                </c:pt>
                <c:pt idx="7">
                  <c:v>30</c:v>
                </c:pt>
                <c:pt idx="8">
                  <c:v>0</c:v>
                </c:pt>
                <c:pt idx="9">
                  <c:v>15</c:v>
                </c:pt>
                <c:pt idx="10">
                  <c:v>15</c:v>
                </c:pt>
                <c:pt idx="11">
                  <c:v>15</c:v>
                </c:pt>
                <c:pt idx="12">
                  <c:v>0</c:v>
                </c:pt>
                <c:pt idx="13">
                  <c:v>51</c:v>
                </c:pt>
                <c:pt idx="14">
                  <c:v>51</c:v>
                </c:pt>
                <c:pt idx="15">
                  <c:v>51</c:v>
                </c:pt>
                <c:pt idx="16">
                  <c:v>0</c:v>
                </c:pt>
              </c:numCache>
            </c:numRef>
          </c:val>
          <c:extLst>
            <c:ext xmlns:c16="http://schemas.microsoft.com/office/drawing/2014/chart" uri="{C3380CC4-5D6E-409C-BE32-E72D297353CC}">
              <c16:uniqueId val="{0000000D-5105-2A41-BF9C-0C583E07775F}"/>
            </c:ext>
          </c:extLst>
        </c:ser>
        <c:ser>
          <c:idx val="1"/>
          <c:order val="1"/>
          <c:tx>
            <c:strRef>
              <c:f>Sheet1!$C$1</c:f>
              <c:strCache>
                <c:ptCount val="1"/>
                <c:pt idx="0">
                  <c:v>PROGRAMMING</c:v>
                </c:pt>
              </c:strCache>
            </c:strRef>
          </c:tx>
          <c:spPr>
            <a:solidFill>
              <a:schemeClr val="tx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E-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0F-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0-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1-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12-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13-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14-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15-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16-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17-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18-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19-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1A-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C$2:$C$18</c:f>
              <c:numCache>
                <c:formatCode>General</c:formatCode>
                <c:ptCount val="17"/>
                <c:pt idx="0">
                  <c:v>0</c:v>
                </c:pt>
                <c:pt idx="1">
                  <c:v>5</c:v>
                </c:pt>
                <c:pt idx="2">
                  <c:v>5</c:v>
                </c:pt>
                <c:pt idx="3">
                  <c:v>5</c:v>
                </c:pt>
                <c:pt idx="4">
                  <c:v>0</c:v>
                </c:pt>
                <c:pt idx="5">
                  <c:v>20</c:v>
                </c:pt>
                <c:pt idx="6">
                  <c:v>20</c:v>
                </c:pt>
                <c:pt idx="7">
                  <c:v>20</c:v>
                </c:pt>
                <c:pt idx="8">
                  <c:v>0</c:v>
                </c:pt>
                <c:pt idx="9">
                  <c:v>27</c:v>
                </c:pt>
                <c:pt idx="10">
                  <c:v>27</c:v>
                </c:pt>
                <c:pt idx="11">
                  <c:v>27</c:v>
                </c:pt>
                <c:pt idx="12">
                  <c:v>0</c:v>
                </c:pt>
                <c:pt idx="13">
                  <c:v>5</c:v>
                </c:pt>
                <c:pt idx="14">
                  <c:v>5</c:v>
                </c:pt>
                <c:pt idx="15">
                  <c:v>5</c:v>
                </c:pt>
                <c:pt idx="16">
                  <c:v>0</c:v>
                </c:pt>
              </c:numCache>
            </c:numRef>
          </c:val>
          <c:extLst>
            <c:ext xmlns:c16="http://schemas.microsoft.com/office/drawing/2014/chart" uri="{C3380CC4-5D6E-409C-BE32-E72D297353CC}">
              <c16:uniqueId val="{0000001B-5105-2A41-BF9C-0C583E07775F}"/>
            </c:ext>
          </c:extLst>
        </c:ser>
        <c:ser>
          <c:idx val="2"/>
          <c:order val="2"/>
          <c:tx>
            <c:strRef>
              <c:f>Sheet1!$D$1</c:f>
              <c:strCache>
                <c:ptCount val="1"/>
                <c:pt idx="0">
                  <c:v>MATH/OR</c:v>
                </c:pt>
              </c:strCache>
            </c:strRef>
          </c:tx>
          <c:spPr>
            <a:solidFill>
              <a:schemeClr val="accent2"/>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C-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1D-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1E-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1F-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0-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1-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22-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23-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24-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25-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26-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27-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28-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D$2:$D$18</c:f>
              <c:numCache>
                <c:formatCode>General</c:formatCode>
                <c:ptCount val="17"/>
                <c:pt idx="0">
                  <c:v>0</c:v>
                </c:pt>
                <c:pt idx="1">
                  <c:v>10</c:v>
                </c:pt>
                <c:pt idx="2">
                  <c:v>10</c:v>
                </c:pt>
                <c:pt idx="3">
                  <c:v>10</c:v>
                </c:pt>
                <c:pt idx="4">
                  <c:v>0</c:v>
                </c:pt>
                <c:pt idx="5">
                  <c:v>10</c:v>
                </c:pt>
                <c:pt idx="6">
                  <c:v>10</c:v>
                </c:pt>
                <c:pt idx="7">
                  <c:v>10</c:v>
                </c:pt>
                <c:pt idx="8">
                  <c:v>0</c:v>
                </c:pt>
                <c:pt idx="9">
                  <c:v>16</c:v>
                </c:pt>
                <c:pt idx="10">
                  <c:v>16</c:v>
                </c:pt>
                <c:pt idx="11">
                  <c:v>16</c:v>
                </c:pt>
                <c:pt idx="12">
                  <c:v>0</c:v>
                </c:pt>
                <c:pt idx="13">
                  <c:v>17</c:v>
                </c:pt>
                <c:pt idx="14">
                  <c:v>17</c:v>
                </c:pt>
                <c:pt idx="15">
                  <c:v>17</c:v>
                </c:pt>
                <c:pt idx="16">
                  <c:v>0</c:v>
                </c:pt>
              </c:numCache>
            </c:numRef>
          </c:val>
          <c:extLst>
            <c:ext xmlns:c16="http://schemas.microsoft.com/office/drawing/2014/chart" uri="{C3380CC4-5D6E-409C-BE32-E72D297353CC}">
              <c16:uniqueId val="{00000029-5105-2A41-BF9C-0C583E07775F}"/>
            </c:ext>
          </c:extLst>
        </c:ser>
        <c:ser>
          <c:idx val="3"/>
          <c:order val="3"/>
          <c:tx>
            <c:strRef>
              <c:f>Sheet1!$E$1</c:f>
              <c:strCache>
                <c:ptCount val="1"/>
                <c:pt idx="0">
                  <c:v>ML/BIG DATA</c:v>
                </c:pt>
              </c:strCache>
            </c:strRef>
          </c:tx>
          <c:spPr>
            <a:solidFill>
              <a:schemeClr val="accent4"/>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A-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2B-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2C-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2D-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2E-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2F-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0-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1-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32-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33-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34-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35-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36-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E$2:$E$18</c:f>
              <c:numCache>
                <c:formatCode>General</c:formatCode>
                <c:ptCount val="17"/>
                <c:pt idx="0">
                  <c:v>0</c:v>
                </c:pt>
                <c:pt idx="1">
                  <c:v>15</c:v>
                </c:pt>
                <c:pt idx="2">
                  <c:v>15</c:v>
                </c:pt>
                <c:pt idx="3">
                  <c:v>15</c:v>
                </c:pt>
                <c:pt idx="4">
                  <c:v>0</c:v>
                </c:pt>
                <c:pt idx="5">
                  <c:v>23</c:v>
                </c:pt>
                <c:pt idx="6">
                  <c:v>23</c:v>
                </c:pt>
                <c:pt idx="7">
                  <c:v>23</c:v>
                </c:pt>
                <c:pt idx="8">
                  <c:v>0</c:v>
                </c:pt>
                <c:pt idx="9">
                  <c:v>25</c:v>
                </c:pt>
                <c:pt idx="10">
                  <c:v>25</c:v>
                </c:pt>
                <c:pt idx="11">
                  <c:v>25</c:v>
                </c:pt>
                <c:pt idx="12">
                  <c:v>0</c:v>
                </c:pt>
                <c:pt idx="13">
                  <c:v>15</c:v>
                </c:pt>
                <c:pt idx="14">
                  <c:v>15</c:v>
                </c:pt>
                <c:pt idx="15">
                  <c:v>15</c:v>
                </c:pt>
                <c:pt idx="16">
                  <c:v>0</c:v>
                </c:pt>
              </c:numCache>
            </c:numRef>
          </c:val>
          <c:extLst>
            <c:ext xmlns:c16="http://schemas.microsoft.com/office/drawing/2014/chart" uri="{C3380CC4-5D6E-409C-BE32-E72D297353CC}">
              <c16:uniqueId val="{00000037-5105-2A41-BF9C-0C583E07775F}"/>
            </c:ext>
          </c:extLst>
        </c:ser>
        <c:ser>
          <c:idx val="4"/>
          <c:order val="4"/>
          <c:tx>
            <c:strRef>
              <c:f>Sheet1!$F$1</c:f>
              <c:strCache>
                <c:ptCount val="1"/>
                <c:pt idx="0">
                  <c:v>BUSINESS</c:v>
                </c:pt>
              </c:strCache>
            </c:strRef>
          </c:tx>
          <c:spPr>
            <a:solidFill>
              <a:schemeClr val="accent3"/>
            </a:solidFill>
            <a:ln w="12700">
              <a:solidFill>
                <a:schemeClr val="bg1"/>
              </a:solid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38-5105-2A41-BF9C-0C583E07775F}"/>
                </c:ext>
              </c:extLst>
            </c:dLbl>
            <c:dLbl>
              <c:idx val="1"/>
              <c:delete val="1"/>
              <c:extLst>
                <c:ext xmlns:c15="http://schemas.microsoft.com/office/drawing/2012/chart" uri="{CE6537A1-D6FC-4f65-9D91-7224C49458BB}"/>
                <c:ext xmlns:c16="http://schemas.microsoft.com/office/drawing/2014/chart" uri="{C3380CC4-5D6E-409C-BE32-E72D297353CC}">
                  <c16:uniqueId val="{00000039-5105-2A41-BF9C-0C583E07775F}"/>
                </c:ext>
              </c:extLst>
            </c:dLbl>
            <c:dLbl>
              <c:idx val="3"/>
              <c:delete val="1"/>
              <c:extLst>
                <c:ext xmlns:c15="http://schemas.microsoft.com/office/drawing/2012/chart" uri="{CE6537A1-D6FC-4f65-9D91-7224C49458BB}"/>
                <c:ext xmlns:c16="http://schemas.microsoft.com/office/drawing/2014/chart" uri="{C3380CC4-5D6E-409C-BE32-E72D297353CC}">
                  <c16:uniqueId val="{0000003A-5105-2A41-BF9C-0C583E07775F}"/>
                </c:ext>
              </c:extLst>
            </c:dLbl>
            <c:dLbl>
              <c:idx val="4"/>
              <c:delete val="1"/>
              <c:extLst>
                <c:ext xmlns:c15="http://schemas.microsoft.com/office/drawing/2012/chart" uri="{CE6537A1-D6FC-4f65-9D91-7224C49458BB}"/>
                <c:ext xmlns:c16="http://schemas.microsoft.com/office/drawing/2014/chart" uri="{C3380CC4-5D6E-409C-BE32-E72D297353CC}">
                  <c16:uniqueId val="{0000003B-5105-2A41-BF9C-0C583E07775F}"/>
                </c:ext>
              </c:extLst>
            </c:dLbl>
            <c:dLbl>
              <c:idx val="5"/>
              <c:delete val="1"/>
              <c:extLst>
                <c:ext xmlns:c15="http://schemas.microsoft.com/office/drawing/2012/chart" uri="{CE6537A1-D6FC-4f65-9D91-7224C49458BB}"/>
                <c:ext xmlns:c16="http://schemas.microsoft.com/office/drawing/2014/chart" uri="{C3380CC4-5D6E-409C-BE32-E72D297353CC}">
                  <c16:uniqueId val="{0000003C-5105-2A41-BF9C-0C583E07775F}"/>
                </c:ext>
              </c:extLst>
            </c:dLbl>
            <c:dLbl>
              <c:idx val="7"/>
              <c:delete val="1"/>
              <c:extLst>
                <c:ext xmlns:c15="http://schemas.microsoft.com/office/drawing/2012/chart" uri="{CE6537A1-D6FC-4f65-9D91-7224C49458BB}"/>
                <c:ext xmlns:c16="http://schemas.microsoft.com/office/drawing/2014/chart" uri="{C3380CC4-5D6E-409C-BE32-E72D297353CC}">
                  <c16:uniqueId val="{0000003D-5105-2A41-BF9C-0C583E07775F}"/>
                </c:ext>
              </c:extLst>
            </c:dLbl>
            <c:dLbl>
              <c:idx val="8"/>
              <c:delete val="1"/>
              <c:extLst>
                <c:ext xmlns:c15="http://schemas.microsoft.com/office/drawing/2012/chart" uri="{CE6537A1-D6FC-4f65-9D91-7224C49458BB}"/>
                <c:ext xmlns:c16="http://schemas.microsoft.com/office/drawing/2014/chart" uri="{C3380CC4-5D6E-409C-BE32-E72D297353CC}">
                  <c16:uniqueId val="{0000003E-5105-2A41-BF9C-0C583E07775F}"/>
                </c:ext>
              </c:extLst>
            </c:dLbl>
            <c:dLbl>
              <c:idx val="9"/>
              <c:delete val="1"/>
              <c:extLst>
                <c:ext xmlns:c15="http://schemas.microsoft.com/office/drawing/2012/chart" uri="{CE6537A1-D6FC-4f65-9D91-7224C49458BB}"/>
                <c:ext xmlns:c16="http://schemas.microsoft.com/office/drawing/2014/chart" uri="{C3380CC4-5D6E-409C-BE32-E72D297353CC}">
                  <c16:uniqueId val="{0000003F-5105-2A41-BF9C-0C583E07775F}"/>
                </c:ext>
              </c:extLst>
            </c:dLbl>
            <c:dLbl>
              <c:idx val="11"/>
              <c:delete val="1"/>
              <c:extLst>
                <c:ext xmlns:c15="http://schemas.microsoft.com/office/drawing/2012/chart" uri="{CE6537A1-D6FC-4f65-9D91-7224C49458BB}"/>
                <c:ext xmlns:c16="http://schemas.microsoft.com/office/drawing/2014/chart" uri="{C3380CC4-5D6E-409C-BE32-E72D297353CC}">
                  <c16:uniqueId val="{00000040-5105-2A41-BF9C-0C583E07775F}"/>
                </c:ext>
              </c:extLst>
            </c:dLbl>
            <c:dLbl>
              <c:idx val="12"/>
              <c:delete val="1"/>
              <c:extLst>
                <c:ext xmlns:c15="http://schemas.microsoft.com/office/drawing/2012/chart" uri="{CE6537A1-D6FC-4f65-9D91-7224C49458BB}"/>
                <c:ext xmlns:c16="http://schemas.microsoft.com/office/drawing/2014/chart" uri="{C3380CC4-5D6E-409C-BE32-E72D297353CC}">
                  <c16:uniqueId val="{00000041-5105-2A41-BF9C-0C583E07775F}"/>
                </c:ext>
              </c:extLst>
            </c:dLbl>
            <c:dLbl>
              <c:idx val="13"/>
              <c:delete val="1"/>
              <c:extLst>
                <c:ext xmlns:c15="http://schemas.microsoft.com/office/drawing/2012/chart" uri="{CE6537A1-D6FC-4f65-9D91-7224C49458BB}"/>
                <c:ext xmlns:c16="http://schemas.microsoft.com/office/drawing/2014/chart" uri="{C3380CC4-5D6E-409C-BE32-E72D297353CC}">
                  <c16:uniqueId val="{00000042-5105-2A41-BF9C-0C583E07775F}"/>
                </c:ext>
              </c:extLst>
            </c:dLbl>
            <c:dLbl>
              <c:idx val="15"/>
              <c:delete val="1"/>
              <c:extLst>
                <c:ext xmlns:c15="http://schemas.microsoft.com/office/drawing/2012/chart" uri="{CE6537A1-D6FC-4f65-9D91-7224C49458BB}"/>
                <c:ext xmlns:c16="http://schemas.microsoft.com/office/drawing/2014/chart" uri="{C3380CC4-5D6E-409C-BE32-E72D297353CC}">
                  <c16:uniqueId val="{00000043-5105-2A41-BF9C-0C583E07775F}"/>
                </c:ext>
              </c:extLst>
            </c:dLbl>
            <c:dLbl>
              <c:idx val="16"/>
              <c:delete val="1"/>
              <c:extLst>
                <c:ext xmlns:c15="http://schemas.microsoft.com/office/drawing/2012/chart" uri="{CE6537A1-D6FC-4f65-9D91-7224C49458BB}"/>
                <c:ext xmlns:c16="http://schemas.microsoft.com/office/drawing/2014/chart" uri="{C3380CC4-5D6E-409C-BE32-E72D297353CC}">
                  <c16:uniqueId val="{00000044-5105-2A41-BF9C-0C583E07775F}"/>
                </c:ext>
              </c:extLst>
            </c:dLbl>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Poppins" pitchFamily="2" charset="77"/>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pt idx="0">
                  <c:v>0</c:v>
                </c:pt>
                <c:pt idx="1">
                  <c:v>0</c:v>
                </c:pt>
                <c:pt idx="2">
                  <c:v>12.5</c:v>
                </c:pt>
                <c:pt idx="3">
                  <c:v>25</c:v>
                </c:pt>
                <c:pt idx="4">
                  <c:v>25</c:v>
                </c:pt>
                <c:pt idx="5">
                  <c:v>25</c:v>
                </c:pt>
                <c:pt idx="6">
                  <c:v>37.5</c:v>
                </c:pt>
                <c:pt idx="7">
                  <c:v>50</c:v>
                </c:pt>
                <c:pt idx="8">
                  <c:v>50</c:v>
                </c:pt>
                <c:pt idx="9">
                  <c:v>50</c:v>
                </c:pt>
                <c:pt idx="10">
                  <c:v>62.5</c:v>
                </c:pt>
                <c:pt idx="11">
                  <c:v>75</c:v>
                </c:pt>
                <c:pt idx="12">
                  <c:v>75</c:v>
                </c:pt>
                <c:pt idx="13">
                  <c:v>75</c:v>
                </c:pt>
                <c:pt idx="14">
                  <c:v>87.5</c:v>
                </c:pt>
                <c:pt idx="15">
                  <c:v>100</c:v>
                </c:pt>
                <c:pt idx="16">
                  <c:v>100</c:v>
                </c:pt>
              </c:numCache>
            </c:numRef>
          </c:cat>
          <c:val>
            <c:numRef>
              <c:f>Sheet1!$F$2:$F$18</c:f>
              <c:numCache>
                <c:formatCode>General</c:formatCode>
                <c:ptCount val="17"/>
                <c:pt idx="0">
                  <c:v>0</c:v>
                </c:pt>
                <c:pt idx="1">
                  <c:v>45</c:v>
                </c:pt>
                <c:pt idx="2">
                  <c:v>45</c:v>
                </c:pt>
                <c:pt idx="3">
                  <c:v>45</c:v>
                </c:pt>
                <c:pt idx="4">
                  <c:v>0</c:v>
                </c:pt>
                <c:pt idx="5">
                  <c:v>17</c:v>
                </c:pt>
                <c:pt idx="6">
                  <c:v>17</c:v>
                </c:pt>
                <c:pt idx="7">
                  <c:v>17</c:v>
                </c:pt>
                <c:pt idx="8">
                  <c:v>0</c:v>
                </c:pt>
                <c:pt idx="9">
                  <c:v>17</c:v>
                </c:pt>
                <c:pt idx="10">
                  <c:v>17</c:v>
                </c:pt>
                <c:pt idx="11">
                  <c:v>17</c:v>
                </c:pt>
                <c:pt idx="12">
                  <c:v>0</c:v>
                </c:pt>
                <c:pt idx="13">
                  <c:v>12</c:v>
                </c:pt>
                <c:pt idx="14">
                  <c:v>12</c:v>
                </c:pt>
                <c:pt idx="15">
                  <c:v>12</c:v>
                </c:pt>
                <c:pt idx="16">
                  <c:v>0</c:v>
                </c:pt>
              </c:numCache>
            </c:numRef>
          </c:val>
          <c:extLst>
            <c:ext xmlns:c16="http://schemas.microsoft.com/office/drawing/2014/chart" uri="{C3380CC4-5D6E-409C-BE32-E72D297353CC}">
              <c16:uniqueId val="{00000045-5105-2A41-BF9C-0C583E07775F}"/>
            </c:ext>
          </c:extLst>
        </c:ser>
        <c:dLbls>
          <c:showLegendKey val="0"/>
          <c:showVal val="1"/>
          <c:showCatName val="0"/>
          <c:showSerName val="0"/>
          <c:showPercent val="0"/>
          <c:showBubbleSize val="0"/>
        </c:dLbls>
        <c:axId val="1791692080"/>
        <c:axId val="1791694048"/>
      </c:areaChart>
      <c:dateAx>
        <c:axId val="1791692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4048"/>
        <c:crosses val="autoZero"/>
        <c:auto val="0"/>
        <c:lblOffset val="100"/>
        <c:baseTimeUnit val="days"/>
        <c:majorUnit val="10"/>
        <c:majorTimeUnit val="days"/>
        <c:minorUnit val="10"/>
        <c:minorTimeUnit val="days"/>
      </c:dateAx>
      <c:valAx>
        <c:axId val="179169404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Poppins" pitchFamily="2" charset="77"/>
              </a:defRPr>
            </a:pPr>
            <a:endParaRPr lang="en-US"/>
          </a:p>
        </c:txPr>
        <c:crossAx val="1791692080"/>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2"/>
          </a:solidFill>
          <a:latin typeface="+mn-lt"/>
          <a:cs typeface="Poppins" pitchFamily="2"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clustered"/>
        <c:varyColors val="0"/>
        <c:ser>
          <c:idx val="0"/>
          <c:order val="0"/>
          <c:tx>
            <c:strRef>
              <c:f>Sheet1!$B$1</c:f>
              <c:strCache>
                <c:ptCount val="1"/>
                <c:pt idx="0">
                  <c:v>Entertain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Business</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18</c:v>
                </c:pt>
                <c:pt idx="1">
                  <c:v>Between 20-40</c:v>
                </c:pt>
                <c:pt idx="2">
                  <c:v>Between 40-60</c:v>
                </c:pt>
              </c:strCache>
            </c:strRef>
          </c:cat>
          <c:val>
            <c:numRef>
              <c:f>Sheet1!$C$2:$C$4</c:f>
              <c:numCache>
                <c:formatCode>General</c:formatCode>
                <c:ptCount val="3"/>
                <c:pt idx="0">
                  <c:v>24</c:v>
                </c:pt>
                <c:pt idx="1">
                  <c:v>44</c:v>
                </c:pt>
                <c:pt idx="2">
                  <c:v>18</c:v>
                </c:pt>
              </c:numCache>
            </c:numRef>
          </c:val>
          <c:extLst>
            <c:ext xmlns:c16="http://schemas.microsoft.com/office/drawing/2014/chart" uri="{C3380CC4-5D6E-409C-BE32-E72D297353CC}">
              <c16:uniqueId val="{00000001-527A-5347-85C8-05058F86A2A1}"/>
            </c:ext>
          </c:extLst>
        </c:ser>
        <c:ser>
          <c:idx val="2"/>
          <c:order val="2"/>
          <c:tx>
            <c:strRef>
              <c:f>Sheet1!$D$1</c:f>
              <c:strCache>
                <c:ptCount val="1"/>
                <c:pt idx="0">
                  <c:v>Social Media</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strRef>
              <c:f>Sheet1!$A$2:$A$4</c:f>
              <c:strCache>
                <c:ptCount val="3"/>
                <c:pt idx="0">
                  <c:v>Under 18</c:v>
                </c:pt>
                <c:pt idx="1">
                  <c:v>Between 20-40</c:v>
                </c:pt>
                <c:pt idx="2">
                  <c:v>Between 40-60</c:v>
                </c:pt>
              </c:strCache>
            </c:strRef>
          </c:cat>
          <c:val>
            <c:numRef>
              <c:f>Sheet1!$D$2:$D$4</c:f>
              <c:numCache>
                <c:formatCode>General</c:formatCode>
                <c:ptCount val="3"/>
                <c:pt idx="0">
                  <c:v>20</c:v>
                </c:pt>
                <c:pt idx="1">
                  <c:v>22</c:v>
                </c:pt>
                <c:pt idx="2">
                  <c:v>35</c:v>
                </c:pt>
              </c:numCache>
            </c:numRef>
          </c:val>
          <c:extLst>
            <c:ext xmlns:c16="http://schemas.microsoft.com/office/drawing/2014/chart" uri="{C3380CC4-5D6E-409C-BE32-E72D297353CC}">
              <c16:uniqueId val="{00000002-527A-5347-85C8-05058F86A2A1}"/>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Hoja1!$B$1</c:f>
              <c:strCache>
                <c:ptCount val="1"/>
                <c:pt idx="0">
                  <c:v>Serie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oja1!$A$2:$A$6</c:f>
              <c:strCache>
                <c:ptCount val="5"/>
                <c:pt idx="0">
                  <c:v>Text</c:v>
                </c:pt>
                <c:pt idx="1">
                  <c:v>Text</c:v>
                </c:pt>
                <c:pt idx="2">
                  <c:v>Text</c:v>
                </c:pt>
                <c:pt idx="3">
                  <c:v>Text</c:v>
                </c:pt>
                <c:pt idx="4">
                  <c:v>Text</c:v>
                </c:pt>
              </c:strCache>
            </c:strRef>
          </c:cat>
          <c:val>
            <c:numRef>
              <c:f>Hoja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364E-4345-A011-F6CEBB4AC424}"/>
            </c:ext>
          </c:extLst>
        </c:ser>
        <c:ser>
          <c:idx val="1"/>
          <c:order val="1"/>
          <c:tx>
            <c:strRef>
              <c:f>Hoja1!$C$1</c:f>
              <c:strCache>
                <c:ptCount val="1"/>
                <c:pt idx="0">
                  <c:v>Serie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Hoja1!$A$2:$A$6</c:f>
              <c:strCache>
                <c:ptCount val="5"/>
                <c:pt idx="0">
                  <c:v>Text</c:v>
                </c:pt>
                <c:pt idx="1">
                  <c:v>Text</c:v>
                </c:pt>
                <c:pt idx="2">
                  <c:v>Text</c:v>
                </c:pt>
                <c:pt idx="3">
                  <c:v>Text</c:v>
                </c:pt>
                <c:pt idx="4">
                  <c:v>Text</c:v>
                </c:pt>
              </c:strCache>
            </c:strRef>
          </c:cat>
          <c:val>
            <c:numRef>
              <c:f>Hoja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364E-4345-A011-F6CEBB4AC424}"/>
            </c:ext>
          </c:extLst>
        </c:ser>
        <c:dLbls>
          <c:showLegendKey val="0"/>
          <c:showVal val="0"/>
          <c:showCatName val="0"/>
          <c:showSerName val="0"/>
          <c:showPercent val="0"/>
          <c:showBubbleSize val="0"/>
        </c:dLbls>
        <c:axId val="1601507632"/>
        <c:axId val="1601508616"/>
      </c:radarChart>
      <c:catAx>
        <c:axId val="160150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8616"/>
        <c:crosses val="autoZero"/>
        <c:auto val="1"/>
        <c:lblAlgn val="ctr"/>
        <c:lblOffset val="100"/>
        <c:noMultiLvlLbl val="0"/>
      </c:catAx>
      <c:valAx>
        <c:axId val="160150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1507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4683804366353"/>
          <c:y val="3.2490858021462572E-2"/>
          <c:w val="0.79030588412860947"/>
          <c:h val="0.93501828395707487"/>
        </c:manualLayout>
      </c:layout>
      <c:barChart>
        <c:barDir val="bar"/>
        <c:grouping val="stacked"/>
        <c:varyColors val="0"/>
        <c:ser>
          <c:idx val="0"/>
          <c:order val="0"/>
          <c:tx>
            <c:strRef>
              <c:f>Sheet1!$B$1</c:f>
              <c:strCache>
                <c:ptCount val="1"/>
                <c:pt idx="0">
                  <c:v>Text</c:v>
                </c:pt>
              </c:strCache>
            </c:strRef>
          </c:tx>
          <c:spPr>
            <a:solidFill>
              <a:schemeClr val="accent1"/>
            </a:solidFill>
            <a:ln>
              <a:noFill/>
            </a:ln>
            <a:effectLst/>
          </c:spPr>
          <c:invertIfNegative val="0"/>
          <c:dPt>
            <c:idx val="1"/>
            <c:invertIfNegative val="0"/>
            <c:bubble3D val="0"/>
            <c:spPr>
              <a:solidFill>
                <a:schemeClr val="bg1"/>
              </a:solidFill>
              <a:ln>
                <a:noFill/>
              </a:ln>
              <a:effectLst/>
            </c:spPr>
            <c:extLst>
              <c:ext xmlns:c16="http://schemas.microsoft.com/office/drawing/2014/chart" uri="{C3380CC4-5D6E-409C-BE32-E72D297353CC}">
                <c16:uniqueId val="{00000003-6814-4292-B9CD-6073CA618011}"/>
              </c:ext>
            </c:extLst>
          </c:dPt>
          <c:dPt>
            <c:idx val="2"/>
            <c:invertIfNegative val="0"/>
            <c:bubble3D val="0"/>
            <c:spPr>
              <a:solidFill>
                <a:schemeClr val="bg1"/>
              </a:solidFill>
              <a:ln>
                <a:noFill/>
              </a:ln>
              <a:effectLst/>
            </c:spPr>
            <c:extLst>
              <c:ext xmlns:c16="http://schemas.microsoft.com/office/drawing/2014/chart" uri="{C3380CC4-5D6E-409C-BE32-E72D297353CC}">
                <c16:uniqueId val="{00000002-6814-4292-B9CD-6073CA618011}"/>
              </c:ext>
            </c:extLst>
          </c:dPt>
          <c:dPt>
            <c:idx val="3"/>
            <c:invertIfNegative val="0"/>
            <c:bubble3D val="0"/>
            <c:spPr>
              <a:solidFill>
                <a:schemeClr val="bg1"/>
              </a:solidFill>
              <a:ln>
                <a:noFill/>
              </a:ln>
              <a:effectLst/>
            </c:spPr>
            <c:extLst>
              <c:ext xmlns:c16="http://schemas.microsoft.com/office/drawing/2014/chart" uri="{C3380CC4-5D6E-409C-BE32-E72D297353CC}">
                <c16:uniqueId val="{00000001-6814-4292-B9CD-6073CA61801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B$2:$B$6</c:f>
              <c:numCache>
                <c:formatCode>General</c:formatCode>
                <c:ptCount val="5"/>
                <c:pt idx="0">
                  <c:v>60</c:v>
                </c:pt>
                <c:pt idx="1">
                  <c:v>50</c:v>
                </c:pt>
                <c:pt idx="2">
                  <c:v>40</c:v>
                </c:pt>
                <c:pt idx="3">
                  <c:v>30</c:v>
                </c:pt>
                <c:pt idx="4">
                  <c:v>30</c:v>
                </c:pt>
              </c:numCache>
            </c:numRef>
          </c:val>
          <c:extLst>
            <c:ext xmlns:c16="http://schemas.microsoft.com/office/drawing/2014/chart" uri="{C3380CC4-5D6E-409C-BE32-E72D297353CC}">
              <c16:uniqueId val="{00000000-527A-5347-85C8-05058F86A2A1}"/>
            </c:ext>
          </c:extLst>
        </c:ser>
        <c:ser>
          <c:idx val="1"/>
          <c:order val="1"/>
          <c:tx>
            <c:strRef>
              <c:f>Sheet1!$C$1</c:f>
              <c:strCache>
                <c:ptCount val="1"/>
                <c:pt idx="0">
                  <c:v>Text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xt</c:v>
                </c:pt>
                <c:pt idx="1">
                  <c:v>Text</c:v>
                </c:pt>
                <c:pt idx="2">
                  <c:v>Text</c:v>
                </c:pt>
                <c:pt idx="3">
                  <c:v>Text</c:v>
                </c:pt>
                <c:pt idx="4">
                  <c:v>Text</c:v>
                </c:pt>
              </c:strCache>
            </c:strRef>
          </c:cat>
          <c:val>
            <c:numRef>
              <c:f>Sheet1!$C$2:$C$6</c:f>
              <c:numCache>
                <c:formatCode>General</c:formatCode>
                <c:ptCount val="5"/>
                <c:pt idx="1">
                  <c:v>10</c:v>
                </c:pt>
                <c:pt idx="2">
                  <c:v>10</c:v>
                </c:pt>
                <c:pt idx="3">
                  <c:v>10</c:v>
                </c:pt>
              </c:numCache>
            </c:numRef>
          </c:val>
          <c:extLst>
            <c:ext xmlns:c16="http://schemas.microsoft.com/office/drawing/2014/chart" uri="{C3380CC4-5D6E-409C-BE32-E72D297353CC}">
              <c16:uniqueId val="{00000000-4FFA-49C1-93A4-7B3DB1F8456F}"/>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b"/>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accent1"/>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13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Text</c:v>
                </c:pt>
              </c:strCache>
            </c:strRef>
          </c:tx>
          <c:spPr>
            <a:solidFill>
              <a:schemeClr val="tx2"/>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B$2:$B$9</c:f>
              <c:numCache>
                <c:formatCode>General</c:formatCode>
                <c:ptCount val="8"/>
                <c:pt idx="0">
                  <c:v>10</c:v>
                </c:pt>
                <c:pt idx="1">
                  <c:v>20</c:v>
                </c:pt>
                <c:pt idx="2">
                  <c:v>30</c:v>
                </c:pt>
                <c:pt idx="3">
                  <c:v>40</c:v>
                </c:pt>
                <c:pt idx="4">
                  <c:v>50</c:v>
                </c:pt>
                <c:pt idx="5">
                  <c:v>60</c:v>
                </c:pt>
                <c:pt idx="6">
                  <c:v>70</c:v>
                </c:pt>
                <c:pt idx="7">
                  <c:v>80</c:v>
                </c:pt>
              </c:numCache>
            </c:numRef>
          </c:val>
          <c:extLst>
            <c:ext xmlns:c16="http://schemas.microsoft.com/office/drawing/2014/chart" uri="{C3380CC4-5D6E-409C-BE32-E72D297353CC}">
              <c16:uniqueId val="{00000003-AD15-4710-BD18-5585B49113A0}"/>
            </c:ext>
          </c:extLst>
        </c:ser>
        <c:ser>
          <c:idx val="1"/>
          <c:order val="1"/>
          <c:tx>
            <c:strRef>
              <c:f>Sheet1!$C$1</c:f>
              <c:strCache>
                <c:ptCount val="1"/>
                <c:pt idx="0">
                  <c:v>Text2</c:v>
                </c:pt>
              </c:strCache>
            </c:strRef>
          </c:tx>
          <c:spPr>
            <a:solidFill>
              <a:schemeClr val="bg2"/>
            </a:solidFill>
            <a:ln>
              <a:noFill/>
            </a:ln>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Text</c:v>
                </c:pt>
                <c:pt idx="1">
                  <c:v>Text</c:v>
                </c:pt>
                <c:pt idx="2">
                  <c:v>Text</c:v>
                </c:pt>
                <c:pt idx="3">
                  <c:v>Text</c:v>
                </c:pt>
                <c:pt idx="4">
                  <c:v>Text</c:v>
                </c:pt>
                <c:pt idx="5">
                  <c:v>Text</c:v>
                </c:pt>
                <c:pt idx="6">
                  <c:v>Text</c:v>
                </c:pt>
                <c:pt idx="7">
                  <c:v>Text</c:v>
                </c:pt>
              </c:strCache>
            </c:strRef>
          </c:cat>
          <c:val>
            <c:numRef>
              <c:f>Sheet1!$C$2:$C$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0C-AD15-4710-BD18-5585B49113A0}"/>
            </c:ext>
          </c:extLst>
        </c:ser>
        <c:dLbls>
          <c:showLegendKey val="0"/>
          <c:showVal val="0"/>
          <c:showCatName val="0"/>
          <c:showSerName val="0"/>
          <c:showPercent val="0"/>
          <c:showBubbleSize val="0"/>
        </c:dLbls>
        <c:gapWidth val="130"/>
        <c:overlap val="10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0%"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ext</c:v>
                </c:pt>
              </c:strCache>
            </c:strRef>
          </c:tx>
          <c:spPr>
            <a:solidFill>
              <a:schemeClr val="tx2"/>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D15-4710-BD18-5585B49113A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xt</c:v>
                </c:pt>
                <c:pt idx="1">
                  <c:v>Text</c:v>
                </c:pt>
              </c:strCache>
            </c:strRef>
          </c:cat>
          <c:val>
            <c:numRef>
              <c:f>Sheet1!$B$2:$B$3</c:f>
              <c:numCache>
                <c:formatCode>General</c:formatCode>
                <c:ptCount val="2"/>
                <c:pt idx="0">
                  <c:v>10</c:v>
                </c:pt>
                <c:pt idx="1">
                  <c:v>5</c:v>
                </c:pt>
              </c:numCache>
            </c:numRef>
          </c:val>
          <c:extLst>
            <c:ext xmlns:c16="http://schemas.microsoft.com/office/drawing/2014/chart" uri="{C3380CC4-5D6E-409C-BE32-E72D297353CC}">
              <c16:uniqueId val="{00000003-AD15-4710-BD18-5585B49113A0}"/>
            </c:ext>
          </c:extLst>
        </c:ser>
        <c:dLbls>
          <c:showLegendKey val="0"/>
          <c:showVal val="0"/>
          <c:showCatName val="0"/>
          <c:showSerName val="0"/>
          <c:showPercent val="0"/>
          <c:showBubbleSize val="0"/>
        </c:dLbls>
        <c:gapWidth val="5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81960872"/>
        <c:crosses val="autoZero"/>
        <c:auto val="1"/>
        <c:lblAlgn val="ctr"/>
        <c:lblOffset val="100"/>
        <c:noMultiLvlLbl val="0"/>
      </c:catAx>
      <c:valAx>
        <c:axId val="281960872"/>
        <c:scaling>
          <c:orientation val="minMax"/>
        </c:scaling>
        <c:delete val="1"/>
        <c:axPos val="l"/>
        <c:numFmt formatCode="General"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Franklin Gothic Medium" panose="020B0603020102020204" pitchFamily="34" charset="0"/>
        </a:defRPr>
      </a:pPr>
      <a:endParaRPr lang="en-US"/>
    </a:p>
  </c:txPr>
  <c:externalData r:id="rId1">
    <c:autoUpdate val="0"/>
  </c:externalData>
  <c:userShapes r:id="rId2"/>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9</cx:f>
        <cx:lvl ptCount="8">
          <cx:pt idx="0">Text</cx:pt>
          <cx:pt idx="1">Text</cx:pt>
          <cx:pt idx="2">Text</cx:pt>
          <cx:pt idx="3">Text</cx:pt>
          <cx:pt idx="4">Text</cx:pt>
          <cx:pt idx="5">Text</cx:pt>
          <cx:pt idx="6">Text</cx:pt>
          <cx:pt idx="7">Text</cx:pt>
        </cx:lvl>
      </cx:strDim>
      <cx:numDim type="val">
        <cx:f>Hoja1!$B$2:$B$9</cx:f>
        <cx:lvl ptCount="8" formatCode="General">
          <cx:pt idx="0">100</cx:pt>
          <cx:pt idx="1">20</cx:pt>
          <cx:pt idx="2">50</cx:pt>
          <cx:pt idx="3">-40</cx:pt>
          <cx:pt idx="4">130</cx:pt>
          <cx:pt idx="5">-60</cx:pt>
          <cx:pt idx="6">70</cx:pt>
          <cx:pt idx="7">140</cx:pt>
        </cx:lvl>
      </cx:numDim>
    </cx:data>
  </cx:chartData>
  <cx:chart>
    <cx:plotArea>
      <cx:plotAreaRegion>
        <cx:series layoutId="waterfall" uniqueId="{3AA2F6E4-BFE2-42EE-9182-6C84FC642DDC}">
          <cx:tx>
            <cx:txData>
              <cx:f>Hoja1!$B$1</cx:f>
              <cx:v>Serie1</cx:v>
            </cx:txData>
          </cx:tx>
          <cx:spPr>
            <a:solidFill>
              <a:schemeClr val="tx2"/>
            </a:solidFill>
          </cx:spPr>
          <cx:dataLabels pos="outEnd">
            <cx:visibility seriesName="1" categoryName="0" value="1"/>
            <cx:separator>, </cx:separator>
          </cx:dataLabels>
          <cx:dataId val="0"/>
          <cx:layoutPr>
            <cx:subtotals>
              <cx:idx val="0"/>
              <cx:idx val="4"/>
              <cx:idx val="7"/>
            </cx:subtotals>
          </cx:layoutPr>
        </cx:series>
      </cx:plotAreaRegion>
      <cx:axis id="0">
        <cx:catScaling gapWidth="0.5"/>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C$17</cx:f>
        <cx:lvl ptCount="16">
          <cx:pt idx="0">Hoja 1</cx:pt>
          <cx:pt idx="1">Hoja 2</cx:pt>
          <cx:pt idx="2">Hoja 3</cx:pt>
          <cx:pt idx="3">Hoja 4</cx:pt>
          <cx:pt idx="4">Hoja 5</cx:pt>
          <cx:pt idx="5">Hoja 6</cx:pt>
          <cx:pt idx="6">Hoja 7</cx:pt>
          <cx:pt idx="7">Hoja 8</cx:pt>
          <cx:pt idx="8">Hoja 9</cx:pt>
          <cx:pt idx="9">Hoja 10</cx:pt>
          <cx:pt idx="10">Hoja 11</cx:pt>
          <cx:pt idx="11">Hoja 12</cx:pt>
          <cx:pt idx="12">Hoja 13</cx:pt>
          <cx:pt idx="13">Hoja 14</cx:pt>
          <cx:pt idx="14">Hoja 15</cx:pt>
          <cx:pt idx="15">Hoja 16</cx:pt>
        </cx:lvl>
        <cx:lvl ptCount="16">
          <cx:pt idx="0">Tallo 1</cx:pt>
          <cx:pt idx="1">Tallo 1</cx:pt>
          <cx:pt idx="2">Tallo 1</cx:pt>
          <cx:pt idx="3">Tallo 2</cx:pt>
          <cx:pt idx="4">Tallo 2</cx:pt>
          <cx:pt idx="5">Tallo 2</cx:pt>
          <cx:pt idx="6">Tallo 2</cx:pt>
          <cx:pt idx="7">Tallo 3</cx:pt>
          <cx:pt idx="8">Tallo 3</cx:pt>
          <cx:pt idx="9">Tallo 4</cx:pt>
          <cx:pt idx="10">Tallo 4</cx:pt>
          <cx:pt idx="11">Tallo 5</cx:pt>
          <cx:pt idx="12">Tallo 5</cx:pt>
          <cx:pt idx="13">Tallo 6</cx:pt>
          <cx:pt idx="14">Tallo 6</cx:pt>
          <cx:pt idx="15">Tallo 6</cx:pt>
        </cx:lvl>
        <cx:lvl ptCount="16">
          <cx:pt idx="0">Rama 1</cx:pt>
          <cx:pt idx="1">Rama 1</cx:pt>
          <cx:pt idx="2">Rama 1</cx:pt>
          <cx:pt idx="3">Rama 1</cx:pt>
          <cx:pt idx="4">Rama 1</cx:pt>
          <cx:pt idx="5">Rama 1</cx:pt>
          <cx:pt idx="6">Rama 1</cx:pt>
          <cx:pt idx="7">Rama 2</cx:pt>
          <cx:pt idx="8">Rama 2</cx:pt>
          <cx:pt idx="9">Rama 2</cx:pt>
          <cx:pt idx="10">Rama 2</cx:pt>
          <cx:pt idx="11">Rama 3</cx:pt>
          <cx:pt idx="12">Rama 3</cx:pt>
          <cx:pt idx="13">Rama 3</cx:pt>
          <cx:pt idx="14">Rama 3</cx:pt>
          <cx:pt idx="15">Rama 3</cx:pt>
        </cx:lvl>
      </cx:strDim>
      <cx:numDim type="size">
        <cx:f>Hoja1!$D$2:$D$17</cx:f>
        <cx:lvl ptCount="16" formatCode="General">
          <cx:pt idx="0">22</cx:pt>
          <cx:pt idx="1">12</cx:pt>
          <cx:pt idx="2">18</cx:pt>
          <cx:pt idx="3">87</cx:pt>
          <cx:pt idx="4">88</cx:pt>
          <cx:pt idx="5">17</cx:pt>
          <cx:pt idx="6">9</cx:pt>
          <cx:pt idx="7">25</cx:pt>
          <cx:pt idx="8">23</cx:pt>
          <cx:pt idx="9">24</cx:pt>
          <cx:pt idx="10">89</cx:pt>
          <cx:pt idx="11">16</cx:pt>
          <cx:pt idx="12">19</cx:pt>
          <cx:pt idx="13">86</cx:pt>
          <cx:pt idx="14">10</cx:pt>
          <cx:pt idx="15">11</cx:pt>
        </cx:lvl>
      </cx:numDim>
    </cx:data>
  </cx:chartData>
  <cx:chart>
    <cx:plotArea>
      <cx:plotAreaRegion>
        <cx:series layoutId="treemap" uniqueId="{F443DECD-DC80-4047-A59C-F453A5C67841}">
          <cx:tx>
            <cx:txData>
              <cx:f>Hoja1!$D$1</cx:f>
              <cx:v>Serie1</cx:v>
            </cx:txData>
          </cx:tx>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29084</cdr:x>
      <cdr:y>0.1203</cdr:y>
    </cdr:from>
    <cdr:to>
      <cdr:x>0.71634</cdr:x>
      <cdr:y>0.48475</cdr:y>
    </cdr:to>
    <cdr:cxnSp macro="">
      <cdr:nvCxnSpPr>
        <cdr:cNvPr id="3" name="Conector: angular 2">
          <a:extLst xmlns:a="http://schemas.openxmlformats.org/drawingml/2006/main">
            <a:ext uri="{FF2B5EF4-FFF2-40B4-BE49-F238E27FC236}">
              <a16:creationId xmlns:a16="http://schemas.microsoft.com/office/drawing/2014/main" id="{C33D6C93-C1F1-4D90-2404-4180AD13C35B}"/>
            </a:ext>
          </a:extLst>
        </cdr:cNvPr>
        <cdr:cNvCxnSpPr/>
      </cdr:nvCxnSpPr>
      <cdr:spPr>
        <a:xfrm xmlns:a="http://schemas.openxmlformats.org/drawingml/2006/main" rot="16200000" flipH="1">
          <a:off x="287841" y="805812"/>
          <a:ext cx="1498601" cy="876300"/>
        </a:xfrm>
        <a:prstGeom xmlns:a="http://schemas.openxmlformats.org/drawingml/2006/main" prst="bentConnector3">
          <a:avLst>
            <a:gd name="adj1" fmla="val -7627"/>
          </a:avLst>
        </a:prstGeom>
        <a:ln xmlns:a="http://schemas.openxmlformats.org/drawingml/2006/main" w="3175">
          <a:solidFill>
            <a:schemeClr val="accent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8764</cdr:x>
      <cdr:y>0.03159</cdr:y>
    </cdr:from>
    <cdr:to>
      <cdr:x>0.25996</cdr:x>
      <cdr:y>0.22547</cdr:y>
    </cdr:to>
    <cdr:sp macro="" textlink="">
      <cdr:nvSpPr>
        <cdr:cNvPr id="2" name="Oval 1">
          <a:extLst xmlns:a="http://schemas.openxmlformats.org/drawingml/2006/main">
            <a:ext uri="{FF2B5EF4-FFF2-40B4-BE49-F238E27FC236}">
              <a16:creationId xmlns:a16="http://schemas.microsoft.com/office/drawing/2014/main" id="{71BA7667-CDC2-6044-813A-153DD53EDEF2}"/>
            </a:ext>
          </a:extLst>
        </cdr:cNvPr>
        <cdr:cNvSpPr/>
      </cdr:nvSpPr>
      <cdr:spPr>
        <a:xfrm xmlns:a="http://schemas.openxmlformats.org/drawingml/2006/main">
          <a:off x="2148300" y="134896"/>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65971</cdr:x>
      <cdr:y>0.53209</cdr:y>
    </cdr:from>
    <cdr:to>
      <cdr:x>0.73203</cdr:x>
      <cdr:y>0.72597</cdr:y>
    </cdr:to>
    <cdr:sp macro="" textlink="">
      <cdr:nvSpPr>
        <cdr:cNvPr id="3" name="Oval 2">
          <a:extLst xmlns:a="http://schemas.openxmlformats.org/drawingml/2006/main">
            <a:ext uri="{FF2B5EF4-FFF2-40B4-BE49-F238E27FC236}">
              <a16:creationId xmlns:a16="http://schemas.microsoft.com/office/drawing/2014/main" id="{ED05C4FC-D038-D14C-A641-3B71AF1A5615}"/>
            </a:ext>
          </a:extLst>
        </cdr:cNvPr>
        <cdr:cNvSpPr/>
      </cdr:nvSpPr>
      <cdr:spPr>
        <a:xfrm xmlns:a="http://schemas.openxmlformats.org/drawingml/2006/main">
          <a:off x="7553053" y="2272403"/>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41309</cdr:x>
      <cdr:y>0.33425</cdr:y>
    </cdr:from>
    <cdr:to>
      <cdr:x>0.48541</cdr:x>
      <cdr:y>0.52813</cdr:y>
    </cdr:to>
    <cdr:sp macro="" textlink="">
      <cdr:nvSpPr>
        <cdr:cNvPr id="4" name="Oval 3">
          <a:extLst xmlns:a="http://schemas.openxmlformats.org/drawingml/2006/main">
            <a:ext uri="{FF2B5EF4-FFF2-40B4-BE49-F238E27FC236}">
              <a16:creationId xmlns:a16="http://schemas.microsoft.com/office/drawing/2014/main" id="{3D6AE29F-9F0C-2E4F-83B7-A7803870CEEF}"/>
            </a:ext>
          </a:extLst>
        </cdr:cNvPr>
        <cdr:cNvSpPr/>
      </cdr:nvSpPr>
      <cdr:spPr>
        <a:xfrm xmlns:a="http://schemas.openxmlformats.org/drawingml/2006/main">
          <a:off x="4729488" y="1427492"/>
          <a:ext cx="828000" cy="82800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6035</cdr:x>
      <cdr:y>0.02911</cdr:y>
    </cdr:from>
    <cdr:to>
      <cdr:x>0.21698</cdr:x>
      <cdr:y>0.2118</cdr:y>
    </cdr:to>
    <cdr:sp macro="" textlink="">
      <cdr:nvSpPr>
        <cdr:cNvPr id="2" name="Oval 1">
          <a:extLst xmlns:a="http://schemas.openxmlformats.org/drawingml/2006/main">
            <a:ext uri="{FF2B5EF4-FFF2-40B4-BE49-F238E27FC236}">
              <a16:creationId xmlns:a16="http://schemas.microsoft.com/office/drawing/2014/main" id="{B354B848-32C6-294B-A56D-4AA04BDB8CD3}"/>
            </a:ext>
          </a:extLst>
        </cdr:cNvPr>
        <cdr:cNvSpPr/>
      </cdr:nvSpPr>
      <cdr:spPr>
        <a:xfrm xmlns:a="http://schemas.openxmlformats.org/drawingml/2006/main">
          <a:off x="1833327" y="106325"/>
          <a:ext cx="647460" cy="66733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34331</cdr:x>
      <cdr:y>0.34025</cdr:y>
    </cdr:from>
    <cdr:to>
      <cdr:x>0.39994</cdr:x>
      <cdr:y>0.51616</cdr:y>
    </cdr:to>
    <cdr:sp macro="" textlink="">
      <cdr:nvSpPr>
        <cdr:cNvPr id="3" name="Oval 2">
          <a:extLst xmlns:a="http://schemas.openxmlformats.org/drawingml/2006/main">
            <a:ext uri="{FF2B5EF4-FFF2-40B4-BE49-F238E27FC236}">
              <a16:creationId xmlns:a16="http://schemas.microsoft.com/office/drawing/2014/main" id="{576157C9-C2DC-1D44-9A45-B3F075A36E80}"/>
            </a:ext>
          </a:extLst>
        </cdr:cNvPr>
        <cdr:cNvSpPr/>
      </cdr:nvSpPr>
      <cdr:spPr>
        <a:xfrm xmlns:a="http://schemas.openxmlformats.org/drawingml/2006/main">
          <a:off x="3925123" y="1242865"/>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53442</cdr:x>
      <cdr:y>0.62854</cdr:y>
    </cdr:from>
    <cdr:to>
      <cdr:x>0.59106</cdr:x>
      <cdr:y>0.80445</cdr:y>
    </cdr:to>
    <cdr:sp macro="" textlink="">
      <cdr:nvSpPr>
        <cdr:cNvPr id="4" name="Oval 3">
          <a:extLst xmlns:a="http://schemas.openxmlformats.org/drawingml/2006/main">
            <a:ext uri="{FF2B5EF4-FFF2-40B4-BE49-F238E27FC236}">
              <a16:creationId xmlns:a16="http://schemas.microsoft.com/office/drawing/2014/main" id="{F778B878-376D-5546-81AB-1CA815501A6F}"/>
            </a:ext>
          </a:extLst>
        </cdr:cNvPr>
        <cdr:cNvSpPr/>
      </cdr:nvSpPr>
      <cdr:spPr>
        <a:xfrm xmlns:a="http://schemas.openxmlformats.org/drawingml/2006/main">
          <a:off x="6110117" y="2295880"/>
          <a:ext cx="647575" cy="642571"/>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72554</cdr:x>
      <cdr:y>0.4577</cdr:y>
    </cdr:from>
    <cdr:to>
      <cdr:x>0.78217</cdr:x>
      <cdr:y>0.6336</cdr:y>
    </cdr:to>
    <cdr:sp macro="" textlink="">
      <cdr:nvSpPr>
        <cdr:cNvPr id="5" name="Oval 4">
          <a:extLst xmlns:a="http://schemas.openxmlformats.org/drawingml/2006/main">
            <a:ext uri="{FF2B5EF4-FFF2-40B4-BE49-F238E27FC236}">
              <a16:creationId xmlns:a16="http://schemas.microsoft.com/office/drawing/2014/main" id="{B80D6CB9-039A-244E-B397-BB22C5DC49C2}"/>
            </a:ext>
          </a:extLst>
        </cdr:cNvPr>
        <cdr:cNvSpPr/>
      </cdr:nvSpPr>
      <cdr:spPr>
        <a:xfrm xmlns:a="http://schemas.openxmlformats.org/drawingml/2006/main">
          <a:off x="8295225" y="1671850"/>
          <a:ext cx="647461" cy="642534"/>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dr:relSizeAnchor xmlns:cdr="http://schemas.openxmlformats.org/drawingml/2006/chartDrawing">
    <cdr:from>
      <cdr:x>0.91666</cdr:x>
      <cdr:y>0.61438</cdr:y>
    </cdr:from>
    <cdr:to>
      <cdr:x>0.97329</cdr:x>
      <cdr:y>0.79029</cdr:y>
    </cdr:to>
    <cdr:sp macro="" textlink="">
      <cdr:nvSpPr>
        <cdr:cNvPr id="6" name="Oval 5">
          <a:extLst xmlns:a="http://schemas.openxmlformats.org/drawingml/2006/main">
            <a:ext uri="{FF2B5EF4-FFF2-40B4-BE49-F238E27FC236}">
              <a16:creationId xmlns:a16="http://schemas.microsoft.com/office/drawing/2014/main" id="{54D2BFB0-7234-734C-9A8D-1FA75C8309D2}"/>
            </a:ext>
          </a:extLst>
        </cdr:cNvPr>
        <cdr:cNvSpPr/>
      </cdr:nvSpPr>
      <cdr:spPr>
        <a:xfrm xmlns:a="http://schemas.openxmlformats.org/drawingml/2006/main">
          <a:off x="10480333" y="2244158"/>
          <a:ext cx="647461" cy="642570"/>
        </a:xfrm>
        <a:prstGeom xmlns:a="http://schemas.openxmlformats.org/drawingml/2006/main" prst="ellipse">
          <a:avLst/>
        </a:prstGeom>
        <a:solidFill xmlns:a="http://schemas.openxmlformats.org/drawingml/2006/main">
          <a:schemeClr val="bg1">
            <a:lumMod val="95000"/>
          </a:schemeClr>
        </a:solidFill>
        <a:effectLst xmlns:a="http://schemas.openxmlformats.org/drawingml/2006/main"/>
      </cdr:spPr>
      <cdr:txBody>
        <a:bodyPr xmlns:a="http://schemas.openxmlformats.org/drawingml/2006/main" lIns="108000" tIns="72000" rIns="72000" bIns="72000" anchor="ctr"/>
        <a:lstStyle xmlns:a="http://schemas.openxmlformats.org/drawingml/2006/main"/>
        <a:p xmlns:a="http://schemas.openxmlformats.org/drawingml/2006/main">
          <a:pPr marL="0" indent="0" algn="l" defTabSz="914400" rtl="0" eaLnBrk="1" latinLnBrk="0" hangingPunct="1"/>
          <a:endPara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24/2023</a:t>
            </a:fld>
            <a:endParaRPr lang="en-US" dirty="0">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dirty="0">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17.562"/>
    </inkml:context>
    <inkml:brush xml:id="br0">
      <inkml:brushProperty name="width" value="0.05" units="cm"/>
      <inkml:brushProperty name="height" value="0.05" units="cm"/>
    </inkml:brush>
  </inkml:definitions>
  <inkml:trace contextRef="#ctx0" brushRef="#br0">1 1 11835,'5'3'0,"0"-1"0,1 1 0,-1-1 8,-1 0 8,-1-1-8,0 1 8,-2-1 0,0 0 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9.997"/>
    </inkml:context>
    <inkml:brush xml:id="br0">
      <inkml:brushProperty name="width" value="0.05" units="cm"/>
      <inkml:brushProperty name="height" value="0.05" units="cm"/>
    </inkml:brush>
  </inkml:definitions>
  <inkml:trace contextRef="#ctx0" brushRef="#br0">91 632 2240,'68'-45'7944,"130"-78"-7382,-188 117-545,14-7 77,0-1 1,0-2 0,-2 0-1,0-1 1,30-30-1,-52 47-89,0 0 0,0 0 0,0 0 0,0 0 0,0 0 0,0 0 0,0 0 0,-1 0 0,1-1-1,0 1 1,0 0 0,0 0 0,0 0 0,0 0 0,0 0 0,0 0 0,0 0 0,0 0-1,0 0 1,0 0 0,0 0 0,-1 0 0,1 0 0,0 0 0,0 0 0,0 0 0,0 0 0,0-1-1,0 1 1,0 0 0,0 0 0,0 0 0,0 0 0,0 0 0,0 0 0,0 0 0,0 0 0,0 0-1,0 0 1,0 0 0,0-1 0,0 1 0,0 0 0,0 0 0,0 0 0,0 0 0,0 0 0,0 0-1,0 0 1,0 0 0,0 0 0,0 0 0,0-1 0,0 1 0,0 0 0,1 0 0,-1 0 0,0 0-1,-14 5 52,-14 8-161,-207 140-962,207-134 838,7-5 131,2 0 0,1 1 0,0 1 0,1 1 0,1 1-1,-19 26 1,34-44 96,1 1-1,0-1 1,-1 0-1,1 0 0,0 0 1,0 1-1,-1-1 1,1 0-1,0 0 1,0 0-1,-1 1 0,1-1 1,0 0-1,0 1 1,0-1-1,0 0 1,0 1-1,-1-1 0,1 0 1,0 0-1,0 1 1,0-1-1,0 0 0,0 1 1,0-1-1,0 0 1,0 1-1,0-1 1,0 0-1,0 1 0,0-1 1,0 0-1,0 1 1,1-1-1,-1 0 0,0 1 1,0-1-1,0 0 1,0 1-1,0-1 1,1 0-1,-1 0 0,0 1 1,0-1-1,1 0 1,-1 1-1,20-5 13,24-17 135,92-54 192,132-99 1,-265 172-323,3-2 36,0 0 0,0-1 1,0 0-1,-1 1 0,0-2 0,0 1 0,0 0 0,-1-1 0,5-9 0,-8 15-45,-1 0-1,0-1 0,0 1 0,0 0 1,0 0-1,1 0 0,-1 0 0,0 0 1,0-1-1,0 1 0,0 0 0,0-1 1,0 1-1,0 0 0,0 0 0,0-1 1,0 1-1,0 0 0,0-1 0,0 1 1,0 0-1,0-1 0,-1 1 0,1 0 1,0 0-1,0-1 0,0 1 0,0 0 1,-1 0-1,1-1 0,0 1 0,0 0 1,0 0-1,-1 0 0,1-1 0,0 1 1,0 0-1,-1 0 0,1 0 1,0 0-1,0-1 0,-1 1 0,1 0 1,0 0-1,-1 0 0,1 0 0,0 0 1,0 0-1,-1 0 0,1 0 0,0 0 1,-1 0-1,1 0 0,0 0 0,-1 0 1,1 0-1,0 0 0,0 0 0,-1 1 1,-18 3-26,-21 14-579,0 2-1,1 2 0,-62 47 0,52-35-401,28-20 536,-13 7 134,2 2 1,0 0-1,2 3 0,-33 35 1,140-110-440,25-20 922,-52 37 368,-2-2 0,-2-2 1,-1-3-1,49-51 0,-84 72 177,-21 15-103,-29 18-455,-117 85-2080,30-16 433,105-72 1333,2-2 140,2 1 0,0 0 0,0 2 0,1-2 0,0 3 0,2 1 0,-20 22 0,78-65 166,115-78 1207,-87 60 146,118-98 0,-248 169-369,-119 88-2205,66-39 357,-53 47 57,162-116 2,14-7 441,18-11 108,106-79 179,-26 16 354,-96 68-322,4-2 123,-1-1 1,0 0-1,-1-1 1,0 0 0,17-21-1,-51 42 588,-17 16-843,-70 42-274,79-52 19,0 0 0,2 2 0,0 1 0,-29 27-1,54-45 297,0 0-1,0 0 1,0 0-1,0 0 0,1 0 1,-1 0-1,0 0 0,0 0 1,0 0-1,0 0 1,0 0-1,0 0 0,0 0 1,0 0-1,0 1 1,0-1-1,0 0 0,0 0 1,0 0-1,0 0 1,0 0-1,1 0 0,-1 0 1,0 0-1,0 0 1,0 1-1,0-1 0,0 0 1,0 0-1,0 0 1,0 0-1,0 0 0,0 0 1,0 0-1,0 0 1,-1 1-1,1-1 0,0 0 1,20-10-377,24-15-143,277-183 2021,-185 119-104,-303 209-1687,114-79-559,-89 55-1,122-84 883,20-12-32,0 0 0,0 0 1,0 0-1,0 0 0,0 0 0,0 0 1,0 0-1,0 0 0,0 0 1,0 0-1,0 0 0,0 0 1,0 0-1,0 1 0,0-1 0,0 0 1,1 0-1,-1 0 0,0 0 1,0 0-1,0 0 0,0 0 1,33-18-188,165-128 194,-86 59 126,-99 77-92,35-24 197,-2-1-1,-2-3 0,45-48 1,-89 86-222,0 0-1,-1 0 1,1 0 0,0 0 0,0 0-1,0 0 1,0 0 0,0-1 0,-1 1 0,1 0-1,0 0 1,0 0 0,0 0 0,0 0-1,0 0 1,0 0 0,-1 0 0,1-1 0,0 1-1,0 0 1,0 0 0,0 0 0,0 0 0,0 0-1,0 0 1,0-1 0,0 1 0,0 0-1,0 0 1,0 0 0,0 0 0,0-1 0,0 1-1,0 0 1,0 0 0,0 0 0,0 0-1,0 0 1,0-1 0,0 1 0,0 0 0,0 0-1,0 0 1,0 0 0,0-1 0,0 1-1,0 0 1,0 0 0,0 0 0,0 0 0,1 0-1,-1 0 1,0 0 0,0-1 0,0 1-1,0 0 1,0 0 0,0 0 0,1 0 0,-1 0-1,0 0 1,0 0 0,0 0 0,0 0-1,0 0 1,1 0 0,-1 0 0,-18 6 192,-25 16-264,-114 91-96,19-10-116,61-47-109,113-88 219,0 0 1,52-34-1,13-10 160,-31 23 14,29-25 164,-95 72 109,-7 5-114,-20 12-72,-33 22-155,-183 144-9,122-86 67,35-21-417,244-196 48,-69 51 446,131-79 0,-192 128 284,-27 18 86,-23 14-58,-13 12-391,1 2-1,1 1 1,1 1 0,-39 39-1,15-13 0,-18 10 1,42-37 5,1 1 0,1 2 0,1-1 0,-30 40 1,111-108-390,316-226 248,-253 198 502,-212 148-355,-94 95-1,0 2 64,70-77 37,291-231-554,89-61 458,-233 179 6,44-31 298,-616 486 371,505-408-618,13-9-64,46-44-126,287-252-62,-125 115 378,-168 143 31,-28 21-56,-31 22-114,-133 124-167,89-72 179,-136 93-1,317-248-349,200-186 286,-216 179 177,-252 248-385,65-65 227,27-27 88,74-63-104,11-7-75,15-11-71,129-145-84,37-14 438,-514 501-326,202-201 263,152-153-212,45-34-1,27-25 34,-33 24 107,-56 54 29,-12 13-44,-14 15-32,-325 304-286,321-308 257,17-16-5,-1 1 1,-1-1-1,2 2 1,-1 0 0,1 0-1,0 0 1,-6 11-1,54-48-140,132-109-2,212-156 533,-662 492 193,42-27-572,230-167-12,-9 6 4,0 0 1,0 1-1,2 0 0,-16 15 1,28-22-84,9-5 38,11-8-4,293-196-84,-30 19 617,-774 550-298,472-348-247,-9 6-191,-42 47 0,127-110-872,32-29 943,119-72-1,-116 83 201,28-15 1104,-325 238-964,-92 78-146,230-179-100,194-150-318,-50 30 330,302-219 206,-899 666 145,417-311-266,80-59-47,21-16-1,6-5-5,38-22-82,161-123 0,-127 88 326,125-74 0,-295 193-219,-164 137 0,160-117-6,83-70 14,8-5-6,0-1 1,0 1 0,0 0 0,0 0-1,1 1 1,-6 7 0,29-15-131,5-11 81,-1 1 0,0-3 0,24-21 0,19-11-12,141-103 129,-102 72 283,-264 176-121,51-24-902,48-33 361,-60 51 0,182-125 169,320-241 976,-377 272-854,29-25 423,-32 23-56,-21 15-205,-56 38-522,-124 104 0,143-107 343,42-32 36,16-10-101,32-21-62,326-245 32,-176 125 312,-161 118-10,-16 11 44,-17 11-9,-48 30-208,2 3 1,-80 62 0,-7 8 15,133-99-6,0-1 0,2 0-1,-1 1 0,1-1 1,0 2-1,0-1 0,1 2 1,-7 9-1,72-55-399,292-196 369,-301 202 138,-33 22 105,-1 0-1,27-23 0,-41 32-192,0 0 1,0 0-1,0 0 0,0 0 0,0 0 1,0 0-1,0 0 0,0 0 0,0 0 0,-1 0 1,1 0-1,0 0 0,0 0 0,0 0 1,0 0-1,0 0 0,0 0 0,0 0 0,0 0 1,0 0-1,0 0 0,-1 0 0,1 0 1,0 0-1,0 0 0,0 0 0,0 0 0,0 0 1,0 0-1,0 0 0,0 0 0,0 0 1,0 0-1,0-1 0,0 1 0,0 0 0,0 0 1,0 0-1,0 0 0,0 0 0,0 0 1,-1 0-1,1 0 0,0 0 0,0 0 1,0-1-1,-18 8 182,-23 12-224,-127 88-346,9-4 0,137-89 237,33-16-161,37-20 11,219-153 127,-158 97 204,-61 41 112,-33 25 115,-32 24 136,-14 9-461,-1-1 0,-43 18-1,42-22-360,1 2-1,-50 32 0,49-27-273,-61 33-1,79-48 506,354-227-418,-289 176 1748,-115 80-31,-35 23-1233,-4 1-800,-94 73 0,389-265 374,-107 78 635,-55 36 131,0-2 1,-2 0 0,0-2 0,26-25 0,-39 25 522,-14 21-729,0-1 0,0 1 0,-1 0-1,1 0 1,0 0 0,0-1 0,-1 1-1,1 0 1,0 0 0,-1 0 0,1 0 0,0 0-1,-1 0 1,1 0 0,0 0 0,-1-1-1,1 1 1,0 0 0,0 0 0,-1 0 0,1 0-1,0 1 1,-1-1 0,1 0 0,0 0-1,-1 0 1,1 0 0,0 0 0,-1 0 0,1 0-1,0 1 1,0-1 0,-1 0 0,1 0-1,-1 1 1,-41 20 295,-239 167-1239,108-70 272,163-111 526,30-20 9,33-24 3,107-75 29,43-34 265,-193 139-19,-1-2 0,1 1-1,-2-1 1,1-1 0,9-12 0,-18 22-147,0 0 0,0 0 0,0 0 0,0 0 0,0 0 0,0 0 0,0 0 0,0 0 0,-1 0 0,1 0 0,0 0 0,0 1 0,0-1 0,0 0 0,0 0 0,0 0 0,0 0 0,0 0 0,0 0 0,-1 0 0,1 0 0,0 0 0,0 0 0,0 0 0,0 0-1,0 0 1,0 0 0,0-1 0,0 1 0,-1 0 0,1 0 0,0 0 0,0 0 0,0 0 0,0 0 0,0 0 0,0 0 0,0 0 0,0 0 0,0 0 0,0 0 0,0 0 0,0 0 0,-1-1 0,1 1 0,0 0 0,0 0 0,0 0 0,0 0 0,0 0 0,0 0 0,0 0 0,0 0 0,0 0 0,0-1 0,0 1 0,0 0 0,0 0 0,0 0 0,0 0-1,0 0 1,0 0 0,0 0 0,-16 6 233,-16 10-252,-487 332-2065,519-348 2067,0 0 1,0 0-1,0 0 0,0 0 1,0 0-1,0 0 0,0 0 1,0 0-1,0 0 0,1 1 1,-1-1-1,0 0 0,0 0 1,0 0-1,0 0 0,0 0 1,0 0-1,0 0 0,0 1 1,0-1-1,26-14-66,36-25 12,290-207 1290,-340 238-1095,-1 1 147,0-1 1,0-1-1,11-10 0,-54 34 494,-181 143-755,99-76-15,-46 32-14,399-285-763,-96 64 775,-66 48 8,-42 32 189,-27 21 80,-10 9 173,-67 60-401,15-16-43,4 1 0,2 3 0,-75 98-1,123-148-10,-1-1-1,1 0 0,0 0 0,-1 1 0,1-1 0,0 0 0,-1 1 1,1-1-1,0 0 0,-1 1 0,1-1 0,0 1 0,0-1 0,-1 0 1,1 1-1,0-1 0,0 1 0,0-1 0,0 1 0,-1-1 1,1 1-1,0-1 0,0 0 0,0 1 0,0-1 0,0 1 0,0-1 1,0 1-1,0-1 0,1 1 0,-1-1 0,0 1 0,0-1 1,0 1-1,0-1 0,1 1 0,17-8-24,26-23 12,282-249 177,-310 261-47,-25 20 25,-31 24-86,-142 121-96,116-91 68,-10-3 45,111-83-177,-1-1 0,45-52 0,46-42 205,-225 248-163,10 4 446,164-208 56,-22 20-433,-37 46 16,-1 0-1,-2 0 1,1-2-1,-2 1 1,0-2 0,-2 1-1,15-36 1,-23 52-26,-1 0 0,1 0 0,-1 0 0,0 0 0,1 0 0,-1 0 0,0 0 1,0 0-1,0 0 0,1 0 0,-1 0 0,-1 0 0,1 0 0,0 0 0,0-1 0,0 1 0,0 0 0,-1 0 0,1 0 0,-1-1 0,0 2-5,1-1 0,-1 1 0,0 0 0,1 0 0,-1 0-1,0 0 1,1 0 0,-1 0 0,0 0 0,1 0 0,-1 0-1,0 0 1,1 0 0,-1 0 0,0 1 0,1-1 0,-1 0-1,1 0 1,-1 1 0,1-1 0,-1 0 0,0 1-1,0 0 1,-35 31-257,-104 156 83,111-148 212,18-25 9,19-28-69,11-17-39,10-27-48,-16 33 99,-1 0-1,-1 0 1,-1-2-1,7-25 1,-18 43-304,-8 21 114,-8 20 3,-9 26 719,-3-1 1,-40 58-1,113-204 51,-33 68-840,-1 0 1,-1-1-1,-1 1 0,-1-2 0,0 1 0,6-44 0,-97 258-1293,80-178 1707,3-10-7,0-1 1,-1 2-1,0-1 1,1 0 0,-2 0-1,1 0 1,-1 0-1,-3 5 1,5-10-115,1-1-1,-1 1 1,0-1 0,1 0-1,-1 1 1,1-1-1,-1 0 1,1 1 0,-1-1-1,1 0 1,-1 0 0,1 1-1,0-1 1,-1 0 0,1 0-1,0 0 1,0 1 0,0-1-1,0 0 1,-1 0-1,1 0 1,0 0 0,0 1-1,1-1 1,-1 0 0,0 0-1,0 0 1,1-1 0,-1-27 29,0 29-47,0-14-117,0 0 1,1 0 0,1 0 0,0 1-1,1-1 1,1 1 0,0-1 0,1 1-1,0 0 1,11-19 0,-68 189-339,43-132 517,7-17 44,0 0 0,0-1-1,-1 1 1,0-1 0,0 1 0,-1-1 0,0 0 0,0-1 0,-1 1 0,0-1-1,-6 6 1,29-57 325,7-6-618,41-69-1,-60 106-554,0 0-1,-1-1 0,5-21 0,-22 64 432,4-13 309,1 0-1,1 0 1,0 1 0,2 0 0,-1 0-1,2 1 1,-3 22 0,7-29 46</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51.598"/>
    </inkml:context>
    <inkml:brush xml:id="br0">
      <inkml:brushProperty name="width" value="0.05" units="cm"/>
      <inkml:brushProperty name="height" value="0.05" units="cm"/>
    </inkml:brush>
  </inkml:definitions>
  <inkml:trace contextRef="#ctx0" brushRef="#br0">688 559 3289,'29'-133'6400,"-31"150"-6149,1-1 1,0 0 0,1 1 0,4 29 0,-2-32-233,0-2 0,-1 2 0,-1 0 1,0 0-1,-1 0 0,-1 0 0,0 0 1,-6 20-1,8-34-11,0-1 0,0 1 0,0 0 0,0 0 0,0 0 0,0-1 0,0 1 0,0 0 0,0 0 0,0 0 0,-1-1 0,1 1 0,0 0 0,0 0 0,0 0 0,0 0 0,-1 0 0,1-1-1,0 1 1,0 0 0,0 0 0,0 0 0,-1 0 0,1 0 0,0 0 0,0 0 0,-1 0 0,1 0 0,0 0 0,0 0 0,0 0 0,-1 0 0,1 0 0,0 0 0,0 0 0,0 0 0,-1 0 0,1 0 0,0 0 0,0 0 0,-1 0 0,1 0 0,0 0 0,0 0 0,0 0 0,0 1 0,-1-1 0,1 0 0,0 0 0,0 0 0,0 0 0,0 0-1,-1 1 1,1-1 0,0 0 0,0 0 0,0 0 0,0 1 0,-4-21 120,12-196 9,-20 322-537,11-81 392,2-7 38,-1 0 0,-1-1 0,-1 1 0,-1-1 0,-9 34 0,12-51-28,0 1 0,0-1 0,0 0 1,0 0-1,0 0 0,0 0 0,0 0 0,0 1 1,0-1-1,0 0 0,0 0 0,0 0 1,0 0-1,0 0 0,0 1 0,0-1 0,0 0 1,0 0-1,0 0 0,0 0 0,0 0 0,-1 0 1,1 1-1,0-1 0,0 0 0,0 0 0,0 0 1,0 0-1,0 0 0,0 0 0,-1 0 0,1 0 1,0 0-1,0 0 0,0 0 0,0 1 1,0-1-1,0 0 0,-1 0 0,1 0 0,0 0 1,0 0-1,0 0 0,0 0 0,0 0 0,-1 0 1,1 0-1,0 0 0,0 0 0,0 0 0,0-1 1,0 1-1,0 0 0,-1 0 0,1 0 0,0 0 1,0 0-1,0 0 0,0 0 0,0 0 1,-1 0-1,-3-14 40,0-16-32,7-117-67,-1 112-13,-3 94-437,1-29 514,-1 0-1,-8 48 0,47-328 244,-38 272-395,1 0 0,1-1 0,10 40 1,-1 2 107,-11-61 31,9 39 56,1-32 58,-9-10-100,0 1 1,-1-1 0,1 1-1,0-1 1,0 1-1,0-1 1,0 0 0,-1 1-1,1-1 1,0 0 0,-1 0-1,1 1 1,-1-1 0,1 0-1,-1 0 1,1 0-1,-1 0 1,1-2 0,18-42 70,-3-1 0,-1 0 0,14-82 0,-18 74-50,-3 35-100,-5 38-24,-3 38-8,-14 60 59,7-77 197,-1 63 0,8-124-133,-1-32 72,3 2 0,13-86 1,-12 124-99,-1 7-5,-1-1 0,1 1-1,-1-1 1,0 1-1,-1-1 1,0 1-1,0 0 1,-1-11-1,-13 36-277,-86 263 120,87-255 244,10-40-65,9-48-45,6 7-26,3-1 0,28-67-1,-68 158-294,15-9 318,1 2 0,2-1-1,1 1 1,1 0 0,2 0 0,0 40-1,0-31 134,9-94 275,-1 25-361,-2 0 0,-1 0 0,-3-42-1,-4 62-242,-2 21 29,-2 20 8,9-29 193,-8 82-200,8-76 189,0 0-1,1 0 0,-1 1 1,1-1-1,1 1 0,-1-1 0,1 0 1,6 13-1,-8-19 15,1 0-1,-1-1 1,1 1 0,-1 0 0,1-1-1,-1 1 1,1-1 0,0 1 0,-1-1-1,1 1 1,0-1 0,-1 0 0,1 1 0,0-1-1,0 0 1,0 0 0,-1 1 0,1-1-1,0 0 1,0 0 0,0 0 0,-1 0-1,1 0 1,0 0 0,0 0 0,0 0-1,-1 0 1,1-1 0,0 1 0,0 0 0,0 0-1,-1-1 1,1 1 0,0 0 0,-1-1-1,1 1 1,0-1 0,-1 1 0,1-1-1,0 1 1,-1-1 0,1 0 0,-1 1 0,1-1-1,0-1 1,27-30 60,-13 6 90,0 0 0,-2-1-1,-1-1 1,-1-1-1,9-35 1,13-33 258,-27 73-364,-7 21-44,-4 15-30,-5 27-18,1-1-1,-7 74 1,11-67 56,-12 29 175,56-329-148,-31 221-26,-5 23-5,0-1 0,0 1 1,-1-1-1,-1 1 0,0-20 1,-1 32-6,0-1 0,0 0-1,0 0 1,0 0 0,0 0 0,0 0 0,0 0 0,0 0 0,0 0 0,0 1 0,0-1 0,0 0-1,0 0 1,0 0 0,0 0 0,0 0 0,0 0 0,0 0 0,0 0 0,0 0 0,-1 0-1,1 0 1,0 0 0,0 1 0,0-1 0,0 0 0,0 0 0,0 0 0,0 0 0,0 0-1,0 0 1,-1 0 0,1 0 0,0 0 0,0 0 0,0 0 0,0 0 0,0 0 0,0 0 0,0 0-1,0 0 1,-1 0 0,1 0 0,0 0 0,0 0 0,0 0 0,0 0 0,0 0 0,0 0-1,0-1 1,0 1 0,0 0 0,-1 0 0,-6 19-77,-7 25-30,-36 175 84,48-210 222,2-12-69,4-27-17,12-47-59,-8 52-36,-2 0-1,0 1 1,-2-1-1,3-51 0,-24 122-291,7 10 226,-2 92-1,7-122 153,4-21 13,3-18-27,2-17-70,-1-1 0,-2 1-1,-1-1 1,-1 2-1,-2-1 1,-6-32-1,12 217-574,-2-145 559,7 42 7,-8-49 0,1 0-1,0 0 0,-1 0 0,1 0 0,0-1 1,1 1-1,-1 0 0,0-1 0,1 1 1,-1-1-1,1 1 0,0-1 0,3 3 0,-4-5-4,-1 0 1,1 0-1,-1 0 0,1 0 0,-1-1 0,1 1 0,-1 0 0,1 0 0,-1-1 0,0 1 0,1 0 0,-1-1 0,1 1 0,-1 0 0,0-1 0,1 1 0,-1-1 1,0 1-1,1-1 0,-1 1 0,0 0 0,0-1 0,0 1 0,1-1 0,-1 1 0,0-1 0,0 1 0,0-1 0,0 0 0,0 1 0,0-2 0,5-19 46,-5 21-48,34-247 115,-42 372-321,12 180 0,-2-298 399,0-14-64,5-34-7,4-57-58,12-163-137,-26 376-713,-14 165 956,12-252 87,5-28-255,0 0 1,0 0 0,0 0-1,0 0 1,0 0 0,0-1-1,0 1 1,0 0 0,0 0-1,0 0 1,0 0 0,0 0-1,0 0 1,0-1 0,0 1-1,0 0 1,0 0 0,0 0-1,0 0 1,0 0 0,0 0-1,0 0 1,-1 0 0,1-1-1,0 1 1,0 0 0,0 0 0,0 0-1,0 0 1,0 0 0,0 0-1,0 0 1,0 0 0,0 0-1,-1 0 1,1 0 0,0-1-1,0 1 1,0 0 0,0 0-1,0 0 1,0 0 0,0 0-1,0 0 1,-1 0 0,1 0-1,0 0 1,0 0 0,0 0-1,0 0 1,0 0 0,0 0-1,-1 0 1,1 0 0,0 0 0,0 1-1,-3-52 323,2 35-344,0-13 50,1 11-150,0-2-1,-2 0 1,0 0-1,-1 1 1,-1-1-1,-13-35 1,17 55 109,0 0 0,0-1 0,0 1 0,0 0 0,0 0 0,0 0 0,0-1 0,0 1 0,0 0 0,0 0 0,0 0 0,-1 0 0,1-1 0,0 1 1,0 0-1,0 0 0,0 0 0,0 0 0,-1 0 0,1 0 0,0-1 0,0 1 0,0 0 0,-1 0 0,1 0 0,0 0 0,0 0 0,0 0 0,0 0 0,-1 0 0,1 0 0,0 0 1,0 0-1,0 0 0,-1 0 0,1 0 0,0 0 0,0 0 0,0 0 0,-1 0 0,1 0 0,0 0 0,0 0 0,0 0 0,-1 1 0,1-1 0,0 0 0,0 0 0,0 0 0,-1 0 1,-6 14-199,-3 16 53,2 8 48,-4 60 0,0 4 229,41-188 276,-25 64-387,-2 1 0,0-1 0,-1-1-1,-3-31 1,-8 95-348,2-13 289,-19 171 607,32-263-408,-3 27-145,1 1-1,1 0 1,3 0-1,17-57 1,-24 93-13,-1-1 0,1 1 0,0 0-1,0 0 1,0-1 0,0 1 0,0 0 0,0-1 0,0 1-1,0 0 1,0-1 0,0 1 0,1 0 0,-1 0 0,0-1-1,0 1 1,0 0 0,0-1 0,0 1 0,0 0 0,1 0 0,-1-1-1,0 1 1,0 0 0,0 0 0,1 0 0,-1-1 0,0 1-1,0 0 1,1 0 0,-1 0 0,0 0 0,1-1 0,-1 1-1,0 0 1,0 0 0,1 0 0,-1 0 0,0 0 0,1 0-1,-1 0 1,0 0 0,0 0 0,1 0 0,-1 0 0,0 0 0,1 0-1,-1 0 1,0 0 0,1 0 0,5 21-119,0 43 76,-6-57 42,5 34 3,-3-27 48,0-2 0,-1 2 0,-1 19 0,6-89 72,-3-59 1,-14 182-645,0-6 498,5 17 145,8-71 158,6-44-154,4-63-27,4-15-174,-13 164-312,-8 3 327,2-22 136,0 0 1,2 0-1,5 52 1,2-138 312,-1 18-337,-2 5-42,1-25-87,2-1 0,3 1 0,22-77 0,-35 156-180,1 0-1,1 39 1,-3 20 409,-4-16 85,5-38 54,3-23-1,2-7 132,53-241-568,-29 141-981,-20 86 583,-5 25 57,-8 30 113,-3 2 274,-9 79 0,15-81 181,-1-1 0,-19 65 0,25-100-54,0-1-1,0 1 1,-1 0-1,1 0 0,0 0 1,0 0-1,0 0 1,-1-1-1,1 1 1,-1 0-1,1 0 0,0 0 1,-1-1-1,1 1 1,-1 0-1,0-1 1,1 1-1,-1 0 1,1-1-1,-1 1 0,0-1 1,0 1-1,0 0 1,-3-21 213,7-50-139,-2 63-81,2-47-262,16-70 1,-16 106 129,1 1 0,1 0 0,1 0 0,1 0 0,0 1 0,1 0 0,0 0 0,12-14 0,-26 43 85,1 1 0,1 0 1,-4 22-1,-2 2 218,-1 3 36,-48 146 650,80-291-75,37-75-2185,-5 64-3674,-49 107 4472,-10 16 559,-11 24 266,-80 291 5499,164-607-8462,-63 266 1766,0-2-1,15-38 0,-51 174 3687,10-59-2264,16-37 47,-2 0-1,0-1 1,-1 0 0,-15 22 0,13-31 133,11-25-398,15-32-218,-14 42 8,16-40-24,3 0-1,1 2 0,53-79 1,-83 164-12,4-11 47,-7 10 424,-1 0-1,-1-1 0,-2 0 1,-30 53-1,65-156 35,9-19-449,-21 57-134,2 0 1,0 1-1,15-28 0,-10 24-179,-22 49-36,-7 23 226,-27 75 62,36-106 41,0-1 0,-1 0-1,0 0 1,-1-1-1,0 0 1,0-1-1,-14 13 1,21-22-26,1 0 0,-1 0 0,1-1 0,-1 1 0,1 0 0,-1-1 0,0 1 0,1 0 0,-1-1 0,0 1 0,1-1 0,-1 1 0,0-1 0,0 0 0,0 1 0,1-1 0,-1 0 0,0 1 0,0-1 0,0 0 0,0 0 0,0 0 0,1 0 0,-1 0 0,0 0 1,0 0-1,0 0 0,0 0 0,0 0 0,0-1 0,1 1 0,-3-1 0,2 0-6,0-1 0,0 0 0,1 1 1,-1-1-1,0 0 0,1 0 0,-1 1 1,1-1-1,-1 0 0,1 0 0,0 0 1,0 0-1,0 1 0,0-4 0,8-67-250,-7 67 222,8-37-218,15-40 0,-49 201-275,-7 28 770,33-135 109,6-22-159,9-20-70,-8 4-76,8-48-1,-13 55-49,1 0 0,1 0 0,0 0 0,16-32 1,-29 73-93,1 1 0,2 1-1,0-1 1,-1 27 0,-1 0 56,-15 84 605,80-425-391,-62 352-865,4-38 717,-1 1 1,0-1 0,-2 1 0,-2-1 0,0-1-1,-11 33 1,16-55-27,0 0-1,0 0 0,0 0 1,0 0-1,0 0 1,0 0-1,0 0 1,0-1-1,0 1 1,0 0-1,0 0 0,0 0 1,0 0-1,0 0 1,0 0-1,0 0 1,0 0-1,-1 0 0,1 0 1,0 0-1,0 0 1,0 0-1,0-1 1,0 1-1,0 0 0,0 0 1,0 0-1,0 0 1,0 0-1,0 0 1,0 0-1,-1 0 0,1 0 1,0 0-1,0 0 1,0 0-1,0 0 1,0 0-1,0 0 1,0 0-1,0 0 0,0 0 1,0 0-1,0 0 1,-1 0-1,1 0 1,0 0-1,0 0 0,0 0 1,0 0-1,0 0 1,0 1-1,0-1 1,0 0-1,0 0 0,0 0 1,0 0-1,-2-15 83,1-19-69,8-2 1,-3 8-113,-12 51-41,-6 23 141,-2 1 1,-2-2 0,-2 0-1,-3-1 1,-34 51-1,39-69 24,-48 66-655,58-83 319,0 0 0,-1 0 0,0-1 0,-1-1 0,1 0 0,-3 0 1,-11 7-1,-5 6-638,-5 2-3,31-21 981,1-1-1,-1 0 0,1 1 1,-1-1-1,1 0 0,-1 0 0,1 0 1,0 0-1,-1-1 0,1 1 1,-1 0-1,1 0 0,-1-1 1,1 1-1,-1-1 0,1 0 1,0 1-1,-1-1 0,1 0 1,0 0-1,0 0 0,0 1 0,0-1 1,-1 0-1,0-2 0,-6-5 316,3 2-201,0 1 0,0 0 0,-1 0 0,1 1 0,-1-1 0,-13-6 0,17 10-148,0 1 1,0-1-1,0 1 1,0-1-1,0 1 1,0 0-1,0 0 0,1 0 1,-1 0-1,0 0 1,0 1-1,0-1 0,0 0 1,0 1-1,0-1 1,0 1-1,0 0 0,1 0 1,-1 0-1,0 0 1,1 0-1,-1 0 0,0 0 1,1 0-1,-1 1 1,1-1-1,0 1 0,0-1 1,-1 1-1,1-1 1,0 1-1,-1 3 0,-38 64-51,32-53 62,0-1 0,-1 0 1,0-1-1,-1 0 0,-23 24 0,31-36-7,0 1 1,0-2-1,0 1 1,-1 0-1,1 0 1,-1-1-1,1 1 1,-1-1-1,0 1 1,0-1-1,0 0 1,1 0-1,-1 0 1,-5 1-1,6-3-4,1 1 1,-1-1-1,0 1 1,1-1-1,-1 0 0,0 0 1,1 0-1,-1 0 1,1 0-1,-1 0 1,1 0-1,0 0 0,-1 0 1,1-1-1,0 1 1,-1-1-1,1 1 0,0 0 1,0 0-1,0-1 1,1 1-1,-1-1 0,0 0 1,1 1-1,-1-4 1,-5-14-6,1 0 1,1-1-1,0 1 1,2-1 0,-1-23-1,-7-46 162,5 78-62,-2 21-125,-1 22-107,6-1 92,1 0 0,6 58 0,-2-59 345,-1 0 0,-1-1 1,-6 45-1,4-69-291,-4 21 368,0-23-145,0-18-102,-21-122 39,20 99-152,5 9-24,1 25 3,1 0-1,-1 0 1,0 0 0,0 0 0,0 0-1,-1 0 1,0 0 0,1 0 0,-1 0-1,-1 0 1,1 0 0,-1 0 0,-2-4-1,3 8-2,1 0 0,-1 1 0,0-1-1,1 0 1,-1 1 0,0-1-1,1 1 1,-1-1 0,1 1-1,-1-1 1,1 1 0,-1 0-1,1-1 1,0 1 0,-1 0-1,1-1 1,0 1 0,-1 0 0,1-1-1,0 1 1,0 0 0,0 0-1,-1-1 1,1 1 0,0 0-1,0 0 1,0-1 0,1 3-1,-9 34-78,7-31 65,-1 13 4,1-1 0,0 1-1,4 25 1,-2 41 42,-2-78-11,0 0-1,0-1 1,0 1 0,-1 0 0,0-1-1,0 0 1,-1 1 0,0-1 0,-6 11-1,9-17-11,0 0-1,0 1 1,0-1-1,-1 0 1,1 0-1,0 1 0,0-1 1,0 0-1,0 0 1,0 0-1,0 0 1,0 1-1,-1-1 0,1 0 1,0 0-1,0 0 1,0 0-1,0 1 1,-1-1-1,1 0 0,0 0 1,0 0-1,0 0 1,-1 0-1,1 0 0,0 0 1,0 0-1,0 0 1,-1 0-1,1 0 1,0 0-1,0 0 0,0 0 1,-1 0-1,1 0 1,0 0-1,0 0 1,-1 0-1,1 0 0,0 0 1,0 0-1,0 0 1,-1 0-1,1 0 1,0-1-1,-4-12 49,2-23-20,2 33-25,2-245 26,-3 233-52,-2 23-27,-1 24-34,8 62 55,-1-67 43,-2 0 0,0 0 0,-2 0 0,-1 0 0,-1 0 0,-10 40-1,16-84 36,-1-2 0,1-34-1,0-13-37,24-90-65,-16 258-211,-13-67 269,-1 0-1,-2 0 1,-1-1-1,-15 47 0,6-35 29,6-20 28,16-69-33,18-44-24,-18 68-6,-1 0 1,-1-1-1,-1 0 1,3-22-1,-10 79-32,-12 55 0,-10 23 80,29-128-38,11-42 28,-14 51-48,0 0 0,0 0 0,-1 0 0,1 1-1,-1-1 1,0 0 0,0 0 0,0 0 0,-1 0 0,0 0 0,-1-5 0,1 11-8,-1 0 0,1 0 0,-1 0 1,1 0-1,0 1 0,0-1 0,0 0 0,1 1 0,-1-1 0,0 1 0,1 3 0,-7 63-46,4-40 65,3-22 0,0-9-1,4-15 10,-3 14-4,0-1-1,0 0 1,-1 0-1,1 1 0,-1-1 1,1 0-1,-1 0 1,0 0-1,-1 0 1,-1-6-1,-16 54-21,17-41 12,1-1 2,-1-1 0,1 1 0,0-1 1,-1 1-1,1-1 0,0 1 0,0 0 1,0-1-1,0 1 0,0-1 1,1 1-1,-1 0 0,0-1 0,1 1 1,-1-1-1,1 1 0,0-1 0,-1 1 1,1-1-1,0 0 0,0 1 1,0-1-1,0 0 0,1 2 0,11-40 2,-10 28 1,-1 6 1,-1-1-1,1 1 1,-1-1 0,0 0 0,0 1 0,0-1 0,-1 0-1,1 0 1,-1 0 0,0 1 0,0-1 0,0-4-1,-1 8 0,0 0 0,1 0 0,-1 0 0,0 0-1,0 1 1,1-1 0,-1 0 0,0 0-1,1 1 1,-1-1 0,0 0 0,1 1 0,-1-1-1,1 1 1,-1-1 0,1 1 0,-1-1-1,1 1 1,-1-1 0,1 1 0,-1-1-1,1 1 1,-1 0 0,1-1 0,0 1 0,0 0-1,-1-1 1,1 1 0,0 0 0,0-1-1,0 1 1,0 0 0,-1 0 0,-11 28-10,8-18 6,-6 30-44,31-55-5,93-128 232,-101 125-56,-20 26 29,-23 31-47,22-29-97,0 0 0,-1 0 0,-11 11 0,12-14-10,-1 2 0,1-1-1,1 1 1,-8 13 0,14-14-65,11-11 13,12-12 9,5-13 45,0 0 1,-2-2-1,-1 1 1,-1-3 0,34-59-1,-76 116 63,-1-1 0,-1-1 0,-1 0 0,-37 28 0,72-66-133,-1 0-1,-1-1 1,-1-1-1,16-31 1,-1 4 36,1 4 9,17-31 108,-45 66 67,-8 9-96,-12 10-33,-37 38-64,-59 70 0,194-203-302,-39 35 331,-22 29 30,-1-1 1,-1 0-1,1 0 0,17-36 0,-32 44 184,-10 13-102,-12 12-44,-17 16-80,4 0 0,0 2-1,-58 76 1,93-107-295,5-6 105,13-12 15,20-24 121,-17 15 109,-2-1-1,-1 0 0,-1 0 0,-1-2 0,-2 0 0,20-55 0,-31 62 182,-14 29-92,-15 28-89,-2 28-28,22-46 13,-1 0 1,-16 24-1,11-23 2,19-32-54,17-31-5,-20 38 42,0-1 0,0 0 0,1 1 0,0-1 0,0 1 0,6-6 0,-7 7-4,-17 59-127,7-32 130,5-16 4,0 1-1,0-1 1,-1 0 0,0 1 0,-1-1 0,1-1 0,-9 12-1,16-30-7,-1 0 0,0 1 0,0-2-1,-1 1 1,0-23 0,2-4-18,24-121-76,-31 183-18,1 0 0,2 46 0,1-14 73,-1-32 42,0 3 45,-2 1-1,-7 47 1,18-102 12,1 1 1,19-37 0,1-1-41,-27 61-34,-2 7 6,-4 18 4,-7 28 18,4-29 0,4-10-2,-1 0 1,-1 0 0,1 0 0,-1-1 0,-1 1-1,-6 8 1,63-104-103,-35 68 98,-20 30-109,-23 35-154,25-47 257,-5 12-31,2-8 25,1 1-1,0 0 1,0 0-1,1 1 0,0-1 1,0 0-1,0 1 1,0-1-1,1 1 1,-1 7-1,31-45-93,18-37-2497,-40 59 182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4.796"/>
    </inkml:context>
    <inkml:brush xml:id="br0">
      <inkml:brushProperty name="width" value="0.05" units="cm"/>
      <inkml:brushProperty name="height" value="0.05" units="cm"/>
    </inkml:brush>
  </inkml:definitions>
  <inkml:trace contextRef="#ctx0" brushRef="#br0">1 1 600,'15'12'6433,"10"6"-4207,69 40-5318,-80-50 2005,-1 0 58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5.447"/>
    </inkml:context>
    <inkml:brush xml:id="br0">
      <inkml:brushProperty name="width" value="0.05" units="cm"/>
      <inkml:brushProperty name="height" value="0.05" units="cm"/>
    </inkml:brush>
  </inkml:definitions>
  <inkml:trace contextRef="#ctx0" brushRef="#br0">0 0 1096,'76'65'5730,"-45"-40"-6580,0 1 0,-2 1 0,27 33 0,-49-51 457</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6.598"/>
    </inkml:context>
    <inkml:brush xml:id="br0">
      <inkml:brushProperty name="width" value="0.05" units="cm"/>
      <inkml:brushProperty name="height" value="0.05" units="cm"/>
    </inkml:brush>
  </inkml:definitions>
  <inkml:trace contextRef="#ctx0" brushRef="#br0">12 8 1896,'5'4'3593,"9"12"-2993,-3-4-621,206 170-1219,-205-173 749</inkml:trace>
  <inkml:trace contextRef="#ctx0" brushRef="#br0" timeOffset="1">0 0 2160,'7'5'2851,"7"11"-2973,-9-10 241,69 59-87,-31-28-178,41 47 0,-78-78-723,-2-2 359</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7.730"/>
    </inkml:context>
    <inkml:brush xml:id="br0">
      <inkml:brushProperty name="width" value="0.05" units="cm"/>
      <inkml:brushProperty name="height" value="0.05" units="cm"/>
    </inkml:brush>
  </inkml:definitions>
  <inkml:trace contextRef="#ctx0" brushRef="#br0">12 27 2681,'15'13'4574,"49"45"-4491,-24-26-800,51 53 0,-77-71 174</inkml:trace>
  <inkml:trace contextRef="#ctx0" brushRef="#br0" timeOffset="1">14 26 2585,'-1'2'2240,"3"0"-1024,1-1-968,7 8-48,17 15-72,-10-11-32,6 3-40,1 3 0,0 1-8,-1 0 8,-3 1 8,0-1-7,-2-4-346,-3 0-551,-5-6 544</inkml:trace>
  <inkml:trace contextRef="#ctx0" brushRef="#br0" timeOffset="2">1 1 2865,'22'15'4582,"19"21"-4052,0 0-583,4 2-1122,48 54-1,-84-82 596</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08.718"/>
    </inkml:context>
    <inkml:brush xml:id="br0">
      <inkml:brushProperty name="width" value="0.05" units="cm"/>
      <inkml:brushProperty name="height" value="0.05" units="cm"/>
    </inkml:brush>
  </inkml:definitions>
  <inkml:trace contextRef="#ctx0" brushRef="#br0">21 1 1720,'0'0'961,"2"2"-225,1 1-80,0 1-152,3 2-88,2 1-112,1 2-48,4 2-120,2 2-56,5 3-40,-1-1 0,-1 1 8,-1-2 8,-8-2 0,0-2-64,-4-5-720,-3-3 536</inkml:trace>
  <inkml:trace contextRef="#ctx0" brushRef="#br0" timeOffset="1">1 9 1536,'0'1'736,"0"1"-335,2 0 287,1 2-672,-1 0-8,-1-2-8,0-1-16</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1.126"/>
    </inkml:context>
    <inkml:brush xml:id="br0">
      <inkml:brushProperty name="width" value="0.05" units="cm"/>
      <inkml:brushProperty name="height" value="0.05" units="cm"/>
    </inkml:brush>
  </inkml:definitions>
  <inkml:trace contextRef="#ctx0" brushRef="#br0">28 31 1000,'0'0'59,"0"0"0,0-1 1,0 1-1,0 0 0,0-1 0,0 1 0,0-1 0,-1 1 0,1 0 0,0-1 0,0 1 0,0 0 0,0-1 1,-1 1-1,1 0 0,0-1 0,0 1 0,-1 0 0,1 0 0,0-1 0,0 1 0,-1 0 0,1 0 1,0-1-1,-1 1 0,1 0 0,0 0 0,-1 0 0,1 0 0,-1 0 0,1-1 0,0 1 0,-1 0 1,1 0-1,0 0 0,-1 0 0,1 0 0,-1 0 0,1 0 0,0 0 0,-1 0 0,1 1 0,0-1 1,-1 0-1,0 0 0,-8 3 959,7-8-872,0-4 277,1 22-190,1-12-268,3-13 1356,-2 9-698,1 11-680,-2-6 50,0-1 0,0 0 1,1 1-1,-1-1 0,0 0 0,1 0 1,-1 1-1,1-1 0,0 0 0,-1 0 1,1 0-1,0 0 0,0 0 0,0 0 0,1 1 1,-2-2 5,1 0 0,-1 0 1,1 0-1,-1 1 0,1-1 1,-1 0-1,1-1 0,-1 1 1,1 0-1,-1 0 0,0 0 1,1 0-1,-1 0 0,1 0 1,-1-1-1,1 1 0,-1 0 1,0 0-1,1 0 0,-1-1 1,1 1-1,-1 0 0,0-1 1,1 1-1,-1 0 0,0-1 1,0 1-1,1-1 1,-1 1-1,0 0 0,0-1 1,1 1-1,-1-1 0,0 1 1,0-1-1,0 1 0,0 0 1,0-1-1,0 1 0,0-1 1,0 1-1,0-1 0,0 0 1,2-10-28,1-5 919,-2 26-407,-1-9-490,1 31 21,-2-31-21,1 0 1,0 0-1,0 0 1,0 0-1,0 0 0,0 0 1,0-1-1,0 1 1,0 0-1,0 0 1,1 0-1,-1 0 0,0 0 1,1 0-1,-1 0 1,0-1-1,1 1 1,-1 0-1,1 0 1,-1 0-1,1-1 0,-1 1 1,1 0-1,0-1 1,-1 1-1,1 0 1,0-1-1,1 1 0,-1-5 4,1-1 0,-1 1-1,1-1 1,-1 1 0,-1-1-1,1 1 1,-1-1 0,0-6-1,-1 32 449,0-18-455,1-1 1,0 1-1,0 0 0,0-1 1,1 1-1,-1-1 1,1 1-1,-1-1 1,1 1-1,0-1 0,1 4 1,14-46 1608,-16 73-1322,0-32-296,0 0-1,0 1 1,0-1 0,0 0-1,0 0 1,0 0 0,0 0-1,0 1 1,0-1 0,1 0-1,-1 0 1,1 0 0,-1 0-1,1 0 1,-1 0 0,1 0 0,-1 0-1,1 0 1,0 0 0,0 0-1,1 1 1,0-6-13,1-1 1,-1 0-1,0 0 1,0 0-1,-1 0 1,3-10-1,-3 9 119,-1 6 117,-5 34 213,4-32-425,1-1 0,0 1 0,-1-1 0,1 1 0,0-1 1,0 1-1,0-1 0,0 1 0,1-1 0,-1 1 1,0-1-1,0 1 0,1-1 0,-1 0 0,1 1 0,0-1 1,-1 1-1,1-1 0,0 0 0,0 0 0,1 2 1,12-45 314,-14 42-291,0 0 0,0 0 0,0 0 0,0 0 1,0 0-1,0 0 0,0 0 0,0 0 0,0 0 1,0 0-1,0 0 0,0 0 0,1 0 0,-1 0 0,0 1 1,0-1-1,0 0 0,0 0 0,0 0 0,0 0 1,0 0-1,0 0 0,0 0 0,0 0 0,0 0 0,0 0 1,0 0-1,1 0 0,-1 0 0,0 0 0,0 0 1,0 0-1,0 0 0,0 0 0,0 0 0,0 0 1,0 0-1,0 0 0,0 0 0,0 0 0,1 0 0,-1 0 1,0 0-1,0 0 0,0 0 0,0-1 0,0 1 1,0 0-1,0 0 0,0 0 0,0 0 0,0 0 0,3 15 200,-3-11-240,0 1 0,1-1 0,0 0-1,0 1 1,0-1 0,0 0 0,1 0 0,3 6 0,12-55-123,-14 39 616,-5 14-217,-1 7-238,4 19-115,2-30-100,3-20 148,-4-4 368,-2 14-57,1 19-138,-1-10-124,0 32-57,0-34 55,0 1 1,0-1 0,0 1 0,0-1-1,0 1 1,0-1 0,1 1-1,-1 0 1,0-1 0,1 0-1,0 1 1,-1-1 0,1 1 0,0-1-1,0 0 1,1 3 0,12-49-24,-14 33 613,-1 29-479,0-11-129,1 1 0,0-1 0,1 1 0,0-1 0,0 1 0,2 7 0,-3-14 18,0 0 0,0 0-1,0 0 1,0 0 0,0 0 0,0 0-1,1 0 1,-1 0 0,0 0-1,0 1 1,0-1 0,0 0-1,0 0 1,0 0 0,0 0-1,1 0 1,-1 0 0,0 0-1,0 0 1,0 0 0,0 0-1,0 0 1,0 0 0,0 0-1,1 0 1,-1 0 0,0 0-1,0 0 1,0 0 0,0 0-1,0-1 1,0 1 0,0 0-1,1 0 1,-1 0 0,0 0 0,0 0-1,0 0 1,0 0 0,0 0-1,0 0 1,0 0 0,0 0-1,0-1 1,0 1 0,0 0-1,0 0 1,1 0 0,-1 0-1,0 0 1,0 0 0,0 0-1,0-1 1,0 1 0,0 0-1,0 0 1,0 0 0,0 0-1,0 0 1,0 0 0,0-1-1,0 1 1,0 0 0,-1 0-1,1 0 1,0 0 0,0 0-1,5-17-9,3-6 290,-4 27-167,-2 18-122,2 5 23,-4-27-13,0 0 0,0 1-1,-1-1 1,1 1 0,0-1 0,0 1 0,0-1 0,0 0 0,0 1 0,0-1 0,0 1 0,1-1 0,-1 1 0,0-1 0,0 0 0,0 1-1,0-1 1,0 0 0,1 1 0,-1-1 0,0 1 0,0-1 0,1 0 0,-1 1 0,0-1 0,0 0 0,1 0 0,-1 1 0,0-1 0,1 0 0,-1 0-1,1 1 1,-1-1 0,0 0 0,1 0 0,-1 0 0,1 0 0,-1 1 0,0-1 0,1 0 0,1-4 7,-1 1 1,0 0-1,0-1 1,0 1 0,-1-1-1,1 1 1,-1-1-1,0 1 1,0-1-1,0 1 1,-1-6-1,1 6 27,0 3-5,0 9-17,1-1 1,0 1 0,0 0-1,1-1 1,0 1 0,6 13-1,-6-28-39,0 0-1,-1 1 0,0-1 1,1 0-1,-2 0 0,1-8 1,0 21 35,0 0 0,0 0 0,1-1 0,0 1 0,0-1 0,1 1 0,5 8 0,-7-55-74,-1 41 63,0 0 0,-1 1-1,1-1 1,0 0-1,0 1 1,1-1 0,-1 0-1,0 1 1,0-1-1,1 0 1,-1 1 0,1-1-1,-1 0 1,1 0 0,-1 0-1,1 1 1,0-1-1,0 0 1,-1 0 0,1 0-1,0 0 1,0 0-1,0 0 1,0 0 0,0-1-1,0 1 1,0 0-1,1 0 1,-1-1 0,0 1-1,0-1 1,1 1-1,-1-1 1,2 1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2.514"/>
    </inkml:context>
    <inkml:brush xml:id="br0">
      <inkml:brushProperty name="width" value="0.05" units="cm"/>
      <inkml:brushProperty name="height" value="0.05" units="cm"/>
    </inkml:brush>
  </inkml:definitions>
  <inkml:trace contextRef="#ctx0" brushRef="#br0">214 194 3017,'-1'0'-28,"0"0"191,-1 0 1,1 1-1,0-1 1,0 0 0,0 0-1,0 0 1,0 0-1,0-1 1,0 1 0,0 0-1,0 0 1,0 0-1,0-1 1,0 1 0,0-1-1,0 1 1,0-1-1,0 1 1,0-1-1,1 1 1,-1-1 0,0 0-1,0 0 1,0 1-1,1-1 1,-2-2 0,39 38 163,-28-28-299,0 0-1,-1 0 1,-1 1 0,1 0-1,12 18 1,-27-36 23,0 0 1,-1 1-1,-14-14 0,-18-24 303,30 34-223,0 1 1,0 0-1,-1 1 0,-1 0 1,0 1-1,0 0 0,-23-13 1,96 70-253,-49-37 170,-1-1 1,-1 1-1,1 1 0,-2 0 0,17 23 0,-72-61 254,-18-39-272,46 46 81,0 1 0,-28-23 0,43 40-435,9 7 120,24 21 44,66 60-30,-88-79 97,-1 2 0,0-1 0,0 1-1,-1 0 1,8 15 0,-19-31-1,-1 1 1,0 0 0,0 0-1,-11-8 1,-4-4 68,-6-7 2,2 4 209,2-2 0,0-1 0,-31-44 0,114 120-586,84 75-1384,-128-111 108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3.219"/>
    </inkml:context>
    <inkml:brush xml:id="br0">
      <inkml:brushProperty name="width" value="0.05" units="cm"/>
      <inkml:brushProperty name="height" value="0.05" units="cm"/>
    </inkml:brush>
  </inkml:definitions>
  <inkml:trace contextRef="#ctx0" brushRef="#br0">6 26 1032,'-6'-21'2930,"8"16"-1027,17 25-395,6 7-1719,15 9 108,-12-12-474,-2 1 1,26 31-1,-41-43-3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0.826"/>
    </inkml:context>
    <inkml:brush xml:id="br0">
      <inkml:brushProperty name="width" value="0.05" units="cm"/>
      <inkml:brushProperty name="height" value="0.05" units="cm"/>
    </inkml:brush>
  </inkml:definitions>
  <inkml:trace contextRef="#ctx0" brushRef="#br0">13 122 1472,'-13'13'3321,"26"6"-2849,-13-18-476,34 33 96,0-1-1,2-2 1,1-1 0,47 25-1,2 6 30,-51-35-88,25 19 103,1-2 0,71 34 0,-118-68-116,1 0-1,-2 1 1,0 1 0,0 0-1,-1 0 1,-1 1-1,0 1 1,10 15-1,-8-11 214,1 0-1,0-1 0,2-1 1,17 13-1,-30-27-224,1 0 1,-1 0-1,0 0 1,1 0-1,-1-1 0,1 1 1,-1-1-1,1 0 1,-1 0-1,1 0 1,-1-1-1,1 1 0,-1-1 1,1 0-1,-1 0 1,0 0-1,1 0 1,4-4-1,-3-1 3,3 1 7,11-3 8,-18 8-26,-1 0 1,1 0-1,0 0 1,-1 0-1,1 0 1,0 0-1,-1-1 1,1 1-1,-1 0 0,1 0 1,0 0-1,-1-1 1,1 1-1,-1 0 1,1-1-1,-1 1 1,1 0-1,-1-1 1,1 1-1,-1-1 1,1 1-1,-1-1 1,0 1-1,1-1 1,-1 1-1,0-1 1,1 0-1,-1 1 1,0-1-1,0 1 1,1-1-1,-1 0 1,0 1-1,0-1 1,0 1-1,0-1 0,0 0 1,0 1-1,0-1 1,0 0-1,0 1 1,0-1-1,0 0 1,-1 1-1,1-1 1,0 1-1,0-1 1,-1 0-1,1 1 1,0-1-1,-1 1 1,1-1-1,0 1 1,-1-1-1,0 0 1,-28-38 33,23 32-39,6 7 5,0 0 0,0 0 1,0 0-1,0 1 0,1-1 0,-1 0 1,0 0-1,0 0 0,0 0 1,1 0-1,-1 0 0,0 1 0,0-1 1,0 0-1,1 0 0,-1 0 1,0 0-1,0 0 0,0 0 0,1 0 1,-1 0-1,0 0 0,0 0 1,1 0-1,-1 0 0,0 0 0,0 0 1,0 0-1,1 0 0,-1 0 1,0 0-1,0 0 0,0-1 0,1 1 1,-1 0-1,0 0 0,0 0 1,0 0-1,0 0 0,1-1 1,-1 1-1,0 0 0,0-1 2,0 0-1,1 1 1,-1-1-1,0 0 1,0 0-1,0 1 0,0-1 1,-1 0-1,1 0 1,0 0-1,0 1 1,0-1-1,-1 0 1,1 0-1,0 1 1,-1-1-1,1 0 1,0 1-1,-1-1 1,1 1-1,-1-1 1,1 0-1,-2 0 1,-25-28 100,-1 1 1,-2 1-1,0 1 1,-53-31-1,37 25 162,-68-60 0,-118-110 232,175 140-484,38 41 15,-1-1 1,-30-24 0,46 43-8,-1-1 0,1 1 0,-1 0 0,0 0 0,0 0 0,0 0 0,-1 1 1,1 0-1,-1 0 0,1 1 0,-1-1 0,0 1 0,-10 0 0,5-2-36,-12 0-68,23 3 82,-1 1 0,1-1 0,-1 0 0,1 0 0,-1 1 1,1-1-1,0 0 0,-1 0 0,1 1 0,-1-1 1,1 1-1,0-1 0,-1 0 0,1 1 0,0-1 0,-1 1 1,1-1-1,0 0 0,0 1 0,-1-1 0,1 1 0,0-1 1,0 1-1,0-1 0,0 1 0,0-1 0,0 1 0,0-1 1,0 1-1,0 0 0,0-1 0,0 1 0,0-1 0,0 1 1,0-1-1,0 1 0,0-1 0,1 1 0,-1-1 0,0 0 1,1 2-1,4 8-26,0 1 0,0-1 1,2 0-1,-1-1 0,1 1 1,0-1-1,1 0 0,0-1 0,1-1 1,0 1-1,12 8 0,20 20-17,189 180 51,-14-12 244,-192-178-395,-24-26 137,0 0 1,1 0-1,-1 0 0,0 0 1,0 0-1,0 0 0,0 0 1,0 1-1,0-1 1,0 0-1,0 0 0,0 0 1,0 0-1,0 0 0,1 0 1,-1 0-1,0 0 1,0 0-1,0 1 0,0-1 1,0 0-1,0 0 0,0 0 1,0 0-1,0 0 1,0 0-1,0 0 0,0 1 1,0-1-1,0 0 0,0 0 1,0 0-1,0 0 1,0 0-1,0 0 0,0 0 1,0 1-1,-1-1 0,1 0 1,0 0-1,0 0 1,0 0-1,0 0 0,0 0 1,0 0-1,0 0 0,0 0 1,0 0-1,0 1 0,0-1 1,-1 0-1,1 0 1,0 0-1,0 0 0,0 0 1,0 0-1,0 0 0,0 0 1,0 0-1,-1 0 1,1 0-1,0 0 0,-19-10-590,-257-182-3356,202 133 4368,-105-104 1,152 133 575,27 26-381,18 16-509,31 24-113,394 263 68,-431-292-10,0 0 1,0-1 0,1-1-1,-1 0 1,21 4-1,-26-11 54,-12-6-62,-15-11-61,19 18 19,-65-54-577,27 20 362</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4.290"/>
    </inkml:context>
    <inkml:brush xml:id="br0">
      <inkml:brushProperty name="width" value="0.05" units="cm"/>
      <inkml:brushProperty name="height" value="0.05" units="cm"/>
    </inkml:brush>
  </inkml:definitions>
  <inkml:trace contextRef="#ctx0" brushRef="#br0">0 18 1592,'17'18'5485,"31"21"-4372,8 7-1269,23 32 209,-49-43-2880,-27-30 1976</inkml:trace>
  <inkml:trace contextRef="#ctx0" brushRef="#br0" timeOffset="1">14 12 1008,'-9'-11'3531,"16"14"-780,16 15-1737,51 44-653,-55-47-579,0 0-1,-1 1 1,-1 1 0,19 24 0,-32-35-1004,-1-4 503</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4.657"/>
    </inkml:context>
    <inkml:brush xml:id="br0">
      <inkml:brushProperty name="width" value="0.05" units="cm"/>
      <inkml:brushProperty name="height" value="0.05" units="cm"/>
    </inkml:brush>
  </inkml:definitions>
  <inkml:trace contextRef="#ctx0" brushRef="#br0">15 85 2745,'-15'5'3160,"15"-7"-2648,0 1-96,0 1-71,0-1-65,1-2-64,0-3-16,1-1-64,3-12-40,-4 14-48,1 1 0,-1 1 0,0-1-304,-1 1 192</inkml:trace>
  <inkml:trace contextRef="#ctx0" brushRef="#br0" timeOffset="1">22 70 3601,'-2'-1'3240,"2"-9"-2455,2-13-201,1 14-184,0 1-56,-1 1-216,-1 2-32,0 1-168,0 2-424,-1 2 344</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6.345"/>
    </inkml:context>
    <inkml:brush xml:id="br0">
      <inkml:brushProperty name="width" value="0.05" units="cm"/>
      <inkml:brushProperty name="height" value="0.05" units="cm"/>
    </inkml:brush>
  </inkml:definitions>
  <inkml:trace contextRef="#ctx0" brushRef="#br0">17 26 1208,'-15'-20'2936,"13"15"-56,13 15-2370,63 67-600,-64-69-24</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6.720"/>
    </inkml:context>
    <inkml:brush xml:id="br0">
      <inkml:brushProperty name="width" value="0.05" units="cm"/>
      <inkml:brushProperty name="height" value="0.05" units="cm"/>
    </inkml:brush>
  </inkml:definitions>
  <inkml:trace contextRef="#ctx0" brushRef="#br0">1 75 1696,'0'0'6339,"8"-18"-4579,-6 13-1957,1 0-1,-1 0 0,0-1 1,0 1-1,0-1 0,-1 1 0,2-10 1,-3 10-535</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7.095"/>
    </inkml:context>
    <inkml:brush xml:id="br0">
      <inkml:brushProperty name="width" value="0.05" units="cm"/>
      <inkml:brushProperty name="height" value="0.05" units="cm"/>
    </inkml:brush>
  </inkml:definitions>
  <inkml:trace contextRef="#ctx0" brushRef="#br0">2 70 1408,'-1'-1'4257,"1"-2"-3809,0-3-104,1-1-128,3-12-48,-3 13-32,1 2-23,-2-2-57,0 2-136,0-1-569,-3 0-463,1 2 632</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18.655"/>
    </inkml:context>
    <inkml:brush xml:id="br0">
      <inkml:brushProperty name="width" value="0.05" units="cm"/>
      <inkml:brushProperty name="height" value="0.05" units="cm"/>
    </inkml:brush>
  </inkml:definitions>
  <inkml:trace contextRef="#ctx0" brushRef="#br0">3 5 2336,'-2'-3'1217,"1"2"-385,1 0-176,3 1 416,-2 0-832,5 3-88,2 5-48,14 15-40,-13-14-16,1 0-8,2 2 8,-1-3 8,-1 1-8,-2-3-600,-2-2 42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21.198"/>
    </inkml:context>
    <inkml:brush xml:id="br0">
      <inkml:brushProperty name="width" value="0.05" units="cm"/>
      <inkml:brushProperty name="height" value="0.05" units="cm"/>
    </inkml:brush>
  </inkml:definitions>
  <inkml:trace contextRef="#ctx0" brushRef="#br0">38 79 2945,'7'-14'2994,"-3"17"-1046,-1 32-1371,1 2-451,-3-25-12,-3-27 75,4-78-479,1 113 347,0-3 49,-1-1 0,0 0 0,-1 27-1,-6-116 342,4 126-319,-4-94 176,5 32-288,0 0 1,-1-1-1,-1 1 1,0 0-1,-4-14 1,9 35-59,-1 0 0,0 0 0,0 0 0,-1 0 0,-1 23 1,0-23 78,-1-21-11,1 1 0,-2 0 0,1-1 0,-6-16 0,3 49-288,4-23 263,-1 0 1,1 0-1,0 0 0,0 0 1,0 0-1,-1 0 0,1 0 1,0 1-1,1-1 0,-1 0 1,0 0-1,0 0 1,0 0-1,1 0 0,-1 0 1,0 0-1,1 0 0,-1 0 1,1 0-1,0 0 0,-1 0 1,2 1-1,-5-39 79,2 21-78,0 8 2,0 0 1,0 0-1,0 0 0,-1 0 0,0 1 0,-6-15 0,8 22-10,-1 0 0,1 1 0,-1-1-1,1 1 1,0-1 0,-1 0 0,1 1 0,-1-1 0,1 1 0,0-1 0,0 1 0,-1-1 0,1 1 0,0-1 0,0 1 0,0-1 0,0 1-1,-1-1 1,1 1 0,0 0 0,0-1 0,0 1 0,0-1 0,0 1 0,0-1 0,1 1 0,-1-1 0,0 1 0,0-1 0,0 1 0,1 0 0,-1 26-99,14 52 145,-39-176 3,27 131-377,-2-30 346,0 1 0,0-1 0,0 0 0,0 1 1,1-1-1,0 0 0,0 1 0,0-1 0,3 8 1,-5-16 18,-1 0 1,1 0 0,0 0-1,0 0 1,1-1 0,-1 1-1,1-7 1,-3-15 0,-5-6-49,7 54-171,2 3 169,-2-19 30,1 1 1,0-1-1,1 0 0,-1 1 0,1-1 0,0 0 0,4 10 0,-7-55 169,-5 15-1907</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22.958"/>
    </inkml:context>
    <inkml:brush xml:id="br0">
      <inkml:brushProperty name="width" value="0.05" units="cm"/>
      <inkml:brushProperty name="height" value="0.05" units="cm"/>
    </inkml:brush>
  </inkml:definitions>
  <inkml:trace contextRef="#ctx0" brushRef="#br0">16 63 2897,'-1'-1'305,"-1"0"1,1 0-1,0-1 1,0 1-1,-1 0 1,1-1 0,0 1-1,0-1 1,1 0-1,-1 1 1,0-1-1,0 0 1,1 1-1,-1-1 1,1 0 0,0 0-1,-1 0 1,1 1-1,0-5 1,3-13-57,-3 26-204,0 0 0,0 1 0,1-1 0,0 0 0,0 1 0,1-1 0,4 13 0,3 10 77,-27-128 198,26 131-514,0 0 416,-18-69-76,5 18-132,0-4-28,4 20-65,3 12-81,0 0 150,-1-1 15,0 0 1,1 0-1,0 0 0,0 0 0,1-1 0,0 0 0,5 10 0,-12-70 84,-3 28-70,3 9-28,8 24-253,4 13 148,-2-6-68,0-1 0,1 1 0,0-1 0,13 17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0.765"/>
    </inkml:context>
    <inkml:brush xml:id="br0">
      <inkml:brushProperty name="width" value="0.05" units="cm"/>
      <inkml:brushProperty name="height" value="0.05" units="cm"/>
    </inkml:brush>
  </inkml:definitions>
  <inkml:trace contextRef="#ctx0" brushRef="#br0">63 130 1520,'1'-9'6615,"12"-1"-4993,22-6-2321,-31 14 1406,3-2-542,0 0 1,0 0-1,0 0 1,-1-1-1,0 0 1,0 0-1,9-11 1,-9 11-109,-21 17-55,-1 0 0,0-1-1,-1-1 1,-26 12-1,140-67-151,-150 72 83,32-17-37,1 0 1,-26 18-1,101-56 59,-46 25 103,0 0-1,0-1 1,-1-1-1,1 1 1,-1-1-1,0-1 1,11-9-1,-63 39 163,11-8-223,27-12 1,1-2 1,0 2 0,-1-1 1,1 0-1,1 1 0,-1 0 1,0 0-1,-3 5 0,72-45-11,-32 16 285,3-1-3,-28 17-130,-10 8 10,-11 6-141,0 0 0,-1-1 0,-22 10 1,20-11-33,0 1 1,-22 16-1,112-58-355,-60 27 437,-4 2 49,0 0-1,0-1 0,0 0 0,-1-1 1,1 0-1,12-12 0,-29 25-92,-1 0-1,0-1 1,-1 0 0,0 0-1,-15 6 1,-33 20-304,42-22 196,12-8 64,-1 1-1,1-1 1,0 1-1,0 0 1,1 0-1,-1 0 1,-5 7 0,44-25-342,112-77 706,-274 174-175,120-75-242,9-6 15,18-10-28,30-17 64,25-18 416,-141 92-271,46-38-126,12-7-5,0 1 1,1-1-1,0 2 0,0-1 0,0 1 0,0 0 0,-7 7 0,55-32-354,-4 2 319,-29 15 59,0 0 0,-1-1 1,1 0-1,-1 0 1,0 0-1,0-1 0,10-9 1,-24 19 3,0 1 1,0-1-1,0-1 1,-1 1-1,0-1 1,0-1-1,-16 6 1,14-5-27,0-1 0,1 1 0,-1 1 0,1 0 0,0 0 0,1 1 0,-1 0 0,-9 9 0,26-22-37,0 1 0,0 1 0,1 0 0,0 0 0,15-6 0,0-1 173,38-19 298,-93 42-283,22-8-207,-1 0 0,1 0 0,0 1 0,0 0 0,1 0 0,-1 1-1,1 0 1,0 1 0,-10 8 0,29-23-3,0-1-1,1 1 1,0 1-1,17-9 0,-16 9 75,-40 21-92,19-10-258,0 1-1,0 0 1,1 0 0,-1 1 0,-8 6-1,-9 17-133,25-25 458,15-18 44,-5 4 14,-5 5-1,1 0 1,0 0-1,0 1 1,13-9-1,-29 20-15,1 1 0,1-1 0,-1 2 0,1-1 1,0 1-1,1 0 0,-7 10 0,59-45 65,61-35 1052,-124 64-1203,-89 61-822,165-101 1062,-45 30-31,0 0-1,0 0 1,-1-2-1,20-17 0,-139 98 34,136-89-393,-14 9 409,1 0 0,-1-2 0,-1 1 0,0-2 0,0 0 0,16-20 0,-45 45-411,0-1-1,-23 14 0,25-18-102,-38 21-1108,51-29 1420,0-1 0,1 1 0,-1 0 0,0 0 1,0 0-1,0 0 0,0 0 0,0 0 0,0-1 0,0 1 1,0 0-1,0 0 0,0 0 0,0 0 0,-1 0 0,1 0 1,0-1-1,0 1 0,0 0 0,0 0 0,0 0 1,0 0-1,0 0 0,0 0 0,0 0 0,0-1 0,0 1 1,0 0-1,-1 0 0,1 0 0,0 0 0,0 0 0,0 0 1,0 0-1,0 0 0,0 0 0,0 0 0,-1 0 0,1 0 1,0 0-1,0 0 0,0 0 0,0 0 0,0 0 0,-1 0 1,1 0-1,0 0 0,0 0 0,0 0 0,0 0 1,0 0-1,0 0 0,-1 0 0,1 0 0,0 0 0,0 0 1,0 0-1,0 0 0,0 0 0,0 0 0,23-24-147,2 5 558,-18 14-174,0 0 0,-1 0 0,0 0 0,0-1 0,8-10 0,-31 31-364,0-2 0,-1 0 0,-20 12 0,34-23-43,6-4 65,16-13 52,48-40 686,-59 46-306,-18 19-206,-45 36-212,19-24-374,22-14-106,41-27 518,11-5 444,-24 16-37,-1 0 0,0-1 0,0 0-1,19-21 1,-46 47-1116,-2-1-1,-31 22 0,37-30 115</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1.993"/>
    </inkml:context>
    <inkml:brush xml:id="br0">
      <inkml:brushProperty name="width" value="0.05" units="cm"/>
      <inkml:brushProperty name="height" value="0.05" units="cm"/>
    </inkml:brush>
  </inkml:definitions>
  <inkml:trace contextRef="#ctx0" brushRef="#br0">12 0 368,'-2'8'3081,"3"37"-2593,3-27 129,-2-21 518,-3-34 715,0 18-2372,-5 71 380,3-42 536,4-36-248,-2-1-191,0 21-115,-3 19 34,5 17 62,0-20 134,0-19 344,-2 7-356,0 5-232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1.173"/>
    </inkml:context>
    <inkml:brush xml:id="br0">
      <inkml:brushProperty name="width" value="0.05" units="cm"/>
      <inkml:brushProperty name="height" value="0.05" units="cm"/>
    </inkml:brush>
  </inkml:definitions>
  <inkml:trace contextRef="#ctx0" brushRef="#br0">29 7 592,'-26'-6'1214,"26"6"-1195,0 0 1,0 0-1,0 0 1,-1 0-1,1 1 0,0-1 1,0 0-1,0 0 1,0 0-1,0 0 0,-1 1 1,1-1-1,0 0 1,0 0-1,0 0 1,0 1-1,0-1 0,0 0 1,0 0-1,0 0 1,0 1-1,0-1 1,0 0-1,0 0 0,0 1 1,0-1-1,0 0 1,0 0-1,0 0 1,0 1-1,0-1 0,0 0 1,0 0-1,0 0 1,1 1-1,-1-1 0,0 0 1,0 0-1,0 0 1,0 0-1,0 1 1,1-1-1,-1 0 0,0 0 1,0 0-1,0 0 1,0 0-1,1 0 1,-1 1-1,39 34 825,-26-23-1039,29 25 411,59 54 349,6-2 0,128 81 0,-198-151-76,-30-20-239,-21-16-202,-86-69-927,50 46 56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4T08:16:42.981"/>
    </inkml:context>
    <inkml:brush xml:id="br0">
      <inkml:brushProperty name="width" value="0.05" units="cm"/>
      <inkml:brushProperty name="height" value="0.05" units="cm"/>
    </inkml:brush>
  </inkml:definitions>
  <inkml:trace contextRef="#ctx0" brushRef="#br0">4 34 1328,'-4'29'3466,"6"-17"-3606,10-39 454,-8 1-224,-3 19 146,-1 19-177,0-7-98,-2 19 207,2-20 174,3-18 249,-1 1-580,0-13 79,1 20-222,0 9-244,-2 1 28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8"/>
    </inkml:context>
    <inkml:brush xml:id="br0">
      <inkml:brushProperty name="width" value="0.05" units="cm"/>
      <inkml:brushProperty name="height" value="0.05" units="cm"/>
    </inkml:brush>
  </inkml:definitions>
  <inkml:trace contextRef="#ctx0" brushRef="#br0">1 1 11835,'4'2'0,"0"0"0,0 0 0,0 0 8,-1-1 8,-1 0-8,1 0 8,-3 0 0,1 0 8</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69"/>
    </inkml:context>
    <inkml:brush xml:id="br0">
      <inkml:brushProperty name="width" value="0.05" units="cm"/>
      <inkml:brushProperty name="height" value="0.05" units="cm"/>
    </inkml:brush>
  </inkml:definitions>
  <inkml:trace contextRef="#ctx0" brushRef="#br0">10 94 1472,'-10'10'3321,"20"5"-2849,-10-15-476,26 26 96,0 0-1,2-3 1,0 0 0,35 20-1,3 4 30,-39-27-88,19 14 103,1-1 0,54 27 0,-91-53-116,1 0-1,-1 0 1,0 2 0,0-1-1,-1 1 1,0 0-1,-1 1 1,8 11-1,-6-8 214,1 0-1,-1-1 0,3 0 1,12 10-1,-23-21-224,1 0 1,0-1-1,-1 1 1,1 0-1,-1-1 0,1 1 1,0-1-1,0 0 1,-1 0-1,1 0 1,-1-1-1,1 1 0,0-1 1,0 0-1,-1 1 1,0-1-1,1 0 1,3-3-1,-2 0 3,2-1 7,9-1 8,-14 6-26,-1 0 1,0 0-1,1 0 1,-1 0-1,1 0 1,0 0-1,-1-1 1,1 1-1,-1 0 0,0 0 1,1 0-1,-1-1 1,1 1-1,-1 0 1,1 0-1,-1 0 1,0 0-1,0-1 1,1 1-1,-1-1 1,1 1-1,-1-1 1,0 1-1,1 0 1,-1 0-1,0-1 1,0 0-1,0 1 1,0-1-1,0 1 1,1 0-1,-1-1 1,0 1-1,0-1 1,0 1-1,0-1 0,0 0 1,0 1-1,0 0 1,0-1-1,0 1 1,0-1-1,0 0 1,-1 1-1,1 0 1,0 0-1,0-1 1,0 0-1,0 1 1,0-1-1,-1 1 1,1 0-1,0 0 1,-1-1-1,0 0 1,-21-29 33,18 25-39,4 5 5,0 0 0,0 0 1,0 0-1,0 1 0,0-1 0,0 0 1,0 0-1,0 0 0,0 0 1,1 0-1,-1 0 0,0 0 0,0 0 1,0 0-1,1 0 0,-1 0 1,0 0-1,0 0 0,0 0 0,1 0 1,-1 0-1,0 0 0,0 0 1,0 0-1,0 0 0,0 0 0,0 0 1,0 0-1,1 0 0,-1 0 1,0 0-1,0 0 0,0 0 0,1 0 1,-1 0-1,0 0 0,0 0 1,0 0-1,0 0 0,1-1 1,-1 1-1,0 0 0,0-1 2,0 0-1,0 1 1,0 0-1,0-1 1,0 0-1,0 1 0,0-1 1,0 0-1,0 1 1,0-1-1,0 1 1,0-1-1,-1 0 1,1 1-1,0 0 1,-1-1-1,1 0 1,0 1-1,-1-1 1,1 1-1,0 0 1,0-1-1,-2 0 1,-19-21 100,0 0 1,-2 2-1,0 0 1,-40-25-1,27 21 162,-50-46 0,-92-86 232,135 109-484,28 30 15,0 0 1,-23-18 0,35 33-8,-1-2 0,1 2 0,0 0 0,-1 0 0,0-1 0,0 1 0,-1 0 1,2 1-1,-2-1 0,1 2 0,0-2 0,-1 1 0,-7 1 0,3-3-36,-8 1-68,17 2 82,-1 1 0,1-1 0,-1 0 0,1 0 0,0 1 1,0-1-1,0 0 0,-1 0 0,1 0 0,-1 0 1,1 1-1,0-1 0,-1 0 0,1 1 0,0-1 0,-1 1 1,1-1-1,0 0 0,0 0 0,0 0 0,0 1 0,0-1 1,0 1-1,0-1 0,0 1 0,0-1 0,0 0 0,0 0 1,0 1-1,0 0 0,0-1 0,0 1 0,0-1 0,0 0 1,0 0-1,0 1 0,0-1 0,0 1 0,0-1 0,0 0 1,1 2-1,3 5-26,0 2 0,0-2 1,1 1-1,0-1 0,0 0 1,0 0-1,1 0 0,1-1 0,-1 0 1,1 1-1,9 5 0,16 15-17,143 139 51,-10-9 244,-147-137-395,-18-20 137,0 0 1,1 0-1,-1 0 0,0 0 1,0 0-1,0 0 0,0 0 1,0 1-1,0-1 1,0 0-1,0 0 0,0 0 1,0 0-1,0 0 0,1 0 1,-1 0-1,0 0 1,0 0-1,0 1 0,0-1 1,0 0-1,0 0 0,0 0 1,0 0-1,0 0 1,0 0-1,0 0 0,0 1 1,0-1-1,0 0 0,0 0 1,0 0-1,0 0 1,0 0-1,0 0 0,0 0 1,0 0-1,-1 0 0,1 0 1,0 0-1,0 0 1,0 0-1,0 0 0,0 0 1,0 0-1,0 0 0,0 0 1,0 0-1,0 1 0,0-1 1,-1 0-1,1 0 1,0 0-1,0 0 0,0 0 1,0 0-1,0 0 0,0 0 1,0 0-1,-1 0 1,1 0-1,0 0 0,-14-8-590,-197-139-3356,155 102 4368,-81-81 1,117 103 575,20 20-381,13 12-509,25 19-113,300 201 68,-329-223-10,1-1 1,-1 0 0,0-1-1,0-1 1,16 4-1,-19-8 54,-10-5-62,-11-9-61,14 14 19,-49-41-577,20 15 362</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0"/>
    </inkml:context>
    <inkml:brush xml:id="br0">
      <inkml:brushProperty name="width" value="0.05" units="cm"/>
      <inkml:brushProperty name="height" value="0.05" units="cm"/>
    </inkml:brush>
  </inkml:definitions>
  <inkml:trace contextRef="#ctx0" brushRef="#br0">22 6 592,'-19'-5'1214,"19"5"-1195,0 0 1,0 0-1,0 0 1,-1 0-1,1 1 0,0-1 1,0 0-1,0 0 1,0 0-1,0 0 0,-1 1 1,1-1-1,0 0 1,0 0-1,0 0 1,0 0-1,0 0 0,0 0 1,0 0-1,0 0 1,0 1-1,0-1 1,0 0-1,0 0 0,0 1 1,0-1-1,0 0 1,0 0-1,0 0 1,0 1-1,0-1 0,0 0 1,0 0-1,0 0 1,1 0-1,-1 0 0,0 0 1,0 0-1,0 0 1,0 0-1,0 1 1,1-1-1,-1 0 0,0 0 1,0 0-1,0 0 1,0 0-1,0 0 1,0 1-1,30 26 825,-20-18-1039,22 19 411,46 43 349,3-3 0,99 63 0,-152-117-76,-23-15-239,-16-12-202,-65-52-927,38 33 563</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1"/>
    </inkml:context>
    <inkml:brush xml:id="br0">
      <inkml:brushProperty name="width" value="0.05" units="cm"/>
      <inkml:brushProperty name="height" value="0.05" units="cm"/>
    </inkml:brush>
  </inkml:definitions>
  <inkml:trace contextRef="#ctx0" brushRef="#br0">127 145 704,'8'11'129,"1"-1"0,0 0 0,1-1 0,19 15-1,-4-2 86,54 44 948,136 89 0,-212-153-1134,13 8 220,-1-1-1,0 0 0,27 9 1,-42-18-246,0 0 1,0 0-1,0 1 1,0-1-1,0 0 1,0 0-1,0 0 1,0 0-1,0 0 1,0 0 0,0 0-1,0 1 1,1-1-1,-1 0 1,0 0-1,0 0 1,0 0-1,0 0 1,1 0-1,-1 0 1,0 0-1,0 0 1,0 0-1,0 0 1,1 0-1,-1 0 1,0 0-1,0 0 1,0 0 0,0 0-1,0 0 1,0 0-1,0 0 1,0 0-1,0-1 1,0 1-1,0 0 1,1 0-1,-1 0 1,0 0-1,0 0 1,0 0-1,0 0 1,0 0-1,0-1 1,1 1-1,-1 0 1,0 0 0,0 0-1,0 0 1,0-1-1,0 1 1,0 0-1,0 0 1,0 0-1,0 0 1,0-1-1,0 1 1,0 0-1,-7-9 70,-14-14-5,-265-196-1862,202 160 1869,56 41 509,18 15 156,16 14-88,27 23-666,1-1 0,75 54 0,-31-26 546,-69-53-431,0-1 1,0 0-1,1 0 1,1-1-1,-1 0 1,1 0-1,0-1 1,11 3-1,-22-8-91,0 0 0,0 0 0,0 0 0,0 0 0,0 0 1,0 0-1,0 0 0,0 0 0,0 0 0,0 0 0,0 0 0,0 0 0,0 0 0,0 0 0,0 0 0,0 0 0,0 0 0,0-1 0,-1 1 0,1 0 0,0 0 0,0 0 1,0 0-1,0 0 0,0 0 0,0 0 0,0 0 0,0 0 0,0 0 0,1-1 0,-1 1 0,0 0 0,0 0 0,0 0 0,0 0 0,0 0 0,0 0 0,0 0 1,0 0-1,0 0 0,0 0 0,0 0 0,0 0 0,0-1 0,0 1 0,0 0 0,0 0 0,0 0 0,0 0 0,0 0 0,0 0 0,0 0 0,0 0 0,0 0 1,0 0-1,-9-9 203,-12-9-96,-27-20-43,-111-79 0,70 54 156,136 115-228,148 109 87,-175-147 29,-20-14-112,0 0-1,0 0 1,0 0-1,1 0 1,-1 0-1,0 0 1,0 0-1,0 0 1,0 0-1,1 0 1,-1 0-1,0 0 1,0 0-1,0 0 1,0 0-1,0 0 1,0 0-1,0 0 1,0 0-1,0 0 1,0 0-1,0 0 1,0 0-1,0-1 1,1 1-1,-1 0 1,0 0-1,0 0 1,0 0-1,0 0 1,0 0-1,0-1 0,0 1 1,0 0-1,0 0 1,0 0-1,0 0 1,0 0-1,0 0 1,0 0-1,0 0 1,0 0-1,0 0 1,0 0-1,0 0 1,0-1-1,0 1 1,0 0-1,0 0 1,0 0-1,0 0 1,0 0-1,0-1 1,0 1-1,0 0 1,0 0-1,0 0 1,0 0-1,0 0 1,-1 0-1,1-1 1,0 1-1,0 0 1,0 0-1,0 0 1,0 0-1,0 0 1,0 0-1,0 0 1,-24-34 334,-15-7-287,-68-54 0,18 17-37,75 65-8,0 0-1,-2 0 1,-27-16 0,59 40-86,-1 0 1,0 2-1,-1 0 1,18 20 0,2 2 47,-13-15 67,-1-2 0,3 0 0,0-1 0,29 16 0,-52-33-32,0 0 0,0 0-1,-1 0 1,1 0 0,0 0 0,0 0 0,0-1 0,0 1-1,0 0 1,0 0 0,0 0 0,0 0 0,0 0 0,0 0-1,0 0 1,0 0 0,0 0 0,0 0 0,0 0 0,0 0-1,0 0 1,0 0 0,0 0 0,0 0 0,0 0 0,0 0-1,0 0 1,0 0 0,0-1 0,0 1 0,0 0 0,0 0-1,0 0 1,0 0 0,0 0 0,0 0 0,0 0 0,1 0-1,-1 0 1,0 0 0,0 0 0,0 0 0,0 0 0,0-1-1,-10-10 62,-14-14-26,-46-36-28,45 37-5,0 1 0,-2 2 0,-1 0 0,-42-23 0,86 55-98,0 0-1,-1 1 1,1 0-1,-2 1 1,17 20-1,-16-16 119,1-1 0,0 0 0,0-2 0,2 0 0,0-1 0,24 13 0,-66-50 37,12 10-66,-43-38-391,0 3 0,-86-55 0,141 103 389,0 0-1,-1 1 0,1-1 0,-1 1 1,1-1-1,-1 1 0,1 0 1,0 0-1,0 0 0,-1-1 1,0 1-1,1-1 0,-1 1 0,1 0 1,0 0-1,-1-1 0,0 1 1,1 0-1,-1 0 0,1 0 1,0 0-1,-1 0 0,0 0 0,1 0 1,-1 0-1,0 0 0,1 0 1,8 14-213,23 18 17,93 75 174,-105-94 130,-24-25 3,-23-26-111,-6 5-860,-48-36-1,17 16 640,61 49 231,3 2 5,-1 1 1,2 0 0,-2-1-1,1 2 1,-1-2 0,1 1-1,0 1 1,-1-1 0,0 0-1,0 0 1,1 1 0,-4-2-1,5 2-7,0 0 1,0 0-1,0 1 0,0-1 0,0 0 0,-1 0 0,1 0 1,0 1-1,0-1 0,0 0 0,0 0 0,0 0 1,-1 0-1,1 0 0,0 1 0,0-1 0,0 0 1,0 1-1,0-1 0,0 0 0,0 0 0,0 1 1,0-1-1,0 0 0,0 0 0,0 0 0,0 0 0,0 1 1,1-1-1,-1 0 0,0 0 0,0 1 0,0-1 1,0 0-1,0 0 0,1 1 0,-1-1 0,0 0 1,0 0-1,0 0 0,0 0 0,0 0 0,0 0 1,0 0-1,1 1 0,9 14 0,-8-14-1,40 51 309,2-1-1,55 45 0,-53-51 109,259 206 1327,-280-229-1608,-22-19-52,-14-13-70,-7-4-187,-32-20 1,35 25 103,1 0 0,1 0 0,0-1 1,-19-21-1,44 41-31,0 0 0,0-1 1,1-1-1,14 7 0,30 18 95,-1 13 28,-39-31-65,1-1 1,31 19-1,-93-76-1870,31 30 1769,1 1 138,-37-35-3,35 32 16,14 14-1,6 4 5,63 54-45,-41-34 75,50 34-1,-61-46-18,-11-6-14,2-1 0,0 1-1,-1-1 1,10 3 0,-45-34-56,14 16 67,-173-120 321,259 182 482,-52-35-739,1-1 0,0-1 1,2 0-1,45 19 0,-67-33-75,-1 0 0,1 1 0,-1-1 0,1 0 0,-1 1 0,1-1 0,-1 0 0,0 0 0,0 0 0,1 1 0,-1-1-1,1 0 1,0 0 0,-1 0 0,0 0 0,0 0 0,1 0 0,-1 0 0,1 0 0,-1 0 0,1 0 0,-1-1 0,0 1 0,1 0 0,-1 0 0,1 0 0,-1-1-1,1 1 1,-1 0 0,0-1 0,-5-10 206,-18-13-62,2 7-86,-44-29 0,3 3-22,56 37-79,7 6 13,17 8 10,31 20 24,-11 2 26,-22-17 19,1-1 0,22 12 0,-39-24-57,0 0-1,0 0 0,0 0 1,0 0-1,0 0 0,0 0 1,0 0-1,0 0 0,0 0 1,0 0-1,0 0 0,0 0 1,0-1-1,1 1 0,-1 0 1,0 0-1,0 0 0,0 0 1,0 0-1,0 0 0,0 0 1,0 0-1,0 0 0,0 0 1,0-1-1,0 1 0,0 0 1,0 0-1,0 0 0,0 0 1,0 0-1,0 0 0,0 0 1,0 0-1,0 0 0,0 0 1,0 0-1,0 0 0,1 0 1,-1 0-1,0 0 0,0 0 0,0 0 1,0 0-1,0 0 0,0 0 1,0 0-1,1 0 0,-1 0 1,0 0-1,0 0 0,0 0 1,0 0-1,0 0 0,0 0 1,0 1-1,-7-13 77,-14-11-10,-4 0-35,-2 2 1,-51-31 0,120 79-35,66 56 1,-138-107 87,-57-35 0,-133-73 248,243 147-250,43 35 0,-49-35-61,1-1 1,-1 0 0,2-2 0,1 0 0,-1-1-1,34 13 1,-81-49-18,-89-51-4,-12-9 0,110 71-26,27 22-28,29 23-30,155 121 279,-232-170-197,40 18-4,0 0 0,0-1-1,0 1 1,-1 0 0,1 0-1,0 0 1,0 0 0,-1 0-1,1 0 1,0-1-1,0 1 1,0 0 0,0 0-1,-1 0 1,1 0 0,0-1-1,-1 1 1,1 0 0,0 0-1,-1 0 1,1 0-1,0 0 1,0 0 0,0 0-1,-1 0 1,1 0 0,0 0-1,-1 0 1,1 1 0,0-1-1,-1 0 1,1 0 0,0 0-1,-1 0 1,1 0-1,0 1 1,0-1 0,0 0-1,3 12-135,16 18-83,-18-27 212,11 13 32,-1-1 0,2 0 0,0-1 1,0 0-1,2-1 0,16 12 0,-66-52 462,-35-35 0,-40-31-471,102 88-192,18 17 12,20 17 24,-7-9 107,-10-6 40,2-1-1,0 0 1,1-1-1,0-1 1,0 0-1,24 10 0,-40-23-31,-4-4 24,-7-5 12,-21-15 1,15 12 2,-1 0 0,1 1 0,-2 1 0,-36-18-1,55 30-12,0 0 1,0 0-1,0 0 0,0 1 0,0-1 0,0 0 0,0 0 0,0 0 0,0 0 0,0 0 0,0 0 0,0 0 0,0 1 0,0-1 0,0 0 0,0 0 0,0 0 0,0 0 0,0 0 0,0 0 0,0 0 0,0 0 0,0 0 0,0 0 0,0 0 0,0 0 0,0 0 0,0 0 0,0 0 0,0 1 0,0-1 0,0 0 0,0 0 0,0 0 0,0 0 0,0 0 0,0 0 1,0 0-1,0 0 0,0 0 0,0 0 0,0 1 0,0-1 0,-1 0 0,1 0 0,0 0 0,0 0 0,0 0 0,0 0 0,0 0 0,0 0 0,-1 0 0,1 0 0,0 0 0,0 0 0,0 0 0,0 0 0,0 0 0,0 0 0,-1 0 0,10 13-132,14 14-88,-9-12 188,-6-7 33,-1 1 0,1-2 0,1 1 0,0 0 0,-1-2 0,14 8 0,-55-53-874,24 32-719,1 4 668</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2"/>
    </inkml:context>
    <inkml:brush xml:id="br0">
      <inkml:brushProperty name="width" value="0.05" units="cm"/>
      <inkml:brushProperty name="height" value="0.05" units="cm"/>
    </inkml:brush>
  </inkml:definitions>
  <inkml:trace contextRef="#ctx0" brushRef="#br0">33 17 2024,'20'21'280,"1"1"0,2-2 0,0-1 0,0-2 0,36 21-1,-59-38-276,0 1-1,0-1 0,0 0 0,0 0 0,1 0 0,-1 1 0,1-1 0,-1 0 0,0 0 1,1 1-1,-1-1 0,0 0 0,0 0 0,1 1 0,-1-1 0,1 0 0,-1 0 0,1 0 1,-1 0-1,0 0 0,1 0 0,-1 0 0,1 0 0,-1 0 0,1 0 0,-1 0 0,0 0 0,0 0 1,1 0-1,-1-1 0,1 1 0,0 0 0,-10-12 152,-20-15 87,-126-91 2750,184 140-2456,43 45-1,16 12-490,-111-99-163,-15-14 124,-56-39 0,40 40 274,77 62 208,4-6-513,-2 0 36,2 0 1,0-3-1,57 35 1,-84-55-11,0 0 0,0 0 0,0-1 0,0 1 0,0 0 1,0 0-1,0 0 0,1 0 0,-1 0 0,0 0 0,0 0 1,0-1-1,0 1 0,0 0 0,0 0 0,0 0 1,0 0-1,0 0 0,0 0 0,0 0 0,0 0 0,0-1 1,0 1-1,0 0 0,0 0 0,0 0 0,0 0 0,0 0 1,0 0-1,0 0 0,0 0 0,0 0 0,1 0 0,-1 0 1,0 0-1,0 0 0,0 0 0,0 0 0,0 0 0,0 0 1,0 0-1,1 0 0,-1 0 0,0 0 0,0 0 0,0 0 1,0 0-1,0 0 0,0 0 0,0 0 0,1 0 1,-1 0-1,0 0 0,0 0 0,0 1 0,0-1 0,0 0 1,-8-11 28,-15-14 13,-7-2 6,-1 3 0,-1 0 0,-53-29 0,114 81 41,30 18-133,-28-21 80,1-1-1,61 34 1,-115-70-17,-1 0 1,3-2-1,-1 1 1,1-3-1,1 0 1,-20-22-1,63 60-16,1 0 0,48 31 0,-53-40 21,-33-22-49,-100-71 118,132 98 121,-1 0-231,35 27 0,-45-40 20,-2 0 1,1-1-1,-1 1 1,2-1 0,-1 0-1,0-1 1,12 4-1,-44-30 15,-24-16 37,-43-45 0,118 110-10,3-2 0,1 0-1,43 25 1,-53-39 10,-34-17-49,-32-18-1,-15-19 27,43 29 27,-34-21-1,60 51 142,11 7-260,-3-9 62,0 0 1,0-1-1,1 0 1,1-2-1,-1 0 1,3 0-1,24 9 1,-78-40-11,17 10 17,-1-1 0,0-2 0,-19-16-1,-6-5 37,107 102-421,-32-45 129,-25-17 179,2 1-1,-1-1 0,-1 1 0,11 11 0,-60-35-59,-43-44 167,60 43 103,62 46-1550,-18-15 883</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3"/>
    </inkml:context>
    <inkml:brush xml:id="br0">
      <inkml:brushProperty name="width" value="0.05" units="cm"/>
      <inkml:brushProperty name="height" value="0.05" units="cm"/>
    </inkml:brush>
  </inkml:definitions>
  <inkml:trace contextRef="#ctx0" brushRef="#br0">42 58 2377,'-25'10'4024,"24"-10"-3980,1 0 1,0 1-1,0 0 1,-1 0-1,1-1 0,0 0 1,-1 1-1,1 0 1,0 0-1,0-1 1,0 1-1,-1 0 0,1 0 1,0-1-1,0 1 1,0-1-1,1 1 0,-1 0 1,0 0-1,0-1 1,0 1-1,1 0 1,-1-1-1,0 1 0,1-1 1,-1 1-1,0 0 1,0-1-1,1 1 0,-1-1 1,1 1-1,-1-1 1,1 1-1,-1 0 1,0-1-1,2 1 0,19 23-42,2 0-1,44 35 0,-56-52-50,-11-14 4,-12-15 37,1 7 30,-2 1 1,0 1-1,0 1 1,-1 0-1,-1 0 1,-23-14-1,79 68 182,-5-11-184,-23-19 11,-10-10-13,-6-5 0,-33-22-28,29 21 16,1 0-1,-1 0 0,1-1 0,-1 0 0,1 0 0,0-2 1,-7-7-1,72 41 332,-1 6-237,-59-37-79,-1-1-1,0 1 1,0 1-1,-1-1 1,1 1-1,-1-1 1,-3-3-1,-88-57 564,113 80-128,6 4-345,48 29 0,-85-67-63,-30-19 10,32 30 46,0-1 1,0 0 0,0-2 0,1 1 0,1-1 0,-9-12 0,48 49-637,-21-20 249</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4"/>
    </inkml:context>
    <inkml:brush xml:id="br0">
      <inkml:brushProperty name="width" value="0.05" units="cm"/>
      <inkml:brushProperty name="height" value="0.05" units="cm"/>
    </inkml:brush>
  </inkml:definitions>
  <inkml:trace contextRef="#ctx0" brushRef="#br0">12 9 2521,'-8'-9'5331,"4"16"-3921,6 19-1559,-1-20 144,10 38-4,1-1 0,27 61 1,-39-103 11,1 0 0,-1 0 0,0-1 0,1 1 0,-1 0 0,0 0-1,0-1 1,1 1 0,0 0 0,-1 0 0,1 0 0,-1-1 0,1 1 0,-1-1 0,1 1 0,0 0 0,-1-1 0,1 0 0,2 1 0,0-13 144,-6-28-62,-3 6-549,-13-41 1,11 45 452,-2 5 123,10 25-110,0 0-1,0 0 1,0 0 0,0 0-1,0 0 1,0 0 0,0 0-1,0 0 1,0 0 0,0-1-1,0 1 1,0 0 0,0 0-1,0 0 1,0 0 0,0 0 0,0 0-1,0 0 1,0 0 0,0 0-1,0 0 1,0 0 0,-1 0-1,1-1 1,0 1 0,0 0-1,0 0 1,0 0 0,0 0-1,0 0 1,0 0 0,0 0-1,0 0 1,-1 0 0,1 0-1,0 0 1,0 0 0,0 0 0,0 0-1,0 0 1,0 0 0,0 0-1,0 0 1,-1 0 0,1 0-1,0 1 1,0-1 0,0 0-1,0 0 1,0 0 0,0 0-1,0 0 1,0 0 0,0 0-1,0 0 1,0 0 0,0 0-1,0 0 1,0 0 0,0 1 0,0-1-1,0 0 1,0 0 0,0 0-1,0 0 1,0 0 0,0 16-12,0 17-30,3 16 65,-1-37 1,2 10 18,-2-18-12,0-10 12,-2-4-26,1 1 1,0 0 0,-1 1 0,0-1 0,-1-1 0,-3-16 0,-9-41 38,13 67-57,0 0 0,0 0 0,0 1 0,0-1 0,0 0 0,0 0 0,0 0 0,0 0 0,0 0 0,0 0-1,0 0 1,0 0 0,0 0 0,0 0 0,0 0 0,0 0 0,0 0 0,0 0 0,0 0 0,0 0 0,-1 0 0,1 0 0,0 0 0,0 0 0,0 0 0,0 0 0,0 0 0,0 0 0,0 0 0,0 0 0,0 0 0,0 0 0,0 0 0,0 0-1,0 0 1,-1 0 0,1 0 0,0 0 0,0 0 0,0 0 0,0 0 0,0 0 0,0 0 0,0 0 0,0 0 0,0 0 0,0 0 0,0 0 0,0 0 0,0-1 0,0 1 0,-4 10-52,0 13-27,4-9 67,2 0 1,4 24-1,-3-23 9,0-14 1,3-7-15,1-8-497,-4 3-360,0-1 363</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5"/>
    </inkml:context>
    <inkml:brush xml:id="br0">
      <inkml:brushProperty name="width" value="0.05" units="cm"/>
      <inkml:brushProperty name="height" value="0.05" units="cm"/>
    </inkml:brush>
  </inkml:definitions>
  <inkml:trace contextRef="#ctx0" brushRef="#br0">1 35 11146,'0'0'-16,"0"-1"16,0 2 32,1-3-8,-1 1-88,0 1-168,1-9-1968,6-13 1656</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6"/>
    </inkml:context>
    <inkml:brush xml:id="br0">
      <inkml:brushProperty name="width" value="0.05" units="cm"/>
      <inkml:brushProperty name="height" value="0.05" units="cm"/>
    </inkml:brush>
  </inkml:definitions>
  <inkml:trace contextRef="#ctx0" brushRef="#br0">88 658 5593,'-5'-20'3599,"5"18"-3442,-1 0 0,1-1 1,-1 1-1,0 1 0,1-2 0,-1 1 0,0 0 0,0 0 0,-3-4 1,-1 37-125,-9 23 9,8-34 18,7-29-26,0 7-34,6-26 11,3-34 1,-23 123-196,8-5 248,14-156 220,-24 148-527,13-30 231,2-14 20,0 0 1,0 0 0,0 0 0,-1-1 0,1 1 0,-2 0 0,2 0-1,-1 0 1,-1 0 0,1-1 0,-1 0 0,-4 7 0,5-13 8,0-1 1,0 1 0,1-1-1,-1 0 1,0 0-1,1 0 1,0 1 0,1-5-1,7-62-6,-9 95-266,0-15 240,1 0 0,0 0 0,0 0 1,3 16-1,-1-21 34,-2 0 1,1 0 0,-1 0 0,0 1 0,-1 8 0,0-11 11,-6-42 117,15-48-666,-5 60 455,-1 8-94,-5 31-87,-3 33 65,4 22 281,5-86-28,-2 15-87,-1-1 0,0 2 0,1-2 0,1 1 0,-1 0-1,0 0 1,1 0 0,0 0 0,4-7 0,19-22-64,-16 21 163,0 1 0,-1-1 0,9-18 0,-67 79 438,25-26-500,5-7-148,39-25-97,67-60 518,4-1 616,-48 40-621,-25 19-100,-15 10-47,-7 4 47,-101 74-723,90-64 442,0 2-1,0-1 1,2 2 0,-15 20-1,29-36 84,0 0 0,0 0 0,-1 0 0,1 0 0,0 0 0,0 1 0,0-1 0,-1 0 0,1 0-1,0 0 1,0 0 0,0 0 0,0 0 0,0 1 0,-1-1 0,1 0 0,0 0 0,0 0 0,0 0 0,0 1 0,0-1 0,0 0 0,0 0 0,0 0 0,0 0-1,0 0 1,0 0 0,0 0 0,0 0 0,0 1 0,0-1 0,0 0 0,0 0 0,0 0 0,0 1 0,0-1 0,0 0 0,0 0 0,0 0 0,0 1-1,0-1 1,0 0 0,0 0 0,0 0 0,1 0 0,-1 1 0,0-1 0,0 0 0,0 0 0,0 0 0,0 0 0,1 0 0,-1 0 0,0 0 0,0 0-1,1 0 1,11-4-160,16-9 25,33-26 91,138-98 1363,-197 133-941,-12 7-239,-16 10-122,-47 36-769,1 2 1,-103 97-1,157-126 621,18-22 134,0 0-1,0 0 0,0 0 0,0 1 1,0-1-1,0 0 0,0 0 1,0 0-1,-1 0 0,1 0 0,0 0 1,0 0-1,0 0 0,0 1 1,0-1-1,0 0 0,0 0 1,0 0-1,0 0 0,0 0 0,0 0 1,0 0-1,0 0 0,0 0 1,0 0-1,0 0 0,0 0 0,0 0 1,0 0-1,0 0 0,0 1 1,0-1-1,0 0 0,0 0 0,0 0 1,1 0-1,-1 0 0,0 0 1,0 0-1,0 0 0,0 1 0,0-1 1,0 0-1,0 0 0,0 0 1,0 0-1,1 0 0,-1 0 1,0 0-1,0 0 0,0 0 0,0 0 1,0 0-1,0 0 0,0 0 1,0 0-1,0 0 0,0 0 0,0 0 1,0 0-1,0 0 0,0 0 1,16-7-218,303-218 1597,-280 195-1026,-26 22-223,-9 4-32,2 1 1,-2-1 0,1 0 0,0 0 0,-2 0 0,6-6 0,-9 10-85,1 0-1,-1-1 1,0 1 0,0 0 0,0 0 0,0 0 0,0 0 0,0 0 0,0 0 0,0 0 0,0-1 0,0 1 0,0 0 0,0 0-1,0 0 1,0 0 0,0 0 0,0 0 0,0-1 0,0 1 0,0 0 0,0 0 0,0 0 0,0 0 0,0 0 0,0 0 0,0 0-1,0 0 1,0 0 0,0 0 0,0 0 0,0-1 0,0 1 0,0 0 0,0 0 0,0 0 0,0 0 0,0 0 0,0 0 0,0-1-1,0 1 1,0 0 0,0 0 0,0 0 0,0 0 0,0 0 0,0 0 0,-1 0 0,1 0 0,0 0 0,0-1 0,0 1 0,0 0-1,0 0 1,-1 0 0,1 0 0,0 0 0,-11 2 245,-11 5-185,-16 10-444,0 1 0,1 2 0,0 2 0,2 1 0,1 2 0,-53 50 0,85-72-95,5-4 149,13-9 8,24-18 168,68-47 545,-46 35 501,71-64 1,-111 78-227,-22 26-664,0 0 1,0 0 0,0 0 0,0 0 0,0 0 0,0 0 0,1 0 0,-1-1 0,0 1 0,0 0 0,0 0 0,0 0-1,0-1 1,0 1 0,0 0 0,0 0 0,0-1 0,0 1 0,0 0 0,0 0 0,0 0 0,0 0 0,0 0 0,0 0-1,0 0 1,0-1 0,0 1 0,-1 0 0,1 0 0,0 0 0,0-1 0,0 1 0,0 0 0,0 0 0,0 0 0,-1 0-1,1-1 1,0 1 0,0 0 0,0 0 0,-1 0 0,1 0 0,-16 4 239,-19 15-431,-58 37 1,41-21-23,13-12-182,3 3-1,-1 0 1,2 3-1,-40 42 1,75-71 363,0 0 1,0 0-1,0 0 1,0 0-1,1 0 1,-1 0-1,0 0 1,0 0-1,0 0 1,0 0-1,0 0 1,0 1-1,0-1 1,0 0-1,0 0 1,0 0-1,0 0 1,1 0-1,-1 0 1,0 0-1,0 0 1,0 0-1,0 0 1,0 0-1,0 0 1,0 0-1,0 0 1,0 0-1,0 0 1,0 0-1,0 0 1,0 0-1,0 0 1,0 1-1,0-1 1,0 0-1,0 0 1,0 0-1,15-8-223,24-17 146,134-93 573,78-61 951,-234 165-1097,-13 7 7,-12 8 262,-16 9-624,-1 3 0,1 0 1,1 1-1,-40 32 0,35-25-49,-20 12-219,6-2-369,-60 52 0,89-67 70,20-16 13,26-19 164,198-147 904,-96 68 463,-127 93-827,-5 3-23,1 0 0,-1-1 0,0 1-1,0 0 1,0-2 0,0 2 0,-1-1 0,1 0 0,0-1 0,2-4 0,-5 8-91,0 0 1,1 0 0,-1 0-1,0 0 1,0-1-1,0 1 1,0 0 0,0 0-1,0 0 1,0 0 0,0-1-1,0 1 1,0 0 0,0 0-1,0 0 1,0 0-1,0 0 1,0 0 0,0 0-1,0 0 1,0 0 0,0-1-1,0 1 1,0 0 0,0 0-1,0 0 1,-1 0-1,1 0 1,0-1 0,0 1-1,0 0 1,0 0 0,0 0-1,0 0 1,-1 0 0,1-1-1,0 1 1,0 0-1,0 0 1,0 0 0,0 0-1,-1 0 1,1 0 0,0 0-1,0 0 1,0 0 0,0 0-1,0 0 1,0 0-1,0 0 1,0 0 0,0 0-1,-1 0 1,1 0 0,0 0-1,0 0 1,-14 3 221,-14 8-227,-43 30-436,1 1 0,-121 100 0,172-127 369,15-9-642,20-14 434,26-16 129,255-184 1327,-280 194-744,-17 14-435,0 0-1,0 0 1,0 0 0,0 0 0,0 0-1,0 0 1,0 0 0,0 0 0,0 0 0,0 0-1,0-1 1,0 1 0,0 0 0,0 0 0,0 0-1,0 0 1,0 0 0,0 0 0,0-1-1,0 1 1,0 0 0,0 0 0,0 0 0,0 0-1,-1 0 1,1 0 0,0 0 0,0-1 0,0 1-1,0 0 1,0 0 0,0 0 0,0 0-1,-1 0 1,1 0 0,0 0 0,0 0 0,0 0-1,0 0 1,0 0 0,-1 0 0,1 0 0,0 0-1,0 0 1,0 0 0,0 0 0,0 0-1,0 0 1,0 0 0,0 0 0,0 0 0,0 0-1,0 0 1,0 0 0,0 0 0,-1 0 0,1 0-1,0 0 1,0 1 0,0-1 0,0 0-1,0 0 1,0 0 0,0 0 0,-1 0 0,1 0-1,0 1 1,-35 13 318,-9 10-500,1 2 0,2 2 0,1 2 0,1 2 1,-35 37-1,69-62-413,16-10 302,18-13 88,280-202 624,-288 203-351,-9 8 140,-1-2 1,1 1-1,-2-1 0,16-17 0,-64 49 230,-32 31-501,-159 135-1091,269-214 482,49-42 481,-28 24 285,98-95-1,-157 137-68,-1 0 0,0 0-1,0 0 1,0 0 0,0 0 0,0 0 0,0-1 0,0 2 0,-1-2 0,1 1 0,0 0-1,0-1 1,-1 1 0,1-2 0,-2 2-17,1 1 0,-1 0 0,1 0 0,-1-1 0,0 1 0,1 0 0,-1 0 0,0 0 0,1 0 0,-1 0 0,1 0 0,-1 1 0,0-1 0,0 0 0,1 0 0,0 1 0,-1-1 1,0 0-1,1 0 0,-1 0 0,0 1 0,-44 23 56,-195 138-366,340-231-624,105-83 1393,-192 138 320,-25 20-368,-25 17-329,37-23-100,-46 30-12,4-2-41,-63 51 1,167-119-931,14-10 876,-31 22 149,50-42-1,-94 68-30,1 2 12,1-2 1,-2 0-1,1 0 0,0 1 1,0-1-1,-1 0 1,1 0-1,-1 0 1,0 0-1,1 0 0,0-3 1,-27 23 252,-37 31-334,32-28 45,2 2 0,-49 52-1,116-98-423,21-20 335,-35 26 137,-1 0 0,34-33 0,-86 74-109,3-4-317,-38 42-1,16-7-1200,-70 65-1,72-79 1771,123-119-242,4 11 83,95-83 1512,-159 130-694,-14 13-141,-14 12-20,-37 35-654,1 1-1,-56 67 0,91-97 4,-12 17 24,56-54-72,100-146 55,-128 165-1,9-9-100,-13 18-6,-5 11-4,-41 74 60,51-98-356,0 1 0,0 0 0,9-11-1,-9 13 197,0 0-1,-1-1 1,0 1-1,0-1 1,0 0-1,4-17 1,-17 54-278,7-25 473,1 0 0,0-1-1,-1 1 1,0 1 0,1-1 0,0-1-1,0 1 1,0 0 0,0 0 0,1 0 0,0-1-1,0 5 1,1-10 97,2 0 1,-2 0-1,0-1 0,0 1 0,1 0 1,-2-1-1,2 1 0,0-8 1,-1 8-74,2-4-16,35-85 122,-51 124-167,-9 29 478,24-77 116,8-29-535,-7 28-43,-11 21-78,-15 27 7,20-25 80,1-4 10,0 1-1,1 0 1,-1-1-1,-1 0 1,2 0-1,-2 1 1,0-1-1,1 0 1,-1 0-1,1 0 1,-1 0 0,1 0-1,-4 2 1,5-7 3,-1-1 1,1 1 0,0 0 0,1 0 0,-1-1 0,1 1-1,0-5 1,-1 7-6,10-25-10,-5 19-49,-6 17-110,-1-6 161,0 3 18,1 1 0,-1-1 0,-1 1 0,-1-1 0,1 1 0,0-1 0,-1-1 0,-8 13 0,23-48 337,0-11-245,-11 35-176,1-1 1,0 1-1,1 0 1,-1 0-1,1 0 0,3-5 1,-5 12-1389,-3 4 97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5.276"/>
    </inkml:context>
    <inkml:brush xml:id="br0">
      <inkml:brushProperty name="width" value="0.05" units="cm"/>
      <inkml:brushProperty name="height" value="0.05" units="cm"/>
    </inkml:brush>
  </inkml:definitions>
  <inkml:trace contextRef="#ctx0" brushRef="#br0">166 188 704,'11'14'129,"0"-1"0,1 0 0,2-1 0,24 20-1,-5-4 86,70 58 948,178 115 0,-276-198-1134,15 10 220,0-1-1,0-1 0,34 13 1,-54-24-246,0 0 1,0 0-1,0 1 1,0-1-1,0 0 1,1 0-1,-1 0 1,0 0-1,0 0 1,0 0 0,0 0-1,0 1 1,1-1-1,-1 0 1,0 0-1,0 0 1,0 0-1,0 0 1,1 0-1,-1 0 1,0 0-1,0 0 1,0 0-1,0 0 1,1 0-1,-1 0 1,0 0-1,0 0 1,0 0 0,0 0-1,1 0 1,-1 0-1,0 0 1,0 0-1,0-1 1,0 1-1,0 0 1,1 0-1,-1 0 1,0 0-1,0 0 1,0 0-1,0 0 1,0 0-1,0-1 1,1 1-1,-1 0 1,0 0 0,0 0-1,0 0 1,0-1-1,0 1 1,0 0-1,0 0 1,0 0-1,0 0 1,0-1-1,0 1 1,0 0-1,-9-13 70,-19-16-5,-346-255-1862,264 206 1869,74 55 509,23 19 156,20 18-88,36 31-666,2-2 0,97 69 0,-40-32 546,-90-70-431,0 0 1,0-1-1,1 0 1,1-1-1,0-1 1,0 0-1,0 0 1,16 4-1,-31-11-91,1 0 0,0 0 0,0 0 0,0-1 0,0 1 1,0 0-1,0 0 0,0 0 0,0 0 0,0 0 0,0 0 0,0 0 0,0 0 0,0 0 0,0 0 0,0 0 0,0 0 0,0-1 0,-1 1 0,1 0 0,0 0 0,0 0 1,0 0-1,0 0 0,0 0 0,0 0 0,0 0 0,0 0 0,0 0 0,1-1 0,-1 1 0,0 0 0,0 0 0,0 0 0,0 0 0,0 0 0,0 0 0,0 0 1,0 0-1,0 0 0,0 0 0,0 0 0,0 0 0,0-1 0,0 1 0,0 0 0,0 0 0,0 0 0,0 0 0,1 0 0,-1 0 0,0 0 0,0 0 0,0 0 1,0 0-1,-12-12 203,-16-10-96,-36-28-43,-143-103 0,90 72 156,179 149-228,193 141 87,-229-192 29,-26-17-112,0 0-1,0 0 1,0 0-1,1 0 1,-1 0-1,0 0 1,0 0-1,0 0 1,0 0-1,1 0 1,-1 0-1,0 0 1,0 0-1,0 0 1,0 0-1,0 0 1,1 0-1,-1 0 1,0 0-1,0 0 1,0 0-1,0 0 1,0 0-1,0 0 1,1 0-1,-1 0 1,0 0-1,0 0 1,0 0-1,0 0 1,0 0-1,0-1 0,0 1 1,0 0-1,0 0 1,0 0-1,0 0 1,0 0-1,0-1 1,0 1-1,0 0 1,0 0-1,0 0 1,0 0-1,0 0 1,0-1-1,0 1 1,0 0-1,0 0 1,0 0-1,0 0 1,0 0-1,0-1 1,0 1-1,0 0 1,0 0-1,0 0 1,0 0-1,0 0 1,-1 0-1,1-1 1,0 1-1,0 0 1,0 0-1,0 0 1,0 0-1,0 0 1,0 0-1,-1 0 1,-30-45 334,-20-8-287,-89-71 0,24 22-37,98 85-8,-1 0-1,-1 1 1,-38-22 0,79 52-86,-1 1 1,0 1-1,-1 1 1,22 26 0,4 3 47,-18-20 67,0-3 0,2 1 0,1-2 0,38 21 0,-68-43-32,0 0 0,0 0-1,-1 0 1,1 0 0,0 0 0,0 0 0,0-1 0,0 1-1,0 0 1,0 0 0,0 0 0,0 0 0,0 0 0,0 0-1,0 0 1,0 0 0,0 0 0,0-1 0,0 1 0,0 0-1,0 0 1,0 0 0,0 0 0,0 0 0,0 0 0,0 0-1,0 0 1,0 0 0,0-1 0,0 1 0,0 0 0,0 0-1,0 0 1,0 0 0,0 0 0,0 0 0,0 0 0,1 0-1,-1 0 1,0 0 0,0 0 0,0 0 0,0 0 0,0-1-1,-12-14 62,-20-17-26,-59-47-28,58 48-5,0 1 0,-2 2 0,-2 1 0,-55-30 0,113 71-98,0 0-1,-1 2 1,1 0-1,-2 1 1,21 26-1,-20-21 119,0-1 0,1-1 0,1-1 0,1-2 0,0 0 0,32 17 0,-86-65 37,15 12-66,-55-47-391,-2 2 0,-112-72 0,185 135 389,0 0-1,-1 1 0,1-1 0,-1 1 1,1-1-1,-1 1 0,1-1 1,-1 1-1,1 0 0,-1-1 1,0 1-1,1-1 0,-1 1 0,0 0 1,1 0-1,-1-1 0,0 1 1,1 0-1,-1 0 0,0 0 1,1 0-1,-1 0 0,0 0 0,1 0 1,-1 0-1,0 0 0,0 0 1,12 18-213,29 23 17,124 99 174,-140-123 130,-31-33 3,-29-34-111,-8 7-860,-64-46-1,23 19 640,79 65 231,5 3 5,-1 0 1,1 1 0,-1-1-1,0 1 1,0-1 0,1 1-1,-1 0 1,0 0 0,-1 0-1,1 0 1,0 0 0,-4-1-1,6 2-7,-1 0 1,1 0-1,0 1 0,0-1 0,0 0 0,-1 0 0,1 0 1,0 1-1,0-1 0,0 0 0,0 1 0,0-1 1,-1 0-1,1 0 0,0 1 0,0-1 0,0 0 1,0 1-1,0-1 0,0 0 0,0 0 0,0 1 1,0-1-1,0 0 0,0 1 0,0-1 0,0 0 0,0 1 1,1-1-1,-1 0 0,0 0 0,0 1 0,0-1 1,0 0-1,0 0 0,1 1 0,-1-1 0,0 0 1,0 0-1,0 0 0,1 1 0,-1-1 0,0 0 1,0 0-1,1 1 0,12 18 0,-11-17-1,53 66 309,3-3-1,72 61 0,-70-69 109,340 271 1327,-367-300-1608,-29-24-52,-19-17-70,-8-5-187,-43-27 1,47 34 103,0-1 0,2 0 0,0-1 1,-26-26-1,59 52-31,0-2 0,0 1 1,1-1-1,19 8 0,38 25 95,0 16 28,-52-41-65,1-1 1,41 25-1,-121-99-1870,40 39 1769,1 2 138,-48-47-3,46 43 16,18 17-1,8 7 5,82 69-45,-54-44 75,66 44-1,-80-60-18,-13-8-14,1 0 0,0 0-1,0-1 1,12 5 0,-59-46-56,19 22 67,-226-156 321,337 236 482,-66-45-739,0-1 0,1-2 1,1 0-1,61 25 0,-89-43-75,-1 0 0,1 1 0,-1-1 0,1 0 0,-1 1 0,1-1 0,-1 0 0,1 0 0,-1 0 0,1 1 0,-1-1-1,1 0 1,0 0 0,-1 0 0,1 0 0,-1 0 0,1 0 0,-1 0 0,1 0 0,-1 0 0,1 0 0,0-1 0,-1 1 0,1 0 0,-1 0 0,1 0 0,-1-1-1,2 1 1,-2 0 0,1-1 0,-9-14 206,-22-15-62,2 7-86,-56-36 0,3 2-22,72 50-79,11 6 13,22 12 10,39 26 24,-13 1 26,-29-21 19,1-1 0,29 16 0,-51-32-57,0 0-1,0 0 0,0 0 1,0-1-1,0 1 0,0 0 1,0 0-1,0 0 0,0 0 1,0 0-1,0 0 0,0 0 1,0-1-1,1 1 0,-1 0 1,0 0-1,0 0 0,0 0 1,0 0-1,0 0 0,0 0 1,0 0-1,0 0 0,0 0 1,0-1-1,0 1 0,0 0 1,0 0-1,1 0 0,-1 0 1,0 0-1,0 0 0,0 0 1,0 0-1,0 0 0,0 0 1,0 0-1,0 0 0,1 0 1,-1 0-1,0 0 0,0 0 0,0 0 1,0 0-1,0 0 0,0 0 1,0 0-1,1 0 0,-1 0 1,0 0-1,0 0 0,0 0 1,0 0-1,0 0 0,0 0 1,0 1-1,-9-16 77,-18-16-10,-6 2-35,-2 1 1,-67-40 0,157 104-35,86 72 1,-180-140 87,-75-45 0,-175-94 248,321 191-250,54 45 0,-64-46-61,1-1 1,0 0 0,2-2 0,0-1 0,0 0-1,45 16 1,-107-64-18,-116-65-4,-16-13 0,144 93-26,35 28-28,38 31-30,205 156 279,-306-220-197,53 23-4,0 0 0,0-1-1,0 1 1,-1 0 0,1-1-1,0 1 1,0 0 0,-1 0-1,1 0 1,0-1-1,-1 1 1,1 0 0,0 0-1,-1 0 1,1 0 0,0-1-1,-1 1 1,1 0 0,0 0-1,-1 0 1,1 0-1,-1 0 1,1 0 0,0 0-1,-1 0 1,1 0 0,0 0-1,-1 0 1,1 1 0,0-1-1,-1 0 1,1 0 0,0 0-1,-1 0 1,1 0-1,0 1 1,-1-1 0,1 1-1,4 14-135,21 25-83,-23-37 212,13 18 32,0-1 0,1-1 0,1-1 1,1 0-1,1-1 0,21 16 0,-85-68 462,-46-45 0,-53-42-471,133 116-192,24 21 12,26 23 24,-9-12 107,-12-7 40,1-2-1,1-1 1,0 0-1,1-1 1,1-2-1,29 14 0,-50-29-31,-7-6 24,-8-7 12,-28-17 1,20 13 2,-1 1 0,0 1 0,-2 1 0,-47-23-1,72 39-12,0 0 1,0 0-1,0 0 0,0 1 0,1-1 0,-1 0 0,0 0 0,0 0 0,0 0 0,0 0 0,0 0 0,0 0 0,0 1 0,0-1 0,0 0 0,0 0 0,0 0 0,0 0 0,0 0 0,0 0 0,0 0 0,0 1 0,0-1 0,0 0 0,0 0 0,0 0 0,0 0 0,0 0 0,0 0 0,0 1 0,0-1 0,0 0 0,-1 0 0,1 0 0,0 0 0,0 0 0,0 0 1,0 0-1,0 0 0,0 0 0,0 0 0,0 1 0,0-1 0,-1 0 0,1 0 0,0 0 0,0 0 0,0 0 0,0 0 0,0 0 0,0 0 0,-1 0 0,1 0 0,0 0 0,0 0 0,0 0 0,0 0 0,0 0 0,0 0 0,-1 0 0,13 17-132,18 18-88,-12-15 188,-8-9 33,0 0 0,0-1 0,1 0 0,1 0 0,-1-3 0,18 12 0,-72-70-874,31 43-719,1 4 668</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7"/>
    </inkml:context>
    <inkml:brush xml:id="br0">
      <inkml:brushProperty name="width" value="0.05" units="cm"/>
      <inkml:brushProperty name="height" value="0.05" units="cm"/>
    </inkml:brush>
  </inkml:definitions>
  <inkml:trace contextRef="#ctx0" brushRef="#br0">70 486 2240,'52'-34'7944,"98"-61"-7382,-142 90-545,10-5 77,1 0 1,-1-3 0,-1 1-1,0-1 1,23-24-1,-40 37-89,0 0 0,0 0 0,0 0 0,0 0 0,0 0 0,0 0 0,0 0 0,-1 0 0,1 0-1,0 0 1,0 0 0,0 0 0,0 0 0,0 0 0,0 0 0,0 0 0,0 0 0,0 0-1,0 0 1,0 0 0,0 0 0,-1 0 0,1 0 0,0 0 0,0 0 0,0 0 0,0 0 0,0-1-1,0 1 1,0 0 0,0 0 0,0 0 0,0 0 0,0 0 0,0 0 0,0 0 0,0 0 0,0 0-1,0 0 1,0 0 0,0-1 0,0 1 0,0 0 0,0 0 0,0 0 0,0 0 0,0 0 0,0 0-1,0 0 1,0 0 0,0 0 0,0 0 0,0-1 0,0 1 0,0 0 0,1 0 0,-1 0 0,0 0-1,-11 4 52,-10 7-161,-159 106-962,159-102 838,5-5 131,2 1 0,0 1 0,0 0 0,1 1 0,1 1-1,-15 20 1,26-34 96,1 1-1,0-1 1,0 0-1,0 0 0,0 0 1,0 0-1,-1 0 1,1 0-1,0 0 1,0 0-1,-1 1 0,1-1 1,0 0-1,0 1 1,0-1-1,0 0 1,0 1-1,-1-1 0,1 0 1,0 0-1,0 1 1,0-1-1,0 0 0,0 0 1,0 0-1,0 0 1,0 1-1,0-1 1,0 0-1,0 1 0,0-1 1,0 0-1,0 1 1,1-1-1,-1 0 0,0 0 1,0 0-1,0 0 1,0 1-1,0-1 1,1 0-1,-1 0 0,0 1 1,0-1-1,1 0 1,-1 1-1,15-4 13,19-14 135,69-40 192,102-77 1,-203 133-323,3-2 36,-1-1 0,1 1 1,0-1-1,-2 1 0,1-2 0,0 1 0,0 1 0,-1-2 0,4-7 0,-6 12-45,-1 0-1,0 0 0,0 0 0,0 0 1,0 0-1,0-1 0,0 1 0,0 0 1,0-1-1,0 1 0,0 0 0,0-1 1,0 1-1,0 0 0,0 0 0,0 0 1,0 0-1,0 0 0,0-1 0,0 1 1,0 0-1,0-1 0,0 1 0,0 0 1,0 0-1,0-1 0,0 1 0,0 0 1,-1 0-1,1 0 0,0 0 0,0 0 1,0 0-1,-1 0 0,1-1 0,0 1 1,0 0-1,-1 0 0,1 0 1,0 0-1,0-1 0,0 1 0,0 0 1,0 0-1,-1 0 0,1 0 0,0 0 1,0 0-1,-1 0 0,1 0 0,0 0 1,-1 0-1,1 0 0,0 0 0,0 0 1,0 0-1,0 0 0,0 0 0,-1 1 1,-14 2-26,-15 11-579,-1 2-1,1 1 0,-47 35 0,39-26-401,22-15 536,-10 5 134,2 2 1,0 0-1,1 2 0,-25 27 1,107-85-440,18-15 922,-39 28 368,-1-1 0,-2-1 1,0-3-1,37-40 0,-65 56 177,-15 12-103,-23 13-455,-89 67-2080,23-14 433,80-55 1333,3-1 140,0 0 0,0 1 0,0 1 0,1-1 0,0 2 0,2 0 0,-16 17 0,60-49 166,87-61 1207,-66 47 146,91-76 0,-190 130-369,-91 68-2205,51-30 357,-42 36 57,125-89 2,10-5 441,15-9 108,80-62 179,-20 14 354,-73 52-322,3-1 123,-1-2 1,0 1-1,0-1 1,-1-1 0,14-15-1,-40 32 588,-13 12-843,-53 32-274,61-39 19,0-1 0,1 2 0,0 1 0,-23 21-1,42-35 297,0 0-1,0 0 1,0 0-1,0 0 0,1 0 1,-1 0-1,0 0 0,0 0 1,0 0-1,0 0 1,0 0-1,0 0 0,0 0 1,0 0-1,0 1 1,0-1-1,0 0 0,0 0 1,0 0-1,0 0 1,0 0-1,1 0 0,-1 0 1,0 0-1,0 0 1,0 1-1,0-1 0,0 0 1,0 0-1,0 0 1,0 0-1,0 0 0,0 0 1,0 0-1,0 0 1,-1 1-1,1-1 0,0 0 1,15-8-377,19-12-143,211-140 2021,-141 92-104,-232 161-1687,88-62-559,-69 42-1,94-63 883,15-10-32,0 0 0,0 0 1,0 0-1,0 0 0,0 0 0,0 0 1,0 0-1,0 0 0,0 0 1,0 0-1,0 0 0,0 0 1,0 0-1,0 0 0,0 0 0,0 0 1,0 0-1,0 0 0,0 0 1,0 0-1,0 0 0,0 0 1,26-13-188,125-99 194,-65 45 126,-76 59-92,26-18 197,-1-1-1,-1-2 0,34-38 1,-68 67-222,0 0-1,-1 0 1,1 0 0,0 0 0,0 0-1,0 0 1,0 0 0,0 0 0,-1 0 0,1 0-1,0 0 1,0 0 0,0 0 0,0 0-1,0 0 1,0 0 0,-1 0 0,1-1 0,0 1-1,0 0 1,0 0 0,0 0 0,0 0 0,0 0-1,0 0 1,0-1 0,0 1 0,0 0-1,0 0 1,0 0 0,0 0 0,0-1 0,0 1-1,0 0 1,0 0 0,0 0 0,0 0-1,0 0 1,0 0 0,0 0 0,0 0 0,0 0-1,0 0 1,0 0 0,0-1 0,0 1-1,0 0 1,0 0 0,0 0 0,0 0 0,1 0-1,-1 0 1,0 0 0,0-1 0,0 1-1,0 0 1,0 0 0,0 0 0,1 0 0,-1 0-1,0 0 1,0 0 0,0 0 0,0 0-1,0 0 1,1 0 0,-1 0 0,-14 5 192,-19 11-264,-86 72-96,13-9-116,47-36-109,87-68 219,-1 0 1,41-25-1,8-8 160,-22 16 14,21-17 164,-71 54 109,-7 4-114,-14 10-72,-26 16-155,-139 111-9,92-66 67,27-16-417,187-151 48,-53 40 446,100-62 0,-146 99 284,-22 14 86,-16 11-58,-11 8-391,1 3-1,1 0 1,0 1 0,-28 30-1,10-10 0,-13 7 1,31-28 5,1 1 0,2 1 0,-1 1 0,-22 29 1,85-82-390,241-175 248,-193 153 502,-162 113-355,-71 74-1,-1 1 64,53-59 37,223-177-554,68-47 458,-178 137 6,33-24 298,-470 374 371,386-314-618,10-6-64,34-35-126,221-193-62,-97 88 378,-128 111 31,-21 15-56,-24 17-114,-101 95-167,68-54 179,-105 71-1,243-192-349,153-142 286,-166 138 177,-192 190-385,50-49 227,20-22 88,57-48-104,8-5-75,12-9-71,99-111-84,27-10 438,-392 384-326,155-154 263,114-118-212,36-27-1,21-18 34,-26 18 107,-43 42 29,-9 10-44,-10 11-32,-249 234-286,246-237 257,12-13-5,0 2 1,-1 0-1,1 0 1,0 0 0,0 1-1,0-1 1,-4 9-1,41-37-140,101-84-2,162-120 533,-506 379 193,33-22-572,175-128-12,-7 5 4,0 0 1,0 1-1,1-1 0,-11 13 1,20-18-84,8-3 38,8-7-4,224-150-84,-24 14 617,-589 423-298,359-268-247,-7 6-191,-31 35 0,96-84-872,25-23 943,90-55-1,-88 63 201,22-10 1104,-249 183-964,-70 59-146,175-138-100,149-114-318,-39 23 330,231-170 206,-685 513 145,317-239-266,61-46-47,16-11-1,5-5-5,29-16-82,122-95 0,-96 67 326,96-55 0,-227 147-219,-123 105 0,120-90-6,65-53 14,5-4-6,0-1 1,1 1 0,-1 0 0,1 0-1,0 1 1,-5 5 0,23-12-131,4-8 81,-1 0 0,-1-1 0,20-17 0,13-8-12,108-79 129,-77 55 283,-203 135-121,40-18-902,37-25 361,-47 38 0,140-95 169,244-186 976,-288 210-854,22-20 423,-24 18-56,-16 12-205,-43 28-522,-95 81 0,110-83 343,31-24 36,13-8-101,23-16-62,251-188 32,-135 95 312,-124 92-10,-11 7 44,-13 10-9,-38 22-208,3 2 1,-61 49 0,-7 5 15,103-75-6,0-2 0,1 1-1,-1 0 0,1 1 1,0 0-1,0-1 0,1 2 1,-5 7-1,54-43-399,224-150 369,-231 155 138,-24 17 105,-1 0-1,20-17 0,-31 24-192,0 0 1,0 0-1,0 0 0,0 0 0,0 0 1,0 0-1,0 0 0,0 0 0,0 0 0,-1 0 1,1 0-1,0 0 0,0 0 0,0 0 1,0 0-1,0 0 0,0 0 0,0 0 0,0 0 1,0 0-1,0 0 0,0 0 0,0 0 1,0 0-1,0 0 0,0 0 0,0 0 0,0 0 1,0 0-1,0 0 0,0 0 0,0 0 1,0 0-1,0-1 0,0 1 0,0 0 0,0 0 1,0 0-1,0 0 0,0 0 0,0 0 1,-1 0-1,1 0 0,0 0 0,0 0 1,0-1-1,-14 6 182,-17 10-224,-97 68-346,6-5 0,105-67 237,26-12-161,27-16 11,168-118 127,-121 75 204,-46 32 112,-25 19 115,-25 18 136,-11 7-461,-1-1 0,-32 15-1,32-18-360,0 2-1,-37 25 0,37-22-273,-47 26-1,61-37 506,269-174-418,-219 135 1748,-89 61-31,-27 18-1233,-2 1-800,-72 56 0,297-204 374,-82 61 635,-42 27 131,0-2 1,-1 0 0,-1-1 0,21-19 0,-30 19 522,-11 16-729,0-1 0,0 1 0,-1 0-1,1 0 1,0 0 0,0 0 0,-1 0-1,1 0 1,0 0 0,-1 0 0,1 0 0,0 0-1,0 0 1,0 0 0,0 0 0,-1-1-1,1 1 1,0 0 0,0 0 0,-1 0 0,1 0-1,0 1 1,-1-1 0,1 0 0,0 0-1,-1 0 1,1 0 0,0 0 0,0 0 0,0 0-1,0 0 1,0 0 0,-1 0 0,1 0-1,-1 1 1,-31 15 295,-182 129-1239,81-55 272,126-84 526,22-16 9,26-19 3,81-57 29,33-26 265,-148 107-19,0-2 0,1 1-1,-2-1 1,1-1 0,7-9 0,-14 17-147,0 0 0,0 0 0,0 0 0,0 0 0,0 0 0,0 0 0,0 0 0,0 0 0,-1 0 0,1 0 0,0 0 0,0 0 0,0 0 0,0 0 0,0 0 0,0 0 0,0 0 0,0 0 0,0 0 0,-1 0 0,1 0 0,0 0 0,0 0 0,0 0 0,0 0-1,0 0 1,0 0 0,0 0 0,0 0 0,-1 0 0,1 0 0,0 0 0,0 0 0,0 0 0,0 0 0,0 0 0,0 0 0,0 0 0,0 0 0,0 0 0,0 0 0,0 0 0,0 0 0,0-1 0,0 1 0,0 0 0,0 0 0,0 0 0,0 0 0,0 0 0,0 0 0,0 0 0,0 0 0,0 0 0,0-1 0,0 1 0,0 0 0,0 0 0,0 0 0,0 0-1,0 0 1,0 0 0,0 0 0,-13 5 233,-11 8-252,-373 254-2065,397-267 2067,0 0 1,0 0-1,0 0 0,0 0 1,0 0-1,0 0 0,0 0 1,0 0-1,0 0 0,1 0 1,-1 0-1,0 0 0,0 0 1,0 0-1,0 0 0,0 0 1,0 0-1,0 0 0,0 1 1,0-1-1,20-10-66,27-20 12,222-159 1290,-260 182-1095,0 2 147,-1-1 1,1-1-1,7-7 0,-40 25 494,-138 110-755,74-57-15,-34 23-14,305-219-763,-74 50 775,-51 37 8,-31 24 189,-21 17 80,-7 6 173,-52 46-401,12-12-43,3 1 0,1 2 0,-57 76-1,94-114-10,0-1-1,0 0 0,0 0 0,-1 0 0,1 0 0,0 0 0,-1 1 1,1-1-1,0 0 0,-1 1 0,1-1 0,0 1 0,0-1 0,-1 0 1,1 0-1,0 0 0,0 1 0,0-1 0,0 1 0,0-1 1,0 1-1,0-1 0,0 0 0,0 1 0,0-1 0,0 0 0,0 0 1,0 1-1,0-1 0,0 1 0,0-1 0,0 1 0,0-1 1,0 0-1,0 0 0,1 1 0,13-6-24,20-18 12,214-191 177,-235 200-47,-20 15 25,-24 19-86,-107 93-96,87-70 68,-7-2 45,85-64-177,-1-1 0,34-40 0,35-32 205,-171 190-163,8 4 446,124-160 56,-16 15-433,-29 35 16,-1 1-1,0-1 1,0-1-1,-2 1 1,0-2 0,-1 1-1,12-27 1,-19 39-26,0 0 0,1 1 0,-1-1 0,0 0 0,1 0 0,-1 0 0,0 1 1,0-2-1,0 1 0,1 1 0,-1-1 0,-1 0 0,1 0 0,0 1 0,0-2 0,0 1 0,0 1 0,-1-1 0,1 0 0,-1-1 0,1 2-5,0 0 0,-1 0 0,0 0 0,1 0 0,-1 0-1,1 0 1,0 0 0,-1 0 0,0 0 0,1 0 0,-1 0-1,0 0 1,1 0 0,0 0 0,-1 0 0,1 0 0,-1 0-1,1 0 1,-1 1 0,1-1 0,0 0 0,-1 1-1,0 0 1,-26 24-257,-80 119 83,85-113 212,14-19 9,14-22-69,8-14-39,8-20-48,-12 26 99,0 0-1,-2-1 1,0-1-1,5-19 1,-14 33-304,-6 16 114,-6 15 3,-7 21 719,-2-2 1,-31 46-1,87-159 51,-26 54-840,0 0 1,-1-1-1,-1 0 0,-1 0 0,1 0 0,4-34 0,-75 198-1293,62-137 1707,2-7-7,1 0 1,-2 0-1,1 0 1,0 0 0,-1 0-1,0 0 1,0-1-1,-3 5 1,4-8-115,1-1-1,0 1 1,-1 0 0,1-1-1,-1 1 1,1-1-1,-1 0 1,1 1 0,-1-1-1,1 1 1,0-1 0,0 1-1,0-1 1,-1 0 0,1 1-1,0-1 1,0 1 0,0-1-1,0 0 1,-1 1-1,1-1 1,0 0 0,0 1-1,1-1 1,-1 1 0,0-1-1,0 0 1,1-1 0,-1-21 29,0 23-47,0-10-117,0-1 1,0 0 0,2 1 0,0 0-1,0-1 1,1 1 0,0-1 0,1 1-1,0 0 1,8-14 0,-52 144-339,33-100 517,6-14 44,-1 0 0,1 0-1,-2 0 1,1-1 0,0 1 0,-1 0 0,0-1 0,0-1 0,-1 2 0,0-2-1,-5 6 1,23-45 325,5-5-618,32-51-1,-47 80-554,1 0-1,-1 0 0,4-17 0,-18 49 432,4-9 309,1-1-1,0 1 1,1 0 0,1 0 0,-1 1-1,2 0 1,-3 17 0,6-23 46</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8:36.278"/>
    </inkml:context>
    <inkml:brush xml:id="br0">
      <inkml:brushProperty name="width" value="0.05" units="cm"/>
      <inkml:brushProperty name="height" value="0.05" units="cm"/>
    </inkml:brush>
  </inkml:definitions>
  <inkml:trace contextRef="#ctx0" brushRef="#br0">525 430 3289,'22'-102'6400,"-23"115"-6149,0-1 1,0 0 0,1 1 0,3 23 0,-1-26-233,-1 0 0,0 1 0,-1 0 1,0-1-1,-1 1 0,0 0 0,-1-1 1,-4 17-1,6-27-11,0-1 0,0 1 0,0 0 0,0 0 0,0 0 0,0-1 0,0 1 0,0 0 0,0 0 0,0 0 0,-1-1 0,1 1 0,0 0 0,0 0 0,0 0 0,0 0 0,0 0 0,0-1-1,0 1 1,0 0 0,0 0 0,0 0 0,-1 0 0,1 0 0,0 0 0,0 0 0,-1 0 0,1 0 0,0 0 0,0 0 0,0 0 0,-1 0 0,1 0 0,0 0 0,0 0 0,0 0 0,0 0 0,0 0 0,0 0 0,0 0 0,-1 0 0,1 0 0,0 0 0,0 0 0,0 0 0,0 1 0,-1-1 0,1 0 0,0 0 0,0 0 0,0 0 0,0 0-1,-1 1 1,1-1 0,0 0 0,0 0 0,0 0 0,0 1 0,-3-17 120,9-150 9,-15 247-537,8-61 392,2-6 38,-1 0 0,-1-1 0,0 1 0,-1-1 0,-8 26 0,10-39-28,0 1 0,0-1 0,0 0 1,0 0-1,0 0 0,0 0 0,0 0 0,0 0 1,0 0-1,0 0 0,0 0 0,0 0 1,0 0-1,0 0 0,0 1 0,0-1 0,0 0 1,0 0-1,0 0 0,0 0 0,0 0 0,0 0 1,0 1-1,0-1 0,0 0 0,0 0 0,0 0 1,0 0-1,0 0 0,0 0 0,-1 0 0,1 0 1,0 0-1,0 0 0,0 0 0,0 1 1,0-1-1,0 0 0,-1 0 0,1 0 0,0 0 1,0 0-1,0 0 0,0 0 0,0 0 0,-1 0 1,1 0-1,0 0 0,0 0 0,0 0 0,0-1 1,0 1-1,0 0 0,0 0 0,0 0 0,0 0 1,0 0-1,0 0 0,0 0 0,0 0 1,-1 0-1,-2-11 40,0-12-32,5-90-67,-1 86-13,-1 72-437,0-21 514,-1-1-1,-6 37 0,36-252 244,-29 208-395,1 1 0,0-1 0,9 32 1,-2 0 107,-8-47 31,7 31 56,1-25 58,-8-8-100,1 1 1,-1-1 0,1 1-1,0-1 1,-1 1-1,1 0 1,0-1 0,-1 1-1,1-1 1,-1 0 0,0 1-1,1 0 1,-1-1 0,1 0-1,-1 0 1,1 1-1,-1-1 1,0-1 0,15-33 70,-3 0 0,0-1 0,10-62 0,-14 57-50,-1 25-100,-5 32-24,-2 27-8,-11 47 59,6-60 197,-1 50 0,6-96-133,-1-25 72,2 2 0,11-66 1,-10 95-99,0 5-5,-2 0 0,2 0-1,-1 0 1,0 0-1,-1 0 1,0 0-1,0 0 1,-1-8-1,-10 28-277,-66 202 120,68-197 244,6-29-65,8-38-45,4 5-26,2 0 0,22-52-1,-52 122-294,12-7 318,0 1 0,1-1-1,2 1 1,0 1 0,2-1 0,-1 31-1,1-24 134,7-71 275,-2 18-361,0-1 0,-2 2 0,-1-33-1,-4 47-242,-2 17 29,-1 15 8,7-22 193,-6 62-200,6-57 189,0 0-1,1-1 0,-1 1 1,1 0-1,0 0 0,0-1 0,1 0 1,4 11-1,-6-16 15,1 1-1,-1-1 1,0 1 0,0 0 0,1-1-1,-1 0 1,1 0 0,0 1 0,-1-1-1,0 1 1,1-1 0,-1 0 0,1 1 0,0-1-1,-1 0 1,1 0 0,-1 1 0,1-1-1,0 0 1,0 0 0,-1 0 0,0 0-1,1 0 1,0 0 0,0 0 0,-1 0-1,0 0 1,1-1 0,0 1 0,0 0 0,-1 0-1,0-1 1,1 1 0,0 0 0,-1-1-1,1 1 1,-1-1 0,0 1 0,1 0-1,0 0 1,-1-1 0,1 0 0,-1 1 0,1-1-1,-1 0 1,22-24 60,-11 5 90,1 0 0,-2-1-1,-1 0 1,-1-1-1,8-27 1,9-26 258,-21 56-364,-4 17-44,-4 11-30,-4 21-18,1 0-1,-5 55 1,8-50 56,-9 22 175,43-253-148,-24 170-26,-4 17-5,1 0 0,-1 1 1,0-2-1,-2 2 0,1-16 1,-1 25-6,0-1 0,0 0-1,0 0 1,0 0 0,0 0 0,0 0 0,0 0 0,0 0 0,0 0 0,0 1 0,0-1 0,0 0-1,0 0 1,0 0 0,0 0 0,0 0 0,0 0 0,0 0 0,0 0 0,0 0 0,-1 0-1,1 0 1,0 0 0,0 1 0,0-1 0,0 0 0,0 0 0,0 0 0,0 0 0,0 0-1,0 0 1,0 0 0,0 0 0,0 0 0,0 0 0,0 0 0,0 0 0,0 0 0,0 0 0,0 0-1,0 0 1,-1 0 0,1 0 0,0 0 0,0 0 0,0 0 0,0 0 0,0 0 0,0 0-1,0-1 1,0 1 0,0 0 0,-1 0 0,-4 14-77,-6 20-30,-27 134 84,36-161 222,2-9-69,3-21-17,10-36-59,-7 40-36,-2 0-1,1 0 1,-2 0-1,2-40 0,-18 95-291,6 6 226,-3 72-1,7-94 153,2-16 13,2-14-27,2-13-70,0 0 0,-3 0-1,0-1 1,0 1-1,-3 0 1,-4-24-1,10 166-574,-2-111 559,5 31 7,-6-36 0,0-1-1,1 0 0,-1 1 0,1-1 0,0-1 1,0 2-1,0-1 0,0 0 0,0 0 1,0-1-1,1 2 0,-1-2 0,3 3 0,-3-4-4,-1 0 1,1 0-1,-1 0 0,0 0 0,0-1 0,1 1 0,-1 0 0,1 0 0,-1-1 0,0 1 0,1 0 0,-1 0 0,0 0 0,0 0 0,0-1 0,1 1 0,-1-1 1,0 1-1,1-1 0,-1 1 0,0 0 0,0 0 0,0 0 0,1-1 0,-1 1 0,0-1 0,0 1 0,0-1 0,0 1 0,0 0 0,0-2 0,3-14 46,-3 16-48,26-190 115,-32 287-321,9 137 0,-1-229 399,-1-10-64,5-27-7,2-43-58,10-126-137,-20 290-713,-11 126 956,9-194 87,4-21-255,0 0 1,0 0 0,0 0-1,0 0 1,0 0 0,0 0-1,0 0 1,0 0 0,0 0-1,0 0 1,0 0 0,0 0-1,0 0 1,0-1 0,0 1-1,0 0 1,0 0 0,0 0-1,0 0 1,0 0 0,0 0-1,0 0 1,-1 0 0,1-1-1,0 1 1,0 0 0,0 0 0,0 0-1,0 0 1,0 0 0,0 0-1,0 0 1,0 0 0,0 0-1,-1 0 1,1 0 0,0-1-1,0 1 1,0 0 0,0 0-1,0 0 1,0 0 0,0 0-1,0 0 1,-1 0 0,1 0-1,0 0 1,0 0 0,0 0-1,0 0 1,0 0 0,0 0-1,0 0 1,0 0 0,0 0 0,0 1-1,-3-40 323,3 27-344,-1-10 50,1 7-150,0 0-1,-2-1 1,1 1-1,-2 1 1,0-2-1,-10-26 1,13 42 109,0 0 0,0-1 0,0 1 0,0 0 0,0 0 0,0 0 0,0 0 0,0 0 0,0 0 0,0 0 0,0 0 0,0 0 0,0-1 0,0 1 1,0 0-1,0 0 0,0 0 0,0 0 0,-1 0 0,1 0 0,0-1 0,0 1 0,0 0 0,-1 0 0,1 0 0,0 0 0,0 0 0,0 0 0,0 0 0,-1 0 0,1 0 0,0 0 1,0 0-1,0 0 0,0 0 0,0 0 0,0 0 0,0 0 0,0 0 0,-1 0 0,1 0 0,0 0 0,0 0 0,0 0 0,-1 1 0,1-1 0,0 0 0,0 0 0,0 0 0,-1 0 1,-4 11-199,-3 12 53,2 6 48,-3 46 0,0 4 229,31-145 276,-19 49-387,-1 0 0,-1 0 0,0 0-1,-3-25 1,-5 74-348,1-11 289,-15 132 607,25-202-408,-3 21-145,2 0-1,0 0 1,2 0-1,13-43 1,-18 71-13,0-1 0,0 1 0,0 0-1,0 0 1,0 0 0,0 0 0,0 0 0,0-1 0,0 1-1,0 0 1,0-1 0,0 1 0,0 0 0,0 0 0,0-1-1,0 1 1,0 0 0,0 0 0,0 0 0,0 0 0,1 0 0,-1-1-1,0 1 1,0 0 0,0 0 0,1 0 0,-1-1 0,0 1-1,0 0 1,1 0 0,-1 0 0,0 0 0,0-1 0,0 1-1,0 0 1,0 0 0,1 0 0,-1 0 0,0 0 0,1 0-1,-1 0 1,0 0 0,0 0 0,1 0 0,-1 0 0,0 0 0,0 0-1,0 0 1,0 0 0,1 0 0,4 16-119,-1 33 76,-4-43 42,4 25 3,-2-20 48,-1-1 0,0 1 0,-1 14 0,5-68 72,-3-46 1,-10 140-645,-1-3 498,5 12 145,5-55 158,5-33-154,3-50-27,4-10-174,-11 126-312,-6 2 327,2-17 136,-1 0 1,3 0-1,3 40 1,1-106 312,0 14-337,-2 3-42,2-18-87,0-2 0,3 2 0,17-60 0,-27 120-180,0 0-1,2 31 1,-3 14 409,-3-12 85,4-29 54,2-18-1,2-5 132,40-185-568,-21 108-981,-17 67 583,-3 18 57,-6 23 113,-2 2 274,-7 61 0,11-63 181,-1 0 0,-14 49 0,19-76-54,0-1-1,0 1 1,-1 0-1,1-1 0,0 1 1,0 0-1,0 0 1,-1-1-1,1 0 1,0 1-1,0 0 0,0 0 1,-1-1-1,1 0 1,-1 1-1,0-1 1,1 1-1,0 0 1,0-1-1,-1 1 0,0-1 1,0 0-1,1 1 1,-3-16 213,5-39-139,-1 49-81,1-37-262,12-53 1,-11 81 129,0 1 0,1 0 0,0 0 0,2 0 0,-1 1 0,1 0 0,0-1 0,9-10 0,-19 33 85,0 1 0,1 0 1,-3 16-1,-2 2 218,0 3 36,-37 112 650,61-224-75,28-58-2185,-4 49-3674,-37 83 4472,-8 12 559,-7 19 266,-62 224 5499,125-467-8462,-48 203 1766,0 0-1,12-30 0,-40 135 3687,8-47-2264,13-27 47,-2-1-1,0 0 1,-1-1 0,-12 18 0,11-25 133,8-18-398,11-25-218,-10 32 8,12-31-24,3 1-1,0 1 0,39-61 1,-61 126-12,2-8 47,-5 8 424,-1-1-1,0 0 0,-3 0 1,-22 40-1,50-119 35,6-15-449,-15 44-134,0 0 1,1-1-1,12-19 0,-9 17-179,-16 38-36,-5 18 226,-21 58 62,27-82 41,0-1 0,0 0-1,0 0 1,-1 0-1,0-1 1,-1 0-1,-9 9 1,15-16-26,1 0 0,-1 0 0,1-1 0,-1 0 0,1 1 0,-1-1 0,1 1 0,0 0 0,-1-1 0,0 1 0,1-1 0,-1 0 0,1 0 0,-1 0 0,0 1 0,1-1 0,-1 0 0,1 1 0,-1-1 0,0 0 0,0 0 0,1 0 0,0 0 0,-1 0 0,0 0 1,0 0-1,0 0 0,1 0 0,-1 0 0,0-1 0,1 1 0,-2-1 0,1 1-6,0-2 0,1 0 0,0 2 1,-1-2-1,0 1 0,1-1 0,-1 1 1,1 0-1,0-1 0,0 1 0,0-1 1,0 1-1,0 0 0,0-3 0,6-51-250,-6 51 222,7-28-218,12-32 0,-38 156-275,-6 22 770,26-105 109,4-17-159,7-16-70,-5 4-76,5-36-1,-10 41-49,1 1 0,1-1 0,0 1 0,12-26 1,-22 57-93,0 1 0,3 0-1,-1 0 1,-1 20 0,0 1 56,-12 64 605,61-327-391,-47 271-865,3-29 717,0 0 1,-1 0 0,-2 0 0,0 0 0,-1-1-1,-8 25 1,12-42-27,0 0-1,0 0 0,0 0 1,0 0-1,0 0 1,0 0-1,0 0 1,0 0-1,0 0 1,0 0-1,0 0 0,0 0 1,0 0-1,0 0 1,0 0-1,0 0 1,0 0-1,-1 0 0,1 0 1,0 0-1,0 0 1,0 0-1,0-1 1,0 1-1,0 0 0,0 0 1,0 0-1,0 0 1,0 0-1,0 0 1,0 0-1,-1 0 0,1 0 1,0 0-1,0 0 1,0 0-1,0 0 1,0 0-1,0 0 1,0 0-1,0 0 0,0 0 1,0 0-1,0 0 1,-1 0-1,1 0 1,0 0-1,0 0 0,0 0 1,0 0-1,0 0 1,0 1-1,0-1 1,0 0-1,0 0 0,0 0 1,0 0-1,-1-12 83,0-14-69,6-2 1,-2 6-113,-9 40-41,-4 18 141,-3 0 1,0-2 0,-3 1-1,-1-2 1,-27 41-1,30-54 24,-36 50-655,44-63 319,-1 0 0,1 0 0,-1-1 0,-1 0 0,1 0 0,-1-1 1,-10 6-1,-3 4-638,-5 2-3,25-16 981,0-1-1,0 0 0,0 0 1,-1 0-1,2 0 0,-2 0 0,1 0 1,0 0-1,0 0 0,0 0 1,0 0-1,0 0 0,-1-1 1,2 1-1,-2-1 0,1 0 1,1 1-1,-2-1 0,1 1 1,0-1-1,1 0 0,-1 1 0,0-1 1,0 1-1,-1-3 0,-4-3 316,2 2-201,0 0 0,1 0 0,-2 0 0,1 1 0,-1-1 0,-9-4 0,12 7-148,1 1 1,-1-1-1,1 1 1,-1 0-1,1 0 1,-1 0-1,1 0 0,0 0 1,-1 0-1,1 0 1,-1 0-1,1 0 0,-1 0 1,1 1-1,-1-1 1,1 1-1,-1 0 0,1-1 1,0 1-1,-1 0 1,2 0-1,-2-1 0,1 1 1,0 0-1,-1 0 1,1 0-1,1 1 0,-1-1 1,-1 0-1,2 0 1,-1 0-1,-1 3 0,-28 49-51,24-41 62,-1 0 0,1-1 1,-1 0-1,-1 0 0,-17 18 0,23-28-7,1 2 1,-1-2-1,1 1 1,-2-1-1,2 1 1,-1-2-1,0 2 1,0-1-1,-1 0 1,1 0-1,0 0 1,0 0-1,0-1 1,-4 2-1,4-3-4,2 1 1,-2-1-1,1 1 1,0 0-1,-1-1 0,1 0 1,0 0-1,-1 1 1,2-1-1,-2 0 1,1 0-1,1 0 0,-2 1 1,1-2-1,0 1 1,1 0-1,-1 0 0,0 0 1,0 0-1,1-1 1,0 1-1,-1 0 0,0-1 1,1 2-1,-1-4 1,-3-11-6,0 1 1,1-2-1,0 2 1,1-1 0,0-18-1,-6-36 162,5 60-62,-3 17-125,0 17-107,5-1 92,0 0 0,5 44 0,-2-45 345,-1 0 0,0 0 1,-5 33-1,4-52-291,-4 16 368,0-18-145,0-13-102,-16-95 39,16 77-152,3 7-24,1 19 3,1 0-1,-1 0 1,0 0 0,0 0 0,0 0-1,-1 0 1,0 0 0,1-1 0,-1 1-1,0 0 1,0 0 0,-1 0 0,-1-3-1,3 6-2,0 0 0,-1 1 0,0-1-1,1 0 1,-1 1 0,1-1-1,0 0 1,-1 0 0,1 1-1,-1-1 1,1 1 0,-1 0-1,1-1 1,0 0 0,0 1-1,0-1 1,0 1 0,-1 0 0,1-1-1,0 1 1,0-1 0,0 1-1,-1-1 1,1 1 0,0 0-1,0-1 1,0 0 0,1 3-1,-7 25-78,5-23 65,-1 9 4,2 0 0,-1 0-1,3 21 1,-1 30 42,-2-60-11,0 1-1,1-2 1,-1 2 0,-1-1 0,1 0-1,-1-1 1,0 1 0,0 0 0,-5 8-1,7-13-11,0 0-1,0 1 1,0-1-1,-1 0 1,1 0-1,0 1 0,0-1 1,0 0-1,0 0 1,0 0-1,0 0 1,0 0-1,-1 0 0,1 0 1,0 0-1,0 0 1,0 0-1,0 1 1,-1-1-1,1 0 0,0 0 1,0 0-1,0 0 1,0 0-1,0 0 0,0 0 1,0 0-1,0 0 1,-1 0-1,1 0 1,0 0-1,0 0 0,0 0 1,-1 0-1,1 0 1,0 0-1,0 0 1,-1 0-1,1 0 0,0 0 1,0 0-1,0 0 1,0 0-1,0 0 1,0-1-1,-3-9 49,1-17-20,2 25-25,2-189 26,-3 180-52,-2 17-27,0 18-34,6 49 55,0-52 43,-2-1 0,-1 1 0,0 0 0,-2-1 0,0 1 0,-8 31-1,12-66 36,0 0 0,0-27-1,0-10-37,19-69-65,-13 199-211,-9-52 269,-2 0-1,0 0 1,-2-1-1,-11 36 0,4-26 29,6-17 28,11-51-33,14-36-24,-14 54-6,0-1 1,-1 0-1,-1-1 1,2-16-1,-7 61-32,-9 41 0,-9 19 80,23-99-38,9-32 28,-11 39-48,-1 0 0,1 0 0,-1 0 0,1-1-1,-1 1 1,0 0 0,0 0 0,0 0 0,-1 0 0,0 0 0,0-4 0,0 9-8,0-1 0,0 1 0,-1-1 1,2 1-1,-1 0 0,0 0 0,0-1 0,1 2 0,-1-2 0,1 1 0,0 3 0,-6 49-46,4-32 65,2-17 0,0-6-1,3-12 10,-2 10-4,0 0-1,-1 0 1,0 0-1,1 1 0,-1-1 1,1 0-1,-1 0 1,0 0-1,-1-1 1,0-3-1,-13 40-21,13-30 12,1-2 2,-1 0 0,1 1 0,0-2 1,0 2-1,0-1 0,0 0 0,0 1 1,0-2-1,0 2 0,0-1 1,0 0-1,0 1 0,0-1 0,1 0 1,-1 0-1,1 0 0,0 0 0,-1 1 1,0-2-1,1 1 0,0 1 1,0-1-1,-1-1 0,2 3 0,8-32 2,-8 22 1,0 5 1,-1-1-1,0 1 1,0-1 0,0 0 0,-1 0 0,1 0 0,-1 0-1,1 0 1,-1 0 0,0 1 0,0-1 0,0-3-1,-1 6 0,0 0 0,1 0 0,0 0 0,-1 0-1,0 0 1,1 0 0,-1 0 0,1 0-1,0 1 1,-1-1 0,0 0 0,1 1 0,-1-1-1,1 1 1,-1-1 0,1 0 0,0 0-1,0 1 1,-1-1 0,1 1 0,-1-1-1,1 1 1,-1-1 0,1 0 0,0 1 0,0 0-1,0-1 1,0 1 0,0 0 0,0-1-1,0 0 1,0 1 0,-1 0 0,-8 21-10,6-14 6,-5 24-44,24-43-5,71-98 232,-77 96-56,-15 20 29,-18 23-47,17-21-97,0 0 0,-1-1 0,-8 9 0,8-11-10,1 2 0,-1-1-1,2 0 1,-6 11 0,10-11-65,8-9 13,10-8 9,4-11 45,0 0 1,-2-1-1,-1 0 1,0-2 0,25-45-1,-58 89 63,0-1 0,-1 0 0,0-1 0,-30 23 0,56-52-133,0-1-1,-2 1 1,0-1-1,12-24 1,-1 3 36,0 3 9,14-24 108,-35 51 67,-5 6-96,-10 10-33,-28 27-64,-45 54 0,148-155-302,-30 27 331,-16 21 30,-1 0 1,-1 0-1,0 0 0,13-28 0,-23 34 184,-9 10-102,-9 9-44,-11 13-80,1 0 0,1 1-1,-45 58 1,71-81-295,4-6 105,10-8 15,15-19 121,-12 12 109,-3-1-1,0-1 0,0 1 0,-2-2 0,-1 0 0,15-42 0,-23 48 182,-11 22-92,-12 21-89,-1 22-28,16-35 13,0-1 1,-12 20-1,8-19 2,15-24-54,12-24-5,-15 28 42,1 1 0,-1-1 0,1 1 0,0 0 0,0 0 0,5-4 0,-6 5-4,-13 45-127,6-24 130,4-13 4,-1 2-1,0-2 1,0 0 0,0 1 0,-1 0 0,1-2 0,-8 10-1,13-23-7,0 0 0,-1 0 0,0-1-1,0 1 1,-1-18 0,2-3-18,19-93-76,-24 141-18,0 0 0,2 34 0,1-10 73,-1-24 42,0 3 45,-2-1-1,-5 37 1,14-78 12,1 0 1,14-28 0,1-2-41,-21 48-34,-1 6 6,-3 13 4,-6 22 18,4-23 0,2-7-2,0 0 1,-1-1 0,0 1 0,0-1 0,0 0-1,-6 7 1,49-80-103,-28 53 98,-14 22-109,-17 27-154,18-36 257,-4 9-31,2-6 25,1 1-1,0 0 1,-1 0-1,2 0 0,-1 0 1,1 0-1,-1 0 1,1 0-1,0 1 1,-1 5-1,25-35-93,12-28-2497,-30 46 182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7.737"/>
    </inkml:context>
    <inkml:brush xml:id="br0">
      <inkml:brushProperty name="width" value="0.05" units="cm"/>
      <inkml:brushProperty name="height" value="0.05" units="cm"/>
    </inkml:brush>
  </inkml:definitions>
  <inkml:trace contextRef="#ctx0" brushRef="#br0">43 22 2024,'26'28'280,"2"0"0,1-2 0,1-2 0,1-1 0,46 26-1,-77-49-276,0 1-1,1-1 0,-1 0 0,0 1 0,1-1 0,-1 1 0,1-1 0,-1 0 0,0 0 1,1 1-1,-1-1 0,1 0 0,-1 0 0,1 1 0,-1-1 0,1 0 0,-1 0 0,1 0 1,0 0-1,-1 0 0,1 0 0,-1 0 0,1 0 0,-1 0 0,1 0 0,-1 0 0,1 0 0,-1 0 1,1 0-1,-1-1 0,1 1 0,0 0 0,-13-16 152,-26-19 87,-165-118 2750,241 182-2456,56 57-1,22 18-490,-146-130-163,-20-19 124,-73-49 0,52 50 274,101 82 208,5-8-513,-2 1 36,2-3 1,1-1-1,74 44 1,-110-71-11,0 0 0,0 0 0,0-1 0,0 1 0,0 0 1,0 0-1,0 0 0,1 0 0,-1 0 0,0 0 0,0 0 1,0-1-1,0 1 0,0 0 0,0 0 0,0 0 1,0 0-1,0 0 0,0 0 0,0 0 0,0 0 0,0-1 1,0 1-1,1 0 0,-1 0 0,0 0 0,0 0 0,0 0 1,0 0-1,0 0 0,0 0 0,0 0 0,1 0 0,-1 0 1,0 0-1,0 0 0,0 0 0,0 0 0,0 0 0,0 0 1,0 0-1,1 0 0,-1 0 0,0 0 0,0 0 0,0 0 1,0 0-1,0 0 0,0 0 0,0 0 0,1 0 1,-1 0-1,0 0 0,0 0 0,0 1 0,0-1 0,0 0 1,-10-15 28,-20-17 13,-10-3 6,-1 3 0,-1 2 0,-69-40 0,149 107 41,39 22-133,-36-26 80,1-2-1,80 45 1,-151-91-17,0-1 1,2-2-1,0 0 1,0-2-1,2-1 1,-26-28-1,82 77-16,2 0 0,64 42 0,-71-53 21,-44-29-49,-130-93 118,173 129 121,-2-1-231,47 36 0,-59-52 20,-3-1 1,1 0-1,-1 0 1,2-1 0,-1 0-1,0-1 1,16 5-1,-57-39 15,-32-21 37,-58-57 0,157 141-10,2-2 0,3 0-1,56 34 1,-70-52 10,-44-22-49,-43-24-1,-19-25 27,57 39 27,-46-27-1,80 64 142,14 11-260,-5-12 62,1 0 1,0-1-1,3-1 1,-1-1-1,0-1 1,2-1-1,33 13 1,-102-52-11,22 13 17,-2-2 0,0-2 0,-25-21-1,-7-7 37,141 133-421,-44-58 129,-31-22 179,1 0-1,-1 0 0,0 1 0,13 14 0,-78-45-59,-57-59 167,80 57 103,80 61-1550,-23-20 88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29.090"/>
    </inkml:context>
    <inkml:brush xml:id="br0">
      <inkml:brushProperty name="width" value="0.05" units="cm"/>
      <inkml:brushProperty name="height" value="0.05" units="cm"/>
    </inkml:brush>
  </inkml:definitions>
  <inkml:trace contextRef="#ctx0" brushRef="#br0">55 75 2377,'-33'13'4024,"32"-13"-3980,1 1 1,-1 0-1,1 0 1,-1 0-1,1-1 0,0 1 1,-1 0-1,1 0 1,0 0-1,0 0 1,0 0-1,-1 0 0,1 0 1,0-1-1,0 1 1,0 0-1,1 0 0,-1 0 1,0 0-1,0 0 1,0 0-1,1 0 1,-1-1-1,0 1 0,1 0 1,-1 0-1,1 0 1,-1-1-1,1 1 0,-1-1 1,1 1-1,-1-1 1,1 1-1,0 0 1,-1-1-1,2 1 0,26 31-42,2-1-1,57 46 0,-72-68-50,-15-18 4,-16-20 37,1 10 30,-1 1 1,-1 1-1,-1 1 1,0 0-1,-1 1 1,-31-18-1,103 87 182,-6-14-184,-29-24 11,-15-14-13,-7-5 0,-42-30-28,37 28 16,0 0-1,0-1 0,1-1 0,-1 1 0,2-1 0,-1-1 1,-9-10-1,94 53 332,-1 7-237,-78-47-79,0-1-1,-1 1 1,0 0-1,0 0 1,0 1-1,-1-1 1,-4-4-1,-115-73 564,148 102-128,8 6-345,62 38 0,-110-88-63,-40-23 10,41 38 46,1-2 1,0 0 0,1-1 0,0 0 0,1-1 0,-11-16 0,62 64-637,-27-26 2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1:33.923"/>
    </inkml:context>
    <inkml:brush xml:id="br0">
      <inkml:brushProperty name="width" value="0.05" units="cm"/>
      <inkml:brushProperty name="height" value="0.05" units="cm"/>
    </inkml:brush>
  </inkml:definitions>
  <inkml:trace contextRef="#ctx0" brushRef="#br0">16 12 2521,'-11'-12'5331,"6"21"-3921,7 25-1559,0-26 144,12 49-4,2-2 0,35 82 1,-51-136 11,1 0 0,-1 0 0,0 0 0,1 0 0,-1 0 0,1 0-1,-1 0 1,1 0 0,0 0 0,-1 0 0,1 0 0,0 0 0,0 0 0,-1-1 0,1 1 0,0 0 0,0 0 0,0-1 0,2 1 0,1-17 144,-7-36-62,-5 7-549,-17-51 1,14 56 452,-1 7 123,12 33-110,0 0-1,0 0 1,0 0 0,0 0-1,0 0 1,0 0 0,0 0-1,0 0 1,-1 0 0,1-1-1,0 1 1,0 0 0,0 0-1,0 0 1,0 0 0,0 0 0,0 0-1,0 0 1,0 0 0,0 0-1,0 0 1,0 0 0,-1 0-1,1-1 1,0 1 0,0 0-1,0 0 1,0 0 0,0 0-1,0 0 1,0 0 0,0 0-1,0 0 1,-1 0 0,1 0-1,0 0 1,0 0 0,0 0 0,0 0-1,0 0 1,0 0 0,0 0-1,0 0 1,-1 0 0,1 0-1,0 1 1,0-1 0,0 0-1,0 0 1,0 0 0,0 0-1,0 0 1,0 0 0,0 0-1,0 0 1,0 0 0,-1 0-1,1 0 1,0 0 0,0 1 0,0-1-1,0 0 1,0 0 0,0 0-1,0 0 1,0 0 0,0 21-12,1 23-30,3 19 65,-2-48 1,3 14 18,-2-24-12,-1-13 12,-1-4-26,0 0 1,0 0 0,-1 1 0,0-1 0,-1 0 0,-5-21 0,-10-55 38,16 88-57,0 0 0,-1 0 0,1 1 0,0-1 0,0 0 0,0 0 0,0 0 0,0 0 0,0 0 0,0 0-1,0 0 1,0 0 0,0 0 0,0 0 0,0 0 0,0 0 0,0 0 0,0 0 0,0 0 0,0 0 0,-1 0 0,1 0 0,0 0 0,0 0 0,0 0 0,0 0 0,0 0 0,0 0 0,0 0 0,0 0 0,0 0 0,0 0 0,0 0 0,0 0-1,0 0 1,-1 0 0,1 0 0,0 0 0,0 0 0,0 0 0,0 0 0,0 0 0,0 0 0,0 0 0,0 0 0,0 0 0,0 0 0,0 0 0,0 0 0,0-1 0,0 1 0,-5 13-52,-1 17-27,7-12 67,1 1 1,6 29-1,-4-28 9,0-19 1,3-9-15,3-10-497,-6 4-360,-1-1 36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25.023"/>
    </inkml:context>
    <inkml:brush xml:id="br0">
      <inkml:brushProperty name="width" value="0.05" units="cm"/>
      <inkml:brushProperty name="height" value="0.05" units="cm"/>
    </inkml:brush>
  </inkml:definitions>
  <inkml:trace contextRef="#ctx0" brushRef="#br0">1 45 11146,'0'0'-16,"0"-1"16,0 2 32,1-3-8,-1 1-88,0 1-168,2-12-1968,7-17 165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1-21T19:43:30.912"/>
    </inkml:context>
    <inkml:brush xml:id="br0">
      <inkml:brushProperty name="width" value="0.05" units="cm"/>
      <inkml:brushProperty name="height" value="0.05" units="cm"/>
    </inkml:brush>
  </inkml:definitions>
  <inkml:trace contextRef="#ctx0" brushRef="#br0">115 856 5593,'-7'-26'3599,"7"23"-3442,-1 0 0,1 0 1,-1 0-1,0 1 0,0-1 0,0 0 0,0 0 0,0 1 0,-4-6 1,-2 49-125,-11 29 9,10-44 18,9-38-26,0 10-34,8-35 11,4-44 1,-29 161-196,9-7 248,19-203 220,-32 192-527,17-38 231,4-19 20,-1 0 1,0 0 0,-1 0 0,0 0 0,1 0 0,-2 0 0,1 0-1,0 0 1,-1 0 0,0-1 0,0 1 0,-6 8 0,7-18 8,0 0 1,-1 1 0,2-1-1,-1 0 1,0 0-1,1 0 1,0 0 0,1-5-1,9-81-6,-11 123-266,0-19 240,0 0 0,1 0 0,1 1 1,3 19-1,-2-26 34,-2 0 1,1-1 0,-1 1 0,0 0 0,-1 11 0,0-14 11,-8-54 117,19-64-666,-6 79 455,-1 10-94,-7 41-87,-4 43 65,5 28 281,7-112-28,-3 20-87,-1-1 0,1 1 0,0-1 0,1 1 0,0 0-1,-1-1 1,2 1 0,-1 0 0,6-9 0,25-30-64,-21 29 163,-1 0 0,0 0 0,11-23 0,-87 101 438,32-34-500,7-7-148,50-35-97,89-76 518,5-2 616,-62 52-621,-34 24-100,-20 14-47,-8 5 47,-133 97-723,117-84 442,1 2-1,1 0 1,1 1 0,-19 27-1,38-47 84,0 0 0,0 0 0,-1 0 0,1 0 0,0 0 0,0 1 0,0-1 0,-1 0 0,1 0-1,0 0 1,0 0 0,0 0 0,0 0 0,0 1 0,-1-1 0,1 0 0,0 0 0,0 0 0,0 0 0,0 1 0,0-1 0,0 0 0,0 0 0,0 0 0,0 1-1,0-1 1,0 0 0,0 0 0,0 0 0,0 1 0,0-1 0,0 0 0,0 0 0,0 0 0,0 1 0,0-1 0,0 0 0,0 0 0,0 0 0,0 1-1,0-1 1,0 0 0,0 0 0,0 0 0,1 0 0,-1 1 0,0-1 0,0 0 0,0 0 0,0 0 0,0 0 0,1 0 0,-1 0 0,0 1 0,0-1-1,1 0 1,15-5-160,20-13 25,45-32 91,179-129 1363,-257 174-941,-16 9-239,-21 13-122,-62 47-769,2 3 1,-135 125-1,205-163 621,24-29 134,0 0-1,0 0 0,0 0 0,0 1 1,0-1-1,0 0 0,0 0 1,0 0-1,-1 0 0,1 0 0,0 0 1,0 0-1,0 0 0,0 1 1,0-1-1,0 0 0,0 0 1,0 0-1,0 0 0,0 0 0,0 0 1,0 0-1,0 1 0,0-1 1,0 0-1,0 0 0,0 0 0,0 0 1,0 0-1,0 0 0,0 1 1,0-1-1,0 0 0,0 0 0,0 0 1,1 0-1,-1 0 0,0 0 1,0 0-1,0 0 0,0 1 0,0-1 1,0 0-1,0 0 0,0 0 1,0 0-1,1 0 0,-1 0 1,0 0-1,0 0 0,0 0 0,0 0 1,0 0-1,0 0 0,0 0 1,1 0-1,-1 0 0,0 0 0,0 0 1,0 0-1,0 0 0,0 0 1,20-9-218,398-284 1597,-367 254-1026,-34 28-223,-11 6-32,1 1 1,-1-1 0,0 0 0,0-1 0,-1 1 0,6-8 0,-11 13-85,1 0-1,-1-1 1,0 1 0,0 0 0,0 0 0,0 0 0,0 0 0,0 0 0,0 0 0,1 0 0,-1-1 0,0 1 0,0 0 0,0 0-1,0 0 1,0 0 0,0 0 0,0 0 0,0-1 0,0 1 0,0 0 0,0 0 0,0 0 0,0 0 0,0 0 0,0-1 0,0 1-1,0 0 1,0 0 0,0 0 0,0 0 0,0-1 0,0 1 0,0 0 0,0 0 0,0 0 0,0 0 0,0 0 0,-1 0 0,1-1-1,0 1 1,0 0 0,0 0 0,0 0 0,0 0 0,0 0 0,0 0 0,-1 0 0,1 0 0,0 0 0,0-1 0,0 1 0,0 0-1,0 0 1,-1 0 0,1 0 0,0 0 0,-14 2 245,-15 7-185,-21 13-444,0 2 0,2 2 0,0 3 0,2 1 0,2 2 0,-71 65 0,112-93-95,7-5 149,17-12 8,32-24 168,89-59 545,-62 43 501,95-82 1,-147 102-227,-28 33-664,0 0 1,0 0 0,0 0 0,0-1 0,0 1 0,0 0 0,1 0 0,-1-1 0,0 1 0,0 0 0,0 0 0,0 0-1,0-1 1,0 1 0,0 0 0,0 0 0,0-1 0,0 1 0,0 0 0,0 0 0,0 0 0,0-1 0,0 1 0,0 0-1,0 0 1,0-1 0,0 1 0,-1 0 0,1 0 0,0 0 0,0-1 0,0 1 0,0 0 0,0 0 0,0 0 0,-1 0-1,1-1 1,0 1 0,0 0 0,0 0 0,-1 0 0,1 0 0,-21 5 239,-25 19-431,-75 49 1,52-28-23,19-14-182,2 2-1,-1 2 1,4 3-1,-53 53 1,98-91 363,0 0 1,0 0-1,0 0 1,0 0-1,1 0 1,-1 0-1,0 0 1,0 0-1,0 0 1,0 0-1,0 0 1,0 1-1,0-1 1,0 0-1,0 0 1,0 0-1,0 0 1,1 0-1,-1 0 1,0 0-1,0 0 1,0 0-1,0 0 1,0 1-1,0-1 1,0 0-1,0 0 1,0 0-1,0 0 1,0 0-1,0 0 1,0 0-1,0 0 1,0 1-1,0-1 1,0 0-1,0 0 1,0 0-1,20-11-223,31-21 146,175-122 573,104-78 951,-308 213-1097,-17 10 7,-15 10 262,-22 13-624,0 2 0,-1 1 1,3 2-1,-52 41 0,45-33-49,-25 16-219,6-3-369,-78 69 0,117-89 70,26-20 13,35-24 164,259-192 904,-126 88 463,-167 121-827,-6 4-23,1 1 0,-1-2 0,0 1-1,0 0 1,0-1 0,0 1 0,-1-1 0,1 0 0,-1-1 0,4-5 0,-7 10-91,0 0 1,1 0 0,-1 0-1,0 0 1,0-1-1,0 1 1,0 0 0,0 0-1,0 0 1,0 0 0,0-1-1,0 1 1,0 0 0,0 0-1,0 0 1,0 0-1,0-1 1,0 1 0,0 0-1,0 0 1,0 0 0,0-1-1,0 1 1,0 0 0,0 0-1,0 0 1,-1 0-1,1 0 1,0-1 0,0 1-1,0 0 1,0 0 0,0 0-1,0 0 1,-1 0 0,1-1-1,0 1 1,0 0-1,0 0 1,0 0 0,0 0-1,-1 0 1,1 0 0,0 0-1,0 0 1,0 0 0,0 0-1,-1 0 1,1 0-1,0 0 1,0 0 0,0 0-1,-1 0 1,1 0 0,0 0-1,0 0 1,-18 4 221,-19 9-227,-57 40-436,3 3 0,-158 128 0,224-164 369,19-13-642,27-17 434,34-22 129,334-238 1327,-367 253-744,-22 17-435,0 0-1,0 0 1,0 0 0,0-1 0,0 1-1,0 0 1,0 0 0,0 0 0,0 0 0,0 0-1,0-1 1,0 1 0,0 0 0,0 0 0,0 0-1,0 0 1,0 0 0,0 0 0,0-1-1,0 1 1,0 0 0,0 0 0,0 0 0,0 0-1,-1 0 1,1 0 0,0 0 0,0-1 0,0 1-1,0 0 1,0 0 0,0 0 0,0 0-1,-1 0 1,1 0 0,0 0 0,0 0 0,0 0-1,0 0 1,0 0 0,-1 0 0,1 0 0,0 0-1,0 0 1,0 0 0,0 0 0,0 0-1,-1 0 1,1 0 0,0 0 0,0 0 0,0 0-1,0 0 1,0 0 0,0 0 0,-1 0 0,1 0-1,0 0 1,0 1 0,0-1 0,0 0-1,0 0 1,0 0 0,0 0 0,-1 0 0,1 0-1,0 1 1,-46 17 318,-11 13-500,0 3 0,3 3 0,2 2 0,1 2 1,-46 48-1,91-79-413,20-14 302,24-17 88,366-262 624,-376 264-351,-13 9 140,0-1 1,0 0-1,-1-1 0,20-22 0,-84 65 230,-41 39-501,-209 175-1091,352-277 482,64-55 481,-36 30 285,129-122-1,-207 178-68,-1 0 0,1-1-1,-1 1 1,0 0 0,1-1 0,-1 1 0,0-1 0,0 1 0,0-1 0,0 1 0,0-1-1,0 0 1,-1 1 0,2-4 0,-3 4-17,0 1 0,0 0 0,1 0 0,-1-1 0,0 1 0,0 0 0,0 0 0,0 0 0,1 0 0,-1 0 0,0 0 0,0 1 0,0-1 0,0 0 0,1 0 0,-1 1 0,0-1 1,0 0-1,1 1 0,-1-1 0,-1 1 0,-57 30 56,-255 180-366,446-302-624,135-106 1393,-250 179 320,-32 25-368,-33 23-329,48-29-100,-60 38-12,4-3-41,-81 67 1,218-154-931,19-15 876,-41 29 149,65-53-1,-123 88-30,2 1 12,0-1 1,-1-1-1,0 1 0,1 0 1,-1 0-1,0-1 1,0 1-1,0-1 1,-1 0-1,1 0 0,1-3 1,-36 30 252,-48 38-334,43-34 45,1 2 0,-64 68-1,152-128-423,27-26 335,-45 34 137,-2-1 0,46-41 0,-114 95-109,4-5-317,-49 54-1,20-7-1200,-91 82-1,94-101 1771,162-156-242,4 14 83,124-107 1512,-208 169-694,-17 18-141,-19 14-20,-49 46-654,2 2-1,-73 85 0,118-124 4,-15 22 24,74-71-72,129-190 55,-166 214-1,11-10-100,-16 22-6,-8 15-4,-52 97 60,65-128-356,1 0 0,0 1 0,11-14-1,-11 17 197,0-1-1,-1 0 1,0 0-1,-1-1 1,0 0-1,6-20 1,-22 67-278,9-31 473,0 0 0,1-1-1,-1 1 1,0 0 0,1 0 0,0-1-1,0 1 1,0 0 0,0 0 0,1 0 0,0-1-1,1 5 1,1-11 97,1-1 1,-1 0-1,0-1 0,0 1 0,0 0 1,-1-1-1,1 0 0,2-9 1,-3 10-74,3-5-16,47-110 122,-68 161-167,-12 36 478,32-98 116,12-38-535,-11 35-43,-15 29-78,-19 34 7,26-32 80,2-5 10,0 1-1,0-1 1,0 0-1,-1 0 1,1 0-1,-1 0 1,0 0-1,0 0 1,0-1-1,0 1 1,0-1 0,0 1-1,-4 1 1,6-7 3,-1-2 1,1 1 0,0 0 0,1 0 0,-1-1 0,1 1-1,1-6 1,-2 9-6,13-33-10,-7 24-49,-8 23-110,0-8 161,0 5 18,0 0 0,-1 0 0,-1 0 0,0-1 0,0 1 0,-1-2 0,0 1 0,-10 15 0,29-61 337,0-15-245,-13 45-176,0 0 1,0 0-1,1 1 1,0-1-1,1 1 0,3-8 1,-6 17-1389,-4 5 97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dirty="0"/>
          </a:p>
        </p:txBody>
      </p:sp>
    </p:spTree>
    <p:extLst>
      <p:ext uri="{BB962C8B-B14F-4D97-AF65-F5344CB8AC3E}">
        <p14:creationId xmlns:p14="http://schemas.microsoft.com/office/powerpoint/2010/main" val="3560123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7</a:t>
            </a:fld>
            <a:endParaRPr lang="en-US" dirty="0"/>
          </a:p>
        </p:txBody>
      </p:sp>
    </p:spTree>
    <p:extLst>
      <p:ext uri="{BB962C8B-B14F-4D97-AF65-F5344CB8AC3E}">
        <p14:creationId xmlns:p14="http://schemas.microsoft.com/office/powerpoint/2010/main" val="182790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9</a:t>
            </a:fld>
            <a:endParaRPr lang="en-US" dirty="0"/>
          </a:p>
        </p:txBody>
      </p:sp>
    </p:spTree>
    <p:extLst>
      <p:ext uri="{BB962C8B-B14F-4D97-AF65-F5344CB8AC3E}">
        <p14:creationId xmlns:p14="http://schemas.microsoft.com/office/powerpoint/2010/main" val="1265723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0</a:t>
            </a:fld>
            <a:endParaRPr lang="en-US" dirty="0"/>
          </a:p>
        </p:txBody>
      </p:sp>
    </p:spTree>
    <p:extLst>
      <p:ext uri="{BB962C8B-B14F-4D97-AF65-F5344CB8AC3E}">
        <p14:creationId xmlns:p14="http://schemas.microsoft.com/office/powerpoint/2010/main" val="3423687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31</a:t>
            </a:fld>
            <a:endParaRPr lang="en-US" dirty="0"/>
          </a:p>
        </p:txBody>
      </p:sp>
    </p:spTree>
    <p:extLst>
      <p:ext uri="{BB962C8B-B14F-4D97-AF65-F5344CB8AC3E}">
        <p14:creationId xmlns:p14="http://schemas.microsoft.com/office/powerpoint/2010/main" val="3750579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dirty="0"/>
          </a:p>
        </p:txBody>
      </p:sp>
    </p:spTree>
    <p:extLst>
      <p:ext uri="{BB962C8B-B14F-4D97-AF65-F5344CB8AC3E}">
        <p14:creationId xmlns:p14="http://schemas.microsoft.com/office/powerpoint/2010/main" val="414437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dirty="0"/>
          </a:p>
        </p:txBody>
      </p:sp>
    </p:spTree>
    <p:extLst>
      <p:ext uri="{BB962C8B-B14F-4D97-AF65-F5344CB8AC3E}">
        <p14:creationId xmlns:p14="http://schemas.microsoft.com/office/powerpoint/2010/main" val="4257127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5</a:t>
            </a:fld>
            <a:endParaRPr lang="en-US" dirty="0"/>
          </a:p>
        </p:txBody>
      </p:sp>
    </p:spTree>
    <p:extLst>
      <p:ext uri="{BB962C8B-B14F-4D97-AF65-F5344CB8AC3E}">
        <p14:creationId xmlns:p14="http://schemas.microsoft.com/office/powerpoint/2010/main" val="274019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6</a:t>
            </a:fld>
            <a:endParaRPr lang="en-US" dirty="0"/>
          </a:p>
        </p:txBody>
      </p:sp>
    </p:spTree>
    <p:extLst>
      <p:ext uri="{BB962C8B-B14F-4D97-AF65-F5344CB8AC3E}">
        <p14:creationId xmlns:p14="http://schemas.microsoft.com/office/powerpoint/2010/main" val="92055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dirty="0"/>
          </a:p>
        </p:txBody>
      </p:sp>
    </p:spTree>
    <p:extLst>
      <p:ext uri="{BB962C8B-B14F-4D97-AF65-F5344CB8AC3E}">
        <p14:creationId xmlns:p14="http://schemas.microsoft.com/office/powerpoint/2010/main" val="1588004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a:t>
            </a:fld>
            <a:endParaRPr lang="en-US" dirty="0"/>
          </a:p>
        </p:txBody>
      </p:sp>
    </p:spTree>
    <p:extLst>
      <p:ext uri="{BB962C8B-B14F-4D97-AF65-F5344CB8AC3E}">
        <p14:creationId xmlns:p14="http://schemas.microsoft.com/office/powerpoint/2010/main" val="373276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dirty="0"/>
          </a:p>
        </p:txBody>
      </p:sp>
    </p:spTree>
    <p:extLst>
      <p:ext uri="{BB962C8B-B14F-4D97-AF65-F5344CB8AC3E}">
        <p14:creationId xmlns:p14="http://schemas.microsoft.com/office/powerpoint/2010/main" val="618425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dirty="0"/>
          </a:p>
        </p:txBody>
      </p:sp>
    </p:spTree>
    <p:extLst>
      <p:ext uri="{BB962C8B-B14F-4D97-AF65-F5344CB8AC3E}">
        <p14:creationId xmlns:p14="http://schemas.microsoft.com/office/powerpoint/2010/main" val="1821728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dirty="0"/>
          </a:p>
        </p:txBody>
      </p:sp>
    </p:spTree>
    <p:extLst>
      <p:ext uri="{BB962C8B-B14F-4D97-AF65-F5344CB8AC3E}">
        <p14:creationId xmlns:p14="http://schemas.microsoft.com/office/powerpoint/2010/main" val="12041471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dirty="0"/>
          </a:p>
        </p:txBody>
      </p:sp>
    </p:spTree>
    <p:extLst>
      <p:ext uri="{BB962C8B-B14F-4D97-AF65-F5344CB8AC3E}">
        <p14:creationId xmlns:p14="http://schemas.microsoft.com/office/powerpoint/2010/main" val="36154266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dirty="0"/>
          </a:p>
        </p:txBody>
      </p:sp>
    </p:spTree>
    <p:extLst>
      <p:ext uri="{BB962C8B-B14F-4D97-AF65-F5344CB8AC3E}">
        <p14:creationId xmlns:p14="http://schemas.microsoft.com/office/powerpoint/2010/main" val="338715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dirty="0"/>
          </a:p>
        </p:txBody>
      </p:sp>
    </p:spTree>
    <p:extLst>
      <p:ext uri="{BB962C8B-B14F-4D97-AF65-F5344CB8AC3E}">
        <p14:creationId xmlns:p14="http://schemas.microsoft.com/office/powerpoint/2010/main" val="1442205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4</a:t>
            </a:fld>
            <a:endParaRPr lang="en-US" dirty="0"/>
          </a:p>
        </p:txBody>
      </p:sp>
    </p:spTree>
    <p:extLst>
      <p:ext uri="{BB962C8B-B14F-4D97-AF65-F5344CB8AC3E}">
        <p14:creationId xmlns:p14="http://schemas.microsoft.com/office/powerpoint/2010/main" val="2929158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dirty="0"/>
          </a:p>
        </p:txBody>
      </p:sp>
    </p:spTree>
    <p:extLst>
      <p:ext uri="{BB962C8B-B14F-4D97-AF65-F5344CB8AC3E}">
        <p14:creationId xmlns:p14="http://schemas.microsoft.com/office/powerpoint/2010/main" val="1102357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2</a:t>
            </a:fld>
            <a:endParaRPr lang="en-US" dirty="0"/>
          </a:p>
        </p:txBody>
      </p:sp>
    </p:spTree>
    <p:extLst>
      <p:ext uri="{BB962C8B-B14F-4D97-AF65-F5344CB8AC3E}">
        <p14:creationId xmlns:p14="http://schemas.microsoft.com/office/powerpoint/2010/main" val="2878920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5</a:t>
            </a:fld>
            <a:endParaRPr lang="en-US" dirty="0"/>
          </a:p>
        </p:txBody>
      </p:sp>
    </p:spTree>
    <p:extLst>
      <p:ext uri="{BB962C8B-B14F-4D97-AF65-F5344CB8AC3E}">
        <p14:creationId xmlns:p14="http://schemas.microsoft.com/office/powerpoint/2010/main" val="3546800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dirty="0"/>
          </a:p>
        </p:txBody>
      </p:sp>
    </p:spTree>
    <p:extLst>
      <p:ext uri="{BB962C8B-B14F-4D97-AF65-F5344CB8AC3E}">
        <p14:creationId xmlns:p14="http://schemas.microsoft.com/office/powerpoint/2010/main" val="25904308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9</a:t>
            </a:fld>
            <a:endParaRPr lang="en-US" dirty="0"/>
          </a:p>
        </p:txBody>
      </p:sp>
    </p:spTree>
    <p:extLst>
      <p:ext uri="{BB962C8B-B14F-4D97-AF65-F5344CB8AC3E}">
        <p14:creationId xmlns:p14="http://schemas.microsoft.com/office/powerpoint/2010/main" val="3080786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64</a:t>
            </a:fld>
            <a:endParaRPr lang="en-US" dirty="0"/>
          </a:p>
        </p:txBody>
      </p:sp>
    </p:spTree>
    <p:extLst>
      <p:ext uri="{BB962C8B-B14F-4D97-AF65-F5344CB8AC3E}">
        <p14:creationId xmlns:p14="http://schemas.microsoft.com/office/powerpoint/2010/main" val="17489516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0</a:t>
            </a:fld>
            <a:endParaRPr lang="en-US" dirty="0"/>
          </a:p>
        </p:txBody>
      </p:sp>
    </p:spTree>
    <p:extLst>
      <p:ext uri="{BB962C8B-B14F-4D97-AF65-F5344CB8AC3E}">
        <p14:creationId xmlns:p14="http://schemas.microsoft.com/office/powerpoint/2010/main" val="255495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2</a:t>
            </a:fld>
            <a:endParaRPr lang="en-US" dirty="0"/>
          </a:p>
        </p:txBody>
      </p:sp>
    </p:spTree>
    <p:extLst>
      <p:ext uri="{BB962C8B-B14F-4D97-AF65-F5344CB8AC3E}">
        <p14:creationId xmlns:p14="http://schemas.microsoft.com/office/powerpoint/2010/main" val="36828989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3</a:t>
            </a:fld>
            <a:endParaRPr lang="en-US" dirty="0"/>
          </a:p>
        </p:txBody>
      </p:sp>
    </p:spTree>
    <p:extLst>
      <p:ext uri="{BB962C8B-B14F-4D97-AF65-F5344CB8AC3E}">
        <p14:creationId xmlns:p14="http://schemas.microsoft.com/office/powerpoint/2010/main" val="784752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4</a:t>
            </a:fld>
            <a:endParaRPr lang="en-US" dirty="0"/>
          </a:p>
        </p:txBody>
      </p:sp>
    </p:spTree>
    <p:extLst>
      <p:ext uri="{BB962C8B-B14F-4D97-AF65-F5344CB8AC3E}">
        <p14:creationId xmlns:p14="http://schemas.microsoft.com/office/powerpoint/2010/main" val="4294294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5</a:t>
            </a:fld>
            <a:endParaRPr lang="en-US" dirty="0"/>
          </a:p>
        </p:txBody>
      </p:sp>
    </p:spTree>
    <p:extLst>
      <p:ext uri="{BB962C8B-B14F-4D97-AF65-F5344CB8AC3E}">
        <p14:creationId xmlns:p14="http://schemas.microsoft.com/office/powerpoint/2010/main" val="2054842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6</a:t>
            </a:fld>
            <a:endParaRPr lang="en-US" dirty="0"/>
          </a:p>
        </p:txBody>
      </p:sp>
    </p:spTree>
    <p:extLst>
      <p:ext uri="{BB962C8B-B14F-4D97-AF65-F5344CB8AC3E}">
        <p14:creationId xmlns:p14="http://schemas.microsoft.com/office/powerpoint/2010/main" val="24564596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7</a:t>
            </a:fld>
            <a:endParaRPr lang="en-US" dirty="0"/>
          </a:p>
        </p:txBody>
      </p:sp>
    </p:spTree>
    <p:extLst>
      <p:ext uri="{BB962C8B-B14F-4D97-AF65-F5344CB8AC3E}">
        <p14:creationId xmlns:p14="http://schemas.microsoft.com/office/powerpoint/2010/main" val="1754960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8</a:t>
            </a:fld>
            <a:endParaRPr lang="en-US" dirty="0"/>
          </a:p>
        </p:txBody>
      </p:sp>
    </p:spTree>
    <p:extLst>
      <p:ext uri="{BB962C8B-B14F-4D97-AF65-F5344CB8AC3E}">
        <p14:creationId xmlns:p14="http://schemas.microsoft.com/office/powerpoint/2010/main" val="3547699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4</a:t>
            </a:fld>
            <a:endParaRPr lang="en-US" dirty="0"/>
          </a:p>
        </p:txBody>
      </p:sp>
    </p:spTree>
    <p:extLst>
      <p:ext uri="{BB962C8B-B14F-4D97-AF65-F5344CB8AC3E}">
        <p14:creationId xmlns:p14="http://schemas.microsoft.com/office/powerpoint/2010/main" val="4036834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79</a:t>
            </a:fld>
            <a:endParaRPr lang="en-US" dirty="0"/>
          </a:p>
        </p:txBody>
      </p:sp>
    </p:spTree>
    <p:extLst>
      <p:ext uri="{BB962C8B-B14F-4D97-AF65-F5344CB8AC3E}">
        <p14:creationId xmlns:p14="http://schemas.microsoft.com/office/powerpoint/2010/main" val="41986155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80</a:t>
            </a:fld>
            <a:endParaRPr lang="en-US" dirty="0"/>
          </a:p>
        </p:txBody>
      </p:sp>
    </p:spTree>
    <p:extLst>
      <p:ext uri="{BB962C8B-B14F-4D97-AF65-F5344CB8AC3E}">
        <p14:creationId xmlns:p14="http://schemas.microsoft.com/office/powerpoint/2010/main" val="27932354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2</a:t>
            </a:fld>
            <a:endParaRPr lang="en-US" dirty="0"/>
          </a:p>
        </p:txBody>
      </p:sp>
    </p:spTree>
    <p:extLst>
      <p:ext uri="{BB962C8B-B14F-4D97-AF65-F5344CB8AC3E}">
        <p14:creationId xmlns:p14="http://schemas.microsoft.com/office/powerpoint/2010/main" val="2768835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6</a:t>
            </a:fld>
            <a:endParaRPr lang="en-US" dirty="0"/>
          </a:p>
        </p:txBody>
      </p:sp>
    </p:spTree>
    <p:extLst>
      <p:ext uri="{BB962C8B-B14F-4D97-AF65-F5344CB8AC3E}">
        <p14:creationId xmlns:p14="http://schemas.microsoft.com/office/powerpoint/2010/main" val="60493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5</a:t>
            </a:fld>
            <a:endParaRPr lang="en-US" dirty="0"/>
          </a:p>
        </p:txBody>
      </p:sp>
    </p:spTree>
    <p:extLst>
      <p:ext uri="{BB962C8B-B14F-4D97-AF65-F5344CB8AC3E}">
        <p14:creationId xmlns:p14="http://schemas.microsoft.com/office/powerpoint/2010/main" val="353722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dirty="0"/>
          </a:p>
        </p:txBody>
      </p:sp>
    </p:spTree>
    <p:extLst>
      <p:ext uri="{BB962C8B-B14F-4D97-AF65-F5344CB8AC3E}">
        <p14:creationId xmlns:p14="http://schemas.microsoft.com/office/powerpoint/2010/main" val="4263365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dirty="0"/>
          </a:p>
        </p:txBody>
      </p:sp>
    </p:spTree>
    <p:extLst>
      <p:ext uri="{BB962C8B-B14F-4D97-AF65-F5344CB8AC3E}">
        <p14:creationId xmlns:p14="http://schemas.microsoft.com/office/powerpoint/2010/main" val="1947531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8</a:t>
            </a:fld>
            <a:endParaRPr lang="en-US" dirty="0"/>
          </a:p>
        </p:txBody>
      </p:sp>
    </p:spTree>
    <p:extLst>
      <p:ext uri="{BB962C8B-B14F-4D97-AF65-F5344CB8AC3E}">
        <p14:creationId xmlns:p14="http://schemas.microsoft.com/office/powerpoint/2010/main" val="135774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2</a:t>
            </a:fld>
            <a:endParaRPr lang="en-US" dirty="0"/>
          </a:p>
        </p:txBody>
      </p:sp>
    </p:spTree>
    <p:extLst>
      <p:ext uri="{BB962C8B-B14F-4D97-AF65-F5344CB8AC3E}">
        <p14:creationId xmlns:p14="http://schemas.microsoft.com/office/powerpoint/2010/main" val="4219832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5678694" y="1520825"/>
            <a:ext cx="4727903" cy="1154074"/>
          </a:xfrm>
          <a:prstGeom prst="rect">
            <a:avLst/>
          </a:prstGeom>
        </p:spPr>
        <p:txBody>
          <a:bodyPr anchor="b"/>
          <a:lstStyle>
            <a:lvl1pPr algn="l">
              <a:lnSpc>
                <a:spcPct val="80000"/>
              </a:lnSpc>
              <a:spcBef>
                <a:spcPts val="0"/>
              </a:spcBef>
              <a:spcAft>
                <a:spcPts val="0"/>
              </a:spcAft>
              <a:defRPr sz="44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5683577" y="3165688"/>
            <a:ext cx="4727903" cy="466756"/>
          </a:xfrm>
          <a:prstGeom prst="rect">
            <a:avLst/>
          </a:prstGeom>
        </p:spPr>
        <p:txBody>
          <a:bodyPr/>
          <a:lstStyle>
            <a:lvl1pPr>
              <a:lnSpc>
                <a:spcPct val="80000"/>
              </a:lnSpc>
              <a:spcAft>
                <a:spcPts val="0"/>
              </a:spcAft>
              <a:defRPr sz="24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Click to edit master subtitle style</a:t>
            </a:r>
          </a:p>
        </p:txBody>
      </p:sp>
      <p:sp>
        <p:nvSpPr>
          <p:cNvPr id="4" name="Picture Placeholder 2">
            <a:extLst>
              <a:ext uri="{FF2B5EF4-FFF2-40B4-BE49-F238E27FC236}">
                <a16:creationId xmlns:a16="http://schemas.microsoft.com/office/drawing/2014/main" id="{30B82A15-2C6E-69D3-B787-949A464553E6}"/>
              </a:ext>
            </a:extLst>
          </p:cNvPr>
          <p:cNvSpPr>
            <a:spLocks noGrp="1"/>
          </p:cNvSpPr>
          <p:nvPr>
            <p:ph type="pic" sz="quarter" idx="13" hasCustomPrompt="1"/>
          </p:nvPr>
        </p:nvSpPr>
        <p:spPr>
          <a:xfrm>
            <a:off x="0"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cxnSp>
        <p:nvCxnSpPr>
          <p:cNvPr id="7" name="Conector recto 6">
            <a:extLst>
              <a:ext uri="{FF2B5EF4-FFF2-40B4-BE49-F238E27FC236}">
                <a16:creationId xmlns:a16="http://schemas.microsoft.com/office/drawing/2014/main" id="{4CF7FCF0-F776-C2C9-4803-DA8D43688946}"/>
              </a:ext>
            </a:extLst>
          </p:cNvPr>
          <p:cNvCxnSpPr>
            <a:cxnSpLocks/>
          </p:cNvCxnSpPr>
          <p:nvPr userDrawn="1"/>
        </p:nvCxnSpPr>
        <p:spPr>
          <a:xfrm>
            <a:off x="5683577" y="2913529"/>
            <a:ext cx="463158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104">
            <a:extLst>
              <a:ext uri="{FF2B5EF4-FFF2-40B4-BE49-F238E27FC236}">
                <a16:creationId xmlns:a16="http://schemas.microsoft.com/office/drawing/2014/main" id="{FFE04BA0-A5F1-E5DE-52DC-63A51535E8A2}"/>
              </a:ext>
            </a:extLst>
          </p:cNvPr>
          <p:cNvSpPr/>
          <p:nvPr userDrawn="1"/>
        </p:nvSpPr>
        <p:spPr>
          <a:xfrm>
            <a:off x="5273072" y="1520826"/>
            <a:ext cx="159540"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2" name="TextBox 24">
            <a:extLst>
              <a:ext uri="{FF2B5EF4-FFF2-40B4-BE49-F238E27FC236}">
                <a16:creationId xmlns:a16="http://schemas.microsoft.com/office/drawing/2014/main" id="{2E127877-A0ED-018C-7E13-AE841D1B1F94}"/>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Image</a:t>
            </a:r>
          </a:p>
        </p:txBody>
      </p:sp>
      <p:sp>
        <p:nvSpPr>
          <p:cNvPr id="11" name="TextBox 24">
            <a:extLst>
              <a:ext uri="{FF2B5EF4-FFF2-40B4-BE49-F238E27FC236}">
                <a16:creationId xmlns:a16="http://schemas.microsoft.com/office/drawing/2014/main" id="{DAB4AE32-26BB-8321-7EFA-E42B6212234A}"/>
              </a:ext>
            </a:extLst>
          </p:cNvPr>
          <p:cNvSpPr txBox="1"/>
          <p:nvPr userDrawn="1"/>
        </p:nvSpPr>
        <p:spPr>
          <a:xfrm>
            <a:off x="8317890" y="6482080"/>
            <a:ext cx="3112110" cy="203203"/>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22 All rights reserved.</a:t>
            </a:r>
            <a:endParaRPr lang="en-US" sz="3599" noProof="0" dirty="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7"/>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8" imgW="317" imgH="318" progId="TCLayout.ActiveDocument.1">
                  <p:embed/>
                </p:oleObj>
              </mc:Choice>
              <mc:Fallback>
                <p:oleObj name="think-cell Slide" r:id="rId8"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dirty="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dirty="0"/>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a:p>
            <a:pPr lvl="5"/>
            <a:r>
              <a:rPr lang="en-US" dirty="0"/>
              <a:t>Sixth level (copy 16pt)</a:t>
            </a:r>
          </a:p>
          <a:p>
            <a:pPr lvl="6"/>
            <a:r>
              <a:rPr lang="en-US" dirty="0"/>
              <a:t>Seventh level (small copy 12pt)</a:t>
            </a:r>
          </a:p>
          <a:p>
            <a:pPr lvl="7"/>
            <a:r>
              <a:rPr lang="en-US" dirty="0"/>
              <a:t>EIGHT LEVEL (DESCRIPTOR 10PT)</a:t>
            </a:r>
          </a:p>
          <a:p>
            <a:pPr lvl="8"/>
            <a:r>
              <a:rPr lang="en-US" dirty="0"/>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endParaRPr lang="en-US" dirty="0"/>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52.png"/><Relationship Id="rId4" Type="http://schemas.openxmlformats.org/officeDocument/2006/relationships/image" Target="../media/image6.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2.xml"/><Relationship Id="rId1" Type="http://schemas.openxmlformats.org/officeDocument/2006/relationships/tags" Target="../tags/tag107.xml"/><Relationship Id="rId4" Type="http://schemas.openxmlformats.org/officeDocument/2006/relationships/image" Target="../media/image105.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108.xml"/><Relationship Id="rId4" Type="http://schemas.openxmlformats.org/officeDocument/2006/relationships/image" Target="../media/image106.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09.xml"/><Relationship Id="rId4" Type="http://schemas.openxmlformats.org/officeDocument/2006/relationships/image" Target="../media/image107.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107.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2.xml"/><Relationship Id="rId1" Type="http://schemas.openxmlformats.org/officeDocument/2006/relationships/tags" Target="../tags/tag111.xml"/><Relationship Id="rId4" Type="http://schemas.openxmlformats.org/officeDocument/2006/relationships/image" Target="../media/image10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82.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109.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82.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110.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111.emf"/></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oleObject" Target="../embeddings/oleObject17.bin"/><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6.emf"/><Relationship Id="rId9" Type="http://schemas.openxmlformats.org/officeDocument/2006/relationships/image" Target="../media/image57.png"/></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117.xml"/><Relationship Id="rId4" Type="http://schemas.openxmlformats.org/officeDocument/2006/relationships/image" Target="../media/image112.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113.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114.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115.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tags" Target="../tags/tag121.xml"/><Relationship Id="rId4" Type="http://schemas.openxmlformats.org/officeDocument/2006/relationships/image" Target="../media/image116.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tags" Target="../tags/tag122.xml"/><Relationship Id="rId4" Type="http://schemas.openxmlformats.org/officeDocument/2006/relationships/image" Target="../media/image117.emf"/></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18.emf"/><Relationship Id="rId4" Type="http://schemas.openxmlformats.org/officeDocument/2006/relationships/oleObject" Target="../embeddings/oleObject122.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2.xml"/><Relationship Id="rId1" Type="http://schemas.openxmlformats.org/officeDocument/2006/relationships/tags" Target="../tags/tag124.xml"/><Relationship Id="rId5" Type="http://schemas.openxmlformats.org/officeDocument/2006/relationships/chart" Target="../charts/chart40.xml"/><Relationship Id="rId4" Type="http://schemas.openxmlformats.org/officeDocument/2006/relationships/image" Target="../media/image8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63.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oleObject" Target="../embeddings/oleObject21.bin"/><Relationship Id="rId7" Type="http://schemas.openxmlformats.org/officeDocument/2006/relationships/image" Target="../media/image68.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67.png"/><Relationship Id="rId5" Type="http://schemas.openxmlformats.org/officeDocument/2006/relationships/image" Target="../media/image66.png"/><Relationship Id="rId10" Type="http://schemas.openxmlformats.org/officeDocument/2006/relationships/image" Target="../media/image70.png"/><Relationship Id="rId4" Type="http://schemas.openxmlformats.org/officeDocument/2006/relationships/image" Target="../media/image6.emf"/><Relationship Id="rId9"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oleObject" Target="../embeddings/oleObject22.bin"/><Relationship Id="rId7" Type="http://schemas.openxmlformats.org/officeDocument/2006/relationships/image" Target="../media/image73.png"/><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oleObject" Target="../embeddings/oleObject26.bin"/><Relationship Id="rId7" Type="http://schemas.openxmlformats.org/officeDocument/2006/relationships/image" Target="../media/image77.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6.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80.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62.png"/><Relationship Id="rId5" Type="http://schemas.openxmlformats.org/officeDocument/2006/relationships/image" Target="../media/image79.png"/><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8" Type="http://schemas.openxmlformats.org/officeDocument/2006/relationships/image" Target="../media/image81.jpg"/><Relationship Id="rId3" Type="http://schemas.openxmlformats.org/officeDocument/2006/relationships/oleObject" Target="../embeddings/oleObject29.bin"/><Relationship Id="rId7" Type="http://schemas.openxmlformats.org/officeDocument/2006/relationships/hyperlink" Target="https://umbrex.com/resources/powerpoint-slides/" TargetMode="Externa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hyperlink" Target="https://umbrex.com/join-our-community/" TargetMode="External"/><Relationship Id="rId5" Type="http://schemas.openxmlformats.org/officeDocument/2006/relationships/hyperlink" Target="http://www.umbrex.com/" TargetMode="External"/><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6.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82.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83.emf"/><Relationship Id="rId4" Type="http://schemas.openxmlformats.org/officeDocument/2006/relationships/oleObject" Target="../embeddings/oleObject33.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82.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36.xml"/><Relationship Id="rId5" Type="http://schemas.openxmlformats.org/officeDocument/2006/relationships/image" Target="../media/image5.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37.xml"/><Relationship Id="rId5" Type="http://schemas.openxmlformats.org/officeDocument/2006/relationships/image" Target="../media/image5.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39.xml"/><Relationship Id="rId4" Type="http://schemas.openxmlformats.org/officeDocument/2006/relationships/image" Target="../media/image6.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chart" Target="../charts/chart1.xml"/><Relationship Id="rId5" Type="http://schemas.openxmlformats.org/officeDocument/2006/relationships/image" Target="../media/image84.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chart" Target="../charts/chart2.xml"/><Relationship Id="rId5" Type="http://schemas.openxmlformats.org/officeDocument/2006/relationships/image" Target="../media/image84.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chart" Target="../charts/chart3.xml"/><Relationship Id="rId5" Type="http://schemas.openxmlformats.org/officeDocument/2006/relationships/image" Target="../media/image84.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chart" Target="../charts/chart4.xml"/><Relationship Id="rId5" Type="http://schemas.openxmlformats.org/officeDocument/2006/relationships/image" Target="../media/image84.emf"/><Relationship Id="rId4" Type="http://schemas.openxmlformats.org/officeDocument/2006/relationships/oleObject" Target="../embeddings/oleObject4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chart" Target="../charts/chart5.xml"/><Relationship Id="rId5" Type="http://schemas.openxmlformats.org/officeDocument/2006/relationships/image" Target="../media/image84.emf"/><Relationship Id="rId4" Type="http://schemas.openxmlformats.org/officeDocument/2006/relationships/oleObject" Target="../embeddings/oleObject4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image" Target="../media/image5.emf"/><Relationship Id="rId4"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jpeg"/><Relationship Id="rId4" Type="http://schemas.openxmlformats.org/officeDocument/2006/relationships/oleObject" Target="../embeddings/oleObject10.bin"/><Relationship Id="rId9" Type="http://schemas.openxmlformats.org/officeDocument/2006/relationships/hyperlink" Target="https://cnjournal.biomedcentral.com/articles/10.1186/s41016-019-0171-x" TargetMode="Externa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chart" Target="../charts/chart6.xml"/><Relationship Id="rId5" Type="http://schemas.openxmlformats.org/officeDocument/2006/relationships/image" Target="../media/image84.emf"/><Relationship Id="rId4" Type="http://schemas.openxmlformats.org/officeDocument/2006/relationships/oleObject" Target="../embeddings/oleObject4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84.emf"/><Relationship Id="rId4" Type="http://schemas.openxmlformats.org/officeDocument/2006/relationships/oleObject" Target="../embeddings/oleObject4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chart" Target="../charts/chart8.xml"/><Relationship Id="rId5" Type="http://schemas.openxmlformats.org/officeDocument/2006/relationships/image" Target="../media/image84.emf"/><Relationship Id="rId4" Type="http://schemas.openxmlformats.org/officeDocument/2006/relationships/oleObject" Target="../embeddings/oleObject48.bin"/></Relationships>
</file>

<file path=ppt/slides/_rels/slide43.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25.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chart" Target="../charts/chart9.xml"/><Relationship Id="rId5" Type="http://schemas.openxmlformats.org/officeDocument/2006/relationships/image" Target="../media/image84.emf"/><Relationship Id="rId4" Type="http://schemas.openxmlformats.org/officeDocument/2006/relationships/oleObject" Target="../embeddings/oleObject49.bin"/><Relationship Id="rId9" Type="http://schemas.openxmlformats.org/officeDocument/2006/relationships/chart" Target="../charts/chart1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51.xml"/><Relationship Id="rId6" Type="http://schemas.microsoft.com/office/2014/relationships/chartEx" Target="../charts/chartEx1.xml"/><Relationship Id="rId5" Type="http://schemas.openxmlformats.org/officeDocument/2006/relationships/image" Target="../media/image84.emf"/><Relationship Id="rId4" Type="http://schemas.openxmlformats.org/officeDocument/2006/relationships/oleObject" Target="../embeddings/oleObject50.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chart" Target="../charts/chart13.xml"/><Relationship Id="rId4" Type="http://schemas.openxmlformats.org/officeDocument/2006/relationships/image" Target="../media/image82.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53.xml"/><Relationship Id="rId5" Type="http://schemas.openxmlformats.org/officeDocument/2006/relationships/image" Target="../media/image5.emf"/><Relationship Id="rId4" Type="http://schemas.openxmlformats.org/officeDocument/2006/relationships/oleObject" Target="../embeddings/oleObject52.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chart" Target="../charts/chart14.xml"/><Relationship Id="rId4" Type="http://schemas.openxmlformats.org/officeDocument/2006/relationships/image" Target="../media/image82.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chart" Target="../charts/chart15.xml"/><Relationship Id="rId4" Type="http://schemas.openxmlformats.org/officeDocument/2006/relationships/image" Target="../media/image8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chart" Target="../charts/chart16.xml"/><Relationship Id="rId4" Type="http://schemas.openxmlformats.org/officeDocument/2006/relationships/image" Target="../media/image82.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chart" Target="../charts/chart17.xml"/><Relationship Id="rId4" Type="http://schemas.openxmlformats.org/officeDocument/2006/relationships/image" Target="../media/image82.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82.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xml"/><Relationship Id="rId1" Type="http://schemas.openxmlformats.org/officeDocument/2006/relationships/tags" Target="../tags/tag59.xml"/><Relationship Id="rId5" Type="http://schemas.openxmlformats.org/officeDocument/2006/relationships/image" Target="../media/image5.emf"/><Relationship Id="rId4" Type="http://schemas.openxmlformats.org/officeDocument/2006/relationships/oleObject" Target="../embeddings/oleObject58.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chart" Target="../charts/chart18.xml"/><Relationship Id="rId4" Type="http://schemas.openxmlformats.org/officeDocument/2006/relationships/image" Target="../media/image82.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5" Type="http://schemas.openxmlformats.org/officeDocument/2006/relationships/chart" Target="../charts/chart19.xml"/><Relationship Id="rId4" Type="http://schemas.openxmlformats.org/officeDocument/2006/relationships/image" Target="../media/image82.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61.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chart" Target="../charts/chart20.xml"/><Relationship Id="rId4" Type="http://schemas.openxmlformats.org/officeDocument/2006/relationships/image" Target="../media/image82.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64.xml"/><Relationship Id="rId4" Type="http://schemas.openxmlformats.org/officeDocument/2006/relationships/image" Target="../media/image82.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40.png"/><Relationship Id="rId5" Type="http://schemas.microsoft.com/office/2014/relationships/chartEx" Target="../charts/chartEx2.xml"/><Relationship Id="rId4" Type="http://schemas.openxmlformats.org/officeDocument/2006/relationships/image" Target="../media/image82.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66.xml"/><Relationship Id="rId5" Type="http://schemas.openxmlformats.org/officeDocument/2006/relationships/image" Target="../media/image5.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1.jpeg"/><Relationship Id="rId5" Type="http://schemas.openxmlformats.org/officeDocument/2006/relationships/image" Target="../media/image6.emf"/><Relationship Id="rId4" Type="http://schemas.openxmlformats.org/officeDocument/2006/relationships/oleObject" Target="../embeddings/oleObject12.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chart" Target="../charts/chart21.xml"/><Relationship Id="rId4" Type="http://schemas.openxmlformats.org/officeDocument/2006/relationships/image" Target="../media/image82.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chart" Target="../charts/chart22.xml"/><Relationship Id="rId4" Type="http://schemas.openxmlformats.org/officeDocument/2006/relationships/image" Target="../media/image82.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69.xml"/><Relationship Id="rId5" Type="http://schemas.openxmlformats.org/officeDocument/2006/relationships/chart" Target="../charts/chart23.xml"/><Relationship Id="rId4" Type="http://schemas.openxmlformats.org/officeDocument/2006/relationships/image" Target="../media/image82.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chart" Target="../charts/chart24.xml"/><Relationship Id="rId4" Type="http://schemas.openxmlformats.org/officeDocument/2006/relationships/image" Target="../media/image82.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tags" Target="../tags/tag71.xml"/><Relationship Id="rId5" Type="http://schemas.openxmlformats.org/officeDocument/2006/relationships/image" Target="../media/image5.emf"/><Relationship Id="rId4" Type="http://schemas.openxmlformats.org/officeDocument/2006/relationships/oleObject" Target="../embeddings/oleObject70.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82.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8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82.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82.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8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hyperlink" Target="https://github.com/wolfgang-stefani/Vehicle-Localization" TargetMode="Externa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77.xml"/><Relationship Id="rId5" Type="http://schemas.openxmlformats.org/officeDocument/2006/relationships/image" Target="../media/image5.emf"/><Relationship Id="rId4" Type="http://schemas.openxmlformats.org/officeDocument/2006/relationships/oleObject" Target="../embeddings/oleObject76.bin"/></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82.emf"/></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79.xml"/><Relationship Id="rId5" Type="http://schemas.openxmlformats.org/officeDocument/2006/relationships/image" Target="../media/image5.emf"/><Relationship Id="rId4" Type="http://schemas.openxmlformats.org/officeDocument/2006/relationships/oleObject" Target="../embeddings/oleObject7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chart" Target="../charts/chart25.xml"/><Relationship Id="rId5" Type="http://schemas.openxmlformats.org/officeDocument/2006/relationships/image" Target="../media/image85.emf"/><Relationship Id="rId4" Type="http://schemas.openxmlformats.org/officeDocument/2006/relationships/oleObject" Target="../embeddings/oleObject7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86.emf"/><Relationship Id="rId4" Type="http://schemas.openxmlformats.org/officeDocument/2006/relationships/oleObject" Target="../embeddings/oleObject80.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86.emf"/><Relationship Id="rId4" Type="http://schemas.openxmlformats.org/officeDocument/2006/relationships/oleObject" Target="../embeddings/oleObject81.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87.emf"/><Relationship Id="rId4" Type="http://schemas.openxmlformats.org/officeDocument/2006/relationships/oleObject" Target="../embeddings/oleObject8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88.emf"/><Relationship Id="rId4" Type="http://schemas.openxmlformats.org/officeDocument/2006/relationships/oleObject" Target="../embeddings/oleObject8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5.xml"/><Relationship Id="rId5" Type="http://schemas.openxmlformats.org/officeDocument/2006/relationships/image" Target="../media/image89.emf"/><Relationship Id="rId4" Type="http://schemas.openxmlformats.org/officeDocument/2006/relationships/oleObject" Target="../embeddings/oleObject84.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90.emf"/><Relationship Id="rId4" Type="http://schemas.openxmlformats.org/officeDocument/2006/relationships/oleObject" Target="../embeddings/oleObject85.bin"/></Relationships>
</file>

<file path=ppt/slides/_rels/slide8.xml.rels><?xml version="1.0" encoding="UTF-8" standalone="yes"?>
<Relationships xmlns="http://schemas.openxmlformats.org/package/2006/relationships"><Relationship Id="rId26" Type="http://schemas.openxmlformats.org/officeDocument/2006/relationships/customXml" Target="../ink/ink6.xml"/><Relationship Id="rId21" Type="http://schemas.openxmlformats.org/officeDocument/2006/relationships/image" Target="../media/image210.png"/><Relationship Id="rId42" Type="http://schemas.openxmlformats.org/officeDocument/2006/relationships/customXml" Target="../ink/ink14.xml"/><Relationship Id="rId47" Type="http://schemas.openxmlformats.org/officeDocument/2006/relationships/image" Target="../media/image34.png"/><Relationship Id="rId63" Type="http://schemas.openxmlformats.org/officeDocument/2006/relationships/image" Target="../media/image42.png"/><Relationship Id="rId68" Type="http://schemas.openxmlformats.org/officeDocument/2006/relationships/customXml" Target="../ink/ink27.xml"/><Relationship Id="rId2" Type="http://schemas.openxmlformats.org/officeDocument/2006/relationships/slideLayout" Target="../slideLayouts/slideLayout3.xml"/><Relationship Id="rId16" Type="http://schemas.openxmlformats.org/officeDocument/2006/relationships/customXml" Target="../ink/ink1.xml"/><Relationship Id="rId29" Type="http://schemas.openxmlformats.org/officeDocument/2006/relationships/image" Target="../media/image25.png"/><Relationship Id="rId11" Type="http://schemas.openxmlformats.org/officeDocument/2006/relationships/image" Target="../media/image18.png"/><Relationship Id="rId24" Type="http://schemas.openxmlformats.org/officeDocument/2006/relationships/customXml" Target="../ink/ink5.xml"/><Relationship Id="rId32" Type="http://schemas.openxmlformats.org/officeDocument/2006/relationships/customXml" Target="../ink/ink9.xml"/><Relationship Id="rId37" Type="http://schemas.openxmlformats.org/officeDocument/2006/relationships/image" Target="../media/image29.png"/><Relationship Id="rId40" Type="http://schemas.openxmlformats.org/officeDocument/2006/relationships/customXml" Target="../ink/ink13.xml"/><Relationship Id="rId45" Type="http://schemas.openxmlformats.org/officeDocument/2006/relationships/image" Target="../media/image33.png"/><Relationship Id="rId53" Type="http://schemas.openxmlformats.org/officeDocument/2006/relationships/image" Target="../media/image37.png"/><Relationship Id="rId58" Type="http://schemas.openxmlformats.org/officeDocument/2006/relationships/customXml" Target="../ink/ink22.xml"/><Relationship Id="rId66" Type="http://schemas.openxmlformats.org/officeDocument/2006/relationships/customXml" Target="../ink/ink26.xml"/><Relationship Id="rId74" Type="http://schemas.openxmlformats.org/officeDocument/2006/relationships/customXml" Target="../ink/ink30.xml"/><Relationship Id="rId5" Type="http://schemas.openxmlformats.org/officeDocument/2006/relationships/image" Target="../media/image10.jpeg"/><Relationship Id="rId61" Type="http://schemas.openxmlformats.org/officeDocument/2006/relationships/image" Target="../media/image41.png"/><Relationship Id="rId19" Type="http://schemas.openxmlformats.org/officeDocument/2006/relationships/image" Target="../media/image200.png"/><Relationship Id="rId14" Type="http://schemas.openxmlformats.org/officeDocument/2006/relationships/image" Target="../media/image20.png"/><Relationship Id="rId22" Type="http://schemas.openxmlformats.org/officeDocument/2006/relationships/customXml" Target="../ink/ink4.xml"/><Relationship Id="rId27" Type="http://schemas.openxmlformats.org/officeDocument/2006/relationships/image" Target="../media/image24.png"/><Relationship Id="rId30" Type="http://schemas.openxmlformats.org/officeDocument/2006/relationships/customXml" Target="../ink/ink8.xml"/><Relationship Id="rId35" Type="http://schemas.openxmlformats.org/officeDocument/2006/relationships/image" Target="../media/image28.png"/><Relationship Id="rId43" Type="http://schemas.openxmlformats.org/officeDocument/2006/relationships/image" Target="../media/image32.png"/><Relationship Id="rId48" Type="http://schemas.openxmlformats.org/officeDocument/2006/relationships/customXml" Target="../ink/ink17.xml"/><Relationship Id="rId56" Type="http://schemas.openxmlformats.org/officeDocument/2006/relationships/customXml" Target="../ink/ink21.xml"/><Relationship Id="rId64" Type="http://schemas.openxmlformats.org/officeDocument/2006/relationships/customXml" Target="../ink/ink25.xml"/><Relationship Id="rId69" Type="http://schemas.openxmlformats.org/officeDocument/2006/relationships/image" Target="../media/image45.png"/><Relationship Id="rId8" Type="http://schemas.openxmlformats.org/officeDocument/2006/relationships/image" Target="../media/image16.png"/><Relationship Id="rId51" Type="http://schemas.openxmlformats.org/officeDocument/2006/relationships/image" Target="../media/image36.png"/><Relationship Id="rId72" Type="http://schemas.openxmlformats.org/officeDocument/2006/relationships/customXml" Target="../ink/ink29.xml"/><Relationship Id="rId3" Type="http://schemas.openxmlformats.org/officeDocument/2006/relationships/oleObject" Target="../embeddings/oleObject14.bin"/><Relationship Id="rId12" Type="http://schemas.openxmlformats.org/officeDocument/2006/relationships/image" Target="../media/image19.jpg"/><Relationship Id="rId17" Type="http://schemas.openxmlformats.org/officeDocument/2006/relationships/image" Target="../media/image190.png"/><Relationship Id="rId25" Type="http://schemas.openxmlformats.org/officeDocument/2006/relationships/image" Target="../media/image23.png"/><Relationship Id="rId33" Type="http://schemas.openxmlformats.org/officeDocument/2006/relationships/image" Target="../media/image27.png"/><Relationship Id="rId38" Type="http://schemas.openxmlformats.org/officeDocument/2006/relationships/customXml" Target="../ink/ink12.xml"/><Relationship Id="rId46" Type="http://schemas.openxmlformats.org/officeDocument/2006/relationships/customXml" Target="../ink/ink16.xml"/><Relationship Id="rId59" Type="http://schemas.openxmlformats.org/officeDocument/2006/relationships/image" Target="../media/image40.png"/><Relationship Id="rId67" Type="http://schemas.openxmlformats.org/officeDocument/2006/relationships/image" Target="../media/image44.png"/><Relationship Id="rId20" Type="http://schemas.openxmlformats.org/officeDocument/2006/relationships/customXml" Target="../ink/ink3.xml"/><Relationship Id="rId41" Type="http://schemas.openxmlformats.org/officeDocument/2006/relationships/image" Target="../media/image31.png"/><Relationship Id="rId54" Type="http://schemas.openxmlformats.org/officeDocument/2006/relationships/customXml" Target="../ink/ink20.xml"/><Relationship Id="rId62" Type="http://schemas.openxmlformats.org/officeDocument/2006/relationships/customXml" Target="../ink/ink24.xml"/><Relationship Id="rId70" Type="http://schemas.openxmlformats.org/officeDocument/2006/relationships/customXml" Target="../ink/ink28.xml"/><Relationship Id="rId75" Type="http://schemas.openxmlformats.org/officeDocument/2006/relationships/image" Target="../media/image48.png"/><Relationship Id="rId1" Type="http://schemas.openxmlformats.org/officeDocument/2006/relationships/tags" Target="../tags/tag15.xml"/><Relationship Id="rId6" Type="http://schemas.openxmlformats.org/officeDocument/2006/relationships/image" Target="../media/image14.png"/><Relationship Id="rId15" Type="http://schemas.openxmlformats.org/officeDocument/2006/relationships/image" Target="../media/image21.png"/><Relationship Id="rId23" Type="http://schemas.openxmlformats.org/officeDocument/2006/relationships/image" Target="../media/image22.png"/><Relationship Id="rId28" Type="http://schemas.openxmlformats.org/officeDocument/2006/relationships/customXml" Target="../ink/ink7.xml"/><Relationship Id="rId36" Type="http://schemas.openxmlformats.org/officeDocument/2006/relationships/customXml" Target="../ink/ink11.xml"/><Relationship Id="rId49" Type="http://schemas.openxmlformats.org/officeDocument/2006/relationships/image" Target="../media/image35.png"/><Relationship Id="rId57" Type="http://schemas.openxmlformats.org/officeDocument/2006/relationships/image" Target="../media/image39.png"/><Relationship Id="rId10" Type="http://schemas.openxmlformats.org/officeDocument/2006/relationships/image" Target="../media/image17.png"/><Relationship Id="rId31" Type="http://schemas.openxmlformats.org/officeDocument/2006/relationships/image" Target="../media/image26.png"/><Relationship Id="rId44" Type="http://schemas.openxmlformats.org/officeDocument/2006/relationships/customXml" Target="../ink/ink15.xml"/><Relationship Id="rId52" Type="http://schemas.openxmlformats.org/officeDocument/2006/relationships/customXml" Target="../ink/ink19.xml"/><Relationship Id="rId60" Type="http://schemas.openxmlformats.org/officeDocument/2006/relationships/customXml" Target="../ink/ink23.xml"/><Relationship Id="rId65" Type="http://schemas.openxmlformats.org/officeDocument/2006/relationships/image" Target="../media/image43.png"/><Relationship Id="rId73" Type="http://schemas.openxmlformats.org/officeDocument/2006/relationships/image" Target="../media/image47.png"/><Relationship Id="rId4" Type="http://schemas.openxmlformats.org/officeDocument/2006/relationships/image" Target="../media/image6.emf"/><Relationship Id="rId9" Type="http://schemas.microsoft.com/office/2017/06/relationships/model3d" Target="../media/model3d1.glb"/><Relationship Id="rId13" Type="http://schemas.microsoft.com/office/2017/06/relationships/model3d" Target="../media/model3d2.glb"/><Relationship Id="rId18" Type="http://schemas.openxmlformats.org/officeDocument/2006/relationships/customXml" Target="../ink/ink2.xml"/><Relationship Id="rId39" Type="http://schemas.openxmlformats.org/officeDocument/2006/relationships/image" Target="../media/image30.png"/><Relationship Id="rId34" Type="http://schemas.openxmlformats.org/officeDocument/2006/relationships/customXml" Target="../ink/ink10.xml"/><Relationship Id="rId50" Type="http://schemas.openxmlformats.org/officeDocument/2006/relationships/customXml" Target="../ink/ink18.xml"/><Relationship Id="rId55" Type="http://schemas.openxmlformats.org/officeDocument/2006/relationships/image" Target="../media/image38.png"/><Relationship Id="rId7" Type="http://schemas.openxmlformats.org/officeDocument/2006/relationships/image" Target="../media/image15.png"/><Relationship Id="rId71" Type="http://schemas.openxmlformats.org/officeDocument/2006/relationships/image" Target="../media/image46.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91.emf"/><Relationship Id="rId4" Type="http://schemas.openxmlformats.org/officeDocument/2006/relationships/oleObject" Target="../embeddings/oleObject86.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82.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92.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82.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1.xml"/><Relationship Id="rId4" Type="http://schemas.openxmlformats.org/officeDocument/2006/relationships/image" Target="../media/image93.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2.xml"/><Relationship Id="rId4" Type="http://schemas.openxmlformats.org/officeDocument/2006/relationships/image" Target="../media/image94.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95.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96.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95.xml"/><Relationship Id="rId4" Type="http://schemas.openxmlformats.org/officeDocument/2006/relationships/image" Target="../media/image97.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2.xml"/><Relationship Id="rId1" Type="http://schemas.openxmlformats.org/officeDocument/2006/relationships/tags" Target="../tags/tag96.xml"/><Relationship Id="rId4" Type="http://schemas.openxmlformats.org/officeDocument/2006/relationships/image" Target="../media/image82.emf"/></Relationships>
</file>

<file path=ppt/slides/_rels/slide9.xml.rels><?xml version="1.0" encoding="UTF-8" standalone="yes"?>
<Relationships xmlns="http://schemas.openxmlformats.org/package/2006/relationships"><Relationship Id="rId13" Type="http://schemas.openxmlformats.org/officeDocument/2006/relationships/customXml" Target="../ink/ink32.xml"/><Relationship Id="rId18" Type="http://schemas.openxmlformats.org/officeDocument/2006/relationships/image" Target="../media/image340.png"/><Relationship Id="rId26" Type="http://schemas.openxmlformats.org/officeDocument/2006/relationships/image" Target="../media/image380.png"/><Relationship Id="rId3" Type="http://schemas.openxmlformats.org/officeDocument/2006/relationships/oleObject" Target="../embeddings/oleObject15.bin"/><Relationship Id="rId21" Type="http://schemas.openxmlformats.org/officeDocument/2006/relationships/customXml" Target="../ink/ink36.xml"/><Relationship Id="rId34" Type="http://schemas.openxmlformats.org/officeDocument/2006/relationships/image" Target="../media/image51.png"/><Relationship Id="rId7" Type="http://schemas.openxmlformats.org/officeDocument/2006/relationships/image" Target="../media/image15.png"/><Relationship Id="rId12" Type="http://schemas.openxmlformats.org/officeDocument/2006/relationships/image" Target="../media/image310.png"/><Relationship Id="rId17" Type="http://schemas.openxmlformats.org/officeDocument/2006/relationships/customXml" Target="../ink/ink34.xml"/><Relationship Id="rId25" Type="http://schemas.openxmlformats.org/officeDocument/2006/relationships/customXml" Target="../ink/ink38.xml"/><Relationship Id="rId33" Type="http://schemas.openxmlformats.org/officeDocument/2006/relationships/image" Target="../media/image50.png"/><Relationship Id="rId2" Type="http://schemas.openxmlformats.org/officeDocument/2006/relationships/slideLayout" Target="../slideLayouts/slideLayout3.xml"/><Relationship Id="rId16" Type="http://schemas.openxmlformats.org/officeDocument/2006/relationships/image" Target="../media/image330.png"/><Relationship Id="rId20" Type="http://schemas.openxmlformats.org/officeDocument/2006/relationships/image" Target="../media/image350.png"/><Relationship Id="rId29" Type="http://schemas.openxmlformats.org/officeDocument/2006/relationships/customXml" Target="../ink/ink40.xml"/><Relationship Id="rId1" Type="http://schemas.openxmlformats.org/officeDocument/2006/relationships/tags" Target="../tags/tag16.xml"/><Relationship Id="rId6" Type="http://schemas.openxmlformats.org/officeDocument/2006/relationships/image" Target="../media/image14.png"/><Relationship Id="rId11" Type="http://schemas.openxmlformats.org/officeDocument/2006/relationships/customXml" Target="../ink/ink31.xml"/><Relationship Id="rId24" Type="http://schemas.openxmlformats.org/officeDocument/2006/relationships/image" Target="../media/image370.png"/><Relationship Id="rId32" Type="http://schemas.openxmlformats.org/officeDocument/2006/relationships/image" Target="../media/image410.png"/><Relationship Id="rId5" Type="http://schemas.openxmlformats.org/officeDocument/2006/relationships/image" Target="../media/image18.png"/><Relationship Id="rId15" Type="http://schemas.openxmlformats.org/officeDocument/2006/relationships/customXml" Target="../ink/ink33.xml"/><Relationship Id="rId23" Type="http://schemas.openxmlformats.org/officeDocument/2006/relationships/customXml" Target="../ink/ink37.xml"/><Relationship Id="rId28" Type="http://schemas.openxmlformats.org/officeDocument/2006/relationships/image" Target="../media/image390.png"/><Relationship Id="rId10" Type="http://schemas.openxmlformats.org/officeDocument/2006/relationships/image" Target="../media/image49.png"/><Relationship Id="rId19" Type="http://schemas.openxmlformats.org/officeDocument/2006/relationships/customXml" Target="../ink/ink35.xml"/><Relationship Id="rId31" Type="http://schemas.openxmlformats.org/officeDocument/2006/relationships/customXml" Target="../ink/ink41.xml"/><Relationship Id="rId4" Type="http://schemas.openxmlformats.org/officeDocument/2006/relationships/image" Target="../media/image6.emf"/><Relationship Id="rId9" Type="http://schemas.microsoft.com/office/2017/06/relationships/model3d" Target="../media/model3d2.glb"/><Relationship Id="rId14" Type="http://schemas.openxmlformats.org/officeDocument/2006/relationships/image" Target="../media/image320.png"/><Relationship Id="rId22" Type="http://schemas.openxmlformats.org/officeDocument/2006/relationships/image" Target="../media/image360.png"/><Relationship Id="rId27" Type="http://schemas.openxmlformats.org/officeDocument/2006/relationships/customXml" Target="../ink/ink39.xml"/><Relationship Id="rId30" Type="http://schemas.openxmlformats.org/officeDocument/2006/relationships/image" Target="../media/image400.png"/><Relationship Id="rId8" Type="http://schemas.openxmlformats.org/officeDocument/2006/relationships/image" Target="../media/image16.png"/></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97.xml"/><Relationship Id="rId4" Type="http://schemas.openxmlformats.org/officeDocument/2006/relationships/image" Target="../media/image82.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98.emf"/></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99.xml"/><Relationship Id="rId5" Type="http://schemas.openxmlformats.org/officeDocument/2006/relationships/image" Target="../media/image99.emf"/><Relationship Id="rId4" Type="http://schemas.openxmlformats.org/officeDocument/2006/relationships/oleObject" Target="../embeddings/oleObject98.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0.xml"/><Relationship Id="rId5" Type="http://schemas.openxmlformats.org/officeDocument/2006/relationships/chart" Target="../charts/chart26.xml"/><Relationship Id="rId4" Type="http://schemas.openxmlformats.org/officeDocument/2006/relationships/image" Target="../media/image100.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0.bin"/><Relationship Id="rId7"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10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2.xml"/><Relationship Id="rId1" Type="http://schemas.openxmlformats.org/officeDocument/2006/relationships/tags" Target="../tags/tag102.xml"/><Relationship Id="rId5" Type="http://schemas.openxmlformats.org/officeDocument/2006/relationships/chart" Target="../charts/chart30.xml"/><Relationship Id="rId4" Type="http://schemas.openxmlformats.org/officeDocument/2006/relationships/image" Target="../media/image82.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chart" Target="../charts/chart31.xml"/><Relationship Id="rId4" Type="http://schemas.openxmlformats.org/officeDocument/2006/relationships/image" Target="../media/image82.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03.bin"/><Relationship Id="rId7" Type="http://schemas.openxmlformats.org/officeDocument/2006/relationships/chart" Target="../charts/chart34.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102.emf"/></Relationships>
</file>

<file path=ppt/slides/_rels/slide98.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oleObject" Target="../embeddings/oleObject104.bin"/><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103.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chart" Target="../charts/chart39.xml"/><Relationship Id="rId4" Type="http://schemas.openxmlformats.org/officeDocument/2006/relationships/image" Target="../media/image10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extLst>
              <p:ext uri="{D42A27DB-BD31-4B8C-83A1-F6EECF244321}">
                <p14:modId xmlns:p14="http://schemas.microsoft.com/office/powerpoint/2010/main" val="352000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1E525-289E-9356-8C00-0420F78081E3}"/>
              </a:ext>
            </a:extLst>
          </p:cNvPr>
          <p:cNvSpPr>
            <a:spLocks noGrp="1"/>
          </p:cNvSpPr>
          <p:nvPr>
            <p:ph type="title"/>
          </p:nvPr>
        </p:nvSpPr>
        <p:spPr>
          <a:xfrm>
            <a:off x="384174" y="5027251"/>
            <a:ext cx="10969625" cy="1570399"/>
          </a:xfrm>
        </p:spPr>
        <p:txBody>
          <a:bodyPr vert="horz"/>
          <a:lstStyle/>
          <a:p>
            <a:r>
              <a:rPr lang="en-US" sz="4800" dirty="0">
                <a:latin typeface="Arial" panose="020B0604020202020204" pitchFamily="34" charset="0"/>
                <a:cs typeface="Arial" panose="020B0604020202020204" pitchFamily="34" charset="0"/>
                <a:sym typeface="Verdana" panose="020B0604030504040204" pitchFamily="34" charset="0"/>
              </a:rPr>
              <a:t>Control system for in-vivo micro scale surgical robot</a:t>
            </a:r>
          </a:p>
        </p:txBody>
      </p:sp>
      <p:pic>
        <p:nvPicPr>
          <p:cNvPr id="9" name="Picture Placeholder 8" descr="Shape&#10;&#10;Description automatically generated with medium confidence">
            <a:extLst>
              <a:ext uri="{FF2B5EF4-FFF2-40B4-BE49-F238E27FC236}">
                <a16:creationId xmlns:a16="http://schemas.microsoft.com/office/drawing/2014/main" id="{71CBE68B-87DC-BB88-B767-E5F93F1F93D8}"/>
              </a:ext>
            </a:extLst>
          </p:cNvPr>
          <p:cNvPicPr>
            <a:picLocks noGrp="1" noChangeAspect="1"/>
          </p:cNvPicPr>
          <p:nvPr>
            <p:ph type="pic" sz="quarter" idx="4294967295"/>
          </p:nvPr>
        </p:nvPicPr>
        <p:blipFill rotWithShape="1">
          <a:blip r:embed="rId6">
            <a:lum bright="70000" contrast="-70000"/>
            <a:alphaModFix amt="95000"/>
          </a:blip>
          <a:srcRect l="-2811" t="1" r="-3521" b="-26748"/>
          <a:stretch/>
        </p:blipFill>
        <p:spPr>
          <a:xfrm>
            <a:off x="6574450" y="446087"/>
            <a:ext cx="5424488" cy="915988"/>
          </a:xfrm>
          <a:noFill/>
        </p:spPr>
      </p:pic>
      <p:sp>
        <p:nvSpPr>
          <p:cNvPr id="16" name="Título 4">
            <a:extLst>
              <a:ext uri="{FF2B5EF4-FFF2-40B4-BE49-F238E27FC236}">
                <a16:creationId xmlns:a16="http://schemas.microsoft.com/office/drawing/2014/main" id="{16D7D5E2-84F1-0A0A-B765-7C1841DA64F9}"/>
              </a:ext>
            </a:extLst>
          </p:cNvPr>
          <p:cNvSpPr txBox="1">
            <a:spLocks/>
          </p:cNvSpPr>
          <p:nvPr/>
        </p:nvSpPr>
        <p:spPr>
          <a:xfrm>
            <a:off x="8338012" y="5822950"/>
            <a:ext cx="3259798"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gn="r">
              <a:lnSpc>
                <a:spcPct val="150000"/>
              </a:lnSpc>
            </a:pPr>
            <a:r>
              <a:rPr lang="en-US" dirty="0">
                <a:latin typeface="Arial" panose="020B0604020202020204" pitchFamily="34" charset="0"/>
                <a:cs typeface="Arial" panose="020B0604020202020204" pitchFamily="34" charset="0"/>
              </a:rPr>
              <a:t>Jan 2023</a:t>
            </a:r>
          </a:p>
        </p:txBody>
      </p:sp>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6610410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otential field and gradient descent approach to path planning</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5770534" y="1520825"/>
            <a:ext cx="5770533" cy="1015663"/>
          </a:xfrm>
          <a:noFill/>
        </p:spPr>
        <p:txBody>
          <a:bodyPr wrap="square">
            <a:spAutoFit/>
          </a:bodyPr>
          <a:lstStyle/>
          <a:p>
            <a:pPr defTabSz="914400"/>
            <a:r>
              <a:rPr lang="en-US" sz="1100" b="0" dirty="0">
                <a:latin typeface="Arial" panose="020B0604020202020204" pitchFamily="34" charset="0"/>
                <a:ea typeface="+mn-ea"/>
                <a:cs typeface="Arial" panose="020B0604020202020204" pitchFamily="34" charset="0"/>
              </a:rPr>
              <a:t>The basic idea behind the potential eld approach is to treat the robot as a point particle in the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space under the in </a:t>
            </a:r>
            <a:r>
              <a:rPr lang="en-US" sz="1100" b="0" dirty="0" err="1">
                <a:latin typeface="Arial" panose="020B0604020202020204" pitchFamily="34" charset="0"/>
                <a:ea typeface="+mn-ea"/>
                <a:cs typeface="Arial" panose="020B0604020202020204" pitchFamily="34" charset="0"/>
              </a:rPr>
              <a:t>uence</a:t>
            </a:r>
            <a:r>
              <a:rPr lang="en-US" sz="1100" b="0" dirty="0">
                <a:latin typeface="Arial" panose="020B0604020202020204" pitchFamily="34" charset="0"/>
                <a:ea typeface="+mn-ea"/>
                <a:cs typeface="Arial" panose="020B0604020202020204" pitchFamily="34" charset="0"/>
              </a:rPr>
              <a:t> of an </a:t>
            </a:r>
            <a:r>
              <a:rPr lang="en-US" sz="1100" b="0" dirty="0" err="1">
                <a:latin typeface="Arial" panose="020B0604020202020204" pitchFamily="34" charset="0"/>
                <a:ea typeface="+mn-ea"/>
                <a:cs typeface="Arial" panose="020B0604020202020204" pitchFamily="34" charset="0"/>
              </a:rPr>
              <a:t>articial</a:t>
            </a:r>
            <a:r>
              <a:rPr lang="en-US" sz="1100" b="0" dirty="0">
                <a:latin typeface="Arial" panose="020B0604020202020204" pitchFamily="34" charset="0"/>
                <a:ea typeface="+mn-ea"/>
                <a:cs typeface="Arial" panose="020B0604020202020204" pitchFamily="34" charset="0"/>
              </a:rPr>
              <a:t> potential eld U. The eld U is constructed so that the robot is attracted to the </a:t>
            </a:r>
            <a:r>
              <a:rPr lang="en-US" sz="1100" b="0" dirty="0" err="1">
                <a:latin typeface="Arial" panose="020B0604020202020204" pitchFamily="34" charset="0"/>
                <a:ea typeface="+mn-ea"/>
                <a:cs typeface="Arial" panose="020B0604020202020204" pitchFamily="34" charset="0"/>
              </a:rPr>
              <a:t>nal</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conguration</a:t>
            </a:r>
            <a:r>
              <a:rPr lang="en-US" sz="1100" b="0" dirty="0">
                <a:latin typeface="Arial" panose="020B0604020202020204" pitchFamily="34" charset="0"/>
                <a:ea typeface="+mn-ea"/>
                <a:cs typeface="Arial" panose="020B0604020202020204" pitchFamily="34" charset="0"/>
              </a:rPr>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while being repelled from the boundaries of QO. If possible, U is constructed so that there is a single global minimum of U at </a:t>
            </a:r>
            <a:r>
              <a:rPr lang="en-US" sz="1100" b="0" dirty="0" err="1">
                <a:latin typeface="Arial" panose="020B0604020202020204" pitchFamily="34" charset="0"/>
                <a:ea typeface="+mn-ea"/>
                <a:cs typeface="Arial" panose="020B0604020202020204" pitchFamily="34" charset="0"/>
              </a:rPr>
              <a:t>qf</a:t>
            </a:r>
            <a:r>
              <a:rPr lang="en-US" sz="1100" b="0" dirty="0">
                <a:latin typeface="Arial" panose="020B0604020202020204" pitchFamily="34" charset="0"/>
                <a:ea typeface="+mn-ea"/>
                <a:cs typeface="Arial" panose="020B0604020202020204" pitchFamily="34" charset="0"/>
              </a:rPr>
              <a:t> and there are no local minima. Unfortunately, it is typically </a:t>
            </a:r>
            <a:r>
              <a:rPr lang="en-US" sz="1100" b="0" dirty="0" err="1">
                <a:latin typeface="Arial" panose="020B0604020202020204" pitchFamily="34" charset="0"/>
                <a:ea typeface="+mn-ea"/>
                <a:cs typeface="Arial" panose="020B0604020202020204" pitchFamily="34" charset="0"/>
              </a:rPr>
              <a:t>dicult</a:t>
            </a:r>
            <a:r>
              <a:rPr lang="en-US" sz="1100" b="0" dirty="0">
                <a:latin typeface="Arial" panose="020B0604020202020204" pitchFamily="34" charset="0"/>
                <a:ea typeface="+mn-ea"/>
                <a:cs typeface="Arial" panose="020B0604020202020204" pitchFamily="34" charset="0"/>
              </a:rPr>
              <a:t> or even impossible to construct such a eld. </a:t>
            </a:r>
          </a:p>
        </p:txBody>
      </p:sp>
      <p:sp>
        <p:nvSpPr>
          <p:cNvPr id="9" name="TextBox 8">
            <a:extLst>
              <a:ext uri="{FF2B5EF4-FFF2-40B4-BE49-F238E27FC236}">
                <a16:creationId xmlns:a16="http://schemas.microsoft.com/office/drawing/2014/main" id="{7A278CB8-5C45-AEE7-67D7-BF7017FB9EF6}"/>
              </a:ext>
            </a:extLst>
          </p:cNvPr>
          <p:cNvSpPr txBox="1"/>
          <p:nvPr/>
        </p:nvSpPr>
        <p:spPr>
          <a:xfrm>
            <a:off x="-5770534" y="2678752"/>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Given this formulation path planning can be treated as an optimization problem, namely the problem of </a:t>
            </a:r>
            <a:r>
              <a:rPr lang="en-US" dirty="0" err="1"/>
              <a:t>nding</a:t>
            </a:r>
            <a:r>
              <a:rPr lang="en-US" dirty="0"/>
              <a:t> the global minimum of U starting from initial </a:t>
            </a:r>
            <a:r>
              <a:rPr lang="en-US" dirty="0" err="1"/>
              <a:t>conguration</a:t>
            </a:r>
            <a:r>
              <a:rPr lang="en-US" dirty="0"/>
              <a:t> </a:t>
            </a:r>
            <a:r>
              <a:rPr lang="en-US" dirty="0" err="1"/>
              <a:t>qs</a:t>
            </a:r>
            <a:r>
              <a:rPr lang="en-US" dirty="0"/>
              <a:t>, and gradient descent methods are often used to </a:t>
            </a:r>
            <a:r>
              <a:rPr lang="en-US" dirty="0" err="1"/>
              <a:t>nd</a:t>
            </a:r>
            <a:r>
              <a:rPr lang="en-US" dirty="0"/>
              <a:t> a solution. In physics, a conservative force eld can be written as the negative gradient of a potential function. Thus, we may interpret gradient descent as being analogous to a particle moving under the in </a:t>
            </a:r>
            <a:r>
              <a:rPr lang="en-US" dirty="0" err="1"/>
              <a:t>uence</a:t>
            </a:r>
            <a:r>
              <a:rPr lang="en-US" dirty="0"/>
              <a:t> of the force F = 􀀀</a:t>
            </a:r>
            <a:r>
              <a:rPr lang="en-US" dirty="0" err="1"/>
              <a:t>rU</a:t>
            </a:r>
            <a:r>
              <a:rPr lang="en-US" dirty="0"/>
              <a:t>. Below we frequently refer to attractive and repulsive forces in order to exploit this natural intuition when </a:t>
            </a:r>
            <a:r>
              <a:rPr lang="en-US" dirty="0" err="1"/>
              <a:t>dening</a:t>
            </a:r>
            <a:r>
              <a:rPr lang="en-US" dirty="0"/>
              <a:t> potential elds. </a:t>
            </a:r>
          </a:p>
        </p:txBody>
      </p:sp>
      <p:sp>
        <p:nvSpPr>
          <p:cNvPr id="15" name="TextBox 14">
            <a:extLst>
              <a:ext uri="{FF2B5EF4-FFF2-40B4-BE49-F238E27FC236}">
                <a16:creationId xmlns:a16="http://schemas.microsoft.com/office/drawing/2014/main" id="{F6F2E590-75C7-1016-DBD5-BFE4B146AEF1}"/>
              </a:ext>
            </a:extLst>
          </p:cNvPr>
          <p:cNvSpPr txBox="1"/>
          <p:nvPr/>
        </p:nvSpPr>
        <p:spPr>
          <a:xfrm>
            <a:off x="-5770533" y="4115759"/>
            <a:ext cx="5770533" cy="1015663"/>
          </a:xfrm>
          <a:prstGeom prst="rect">
            <a:avLst/>
          </a:prstGeom>
          <a:noFill/>
        </p:spPr>
        <p:txBody>
          <a:bodyPr vert="horz" wrap="square" lIns="0" tIns="0" rIns="0" bIns="0" rtlCol="0">
            <a:noAutofit/>
          </a:bodyPr>
          <a:lstStyle>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To attract the robot to its goal </a:t>
            </a:r>
            <a:r>
              <a:rPr lang="en-US" dirty="0" err="1"/>
              <a:t>conguration</a:t>
            </a:r>
            <a:r>
              <a:rPr lang="en-US" dirty="0"/>
              <a:t>, we will dene an attractive potential eld </a:t>
            </a:r>
            <a:r>
              <a:rPr lang="en-US" dirty="0" err="1"/>
              <a:t>Uatt;i</a:t>
            </a:r>
            <a:r>
              <a:rPr lang="en-US" dirty="0"/>
              <a:t> for oi, the origin of the </a:t>
            </a:r>
            <a:r>
              <a:rPr lang="en-US" dirty="0" err="1"/>
              <a:t>ith</a:t>
            </a:r>
            <a:r>
              <a:rPr lang="en-US" dirty="0"/>
              <a:t> DH frame. When all n origins reach their goal positions, the arm will have reached its goal </a:t>
            </a:r>
            <a:r>
              <a:rPr lang="en-US" dirty="0" err="1"/>
              <a:t>conguration</a:t>
            </a:r>
            <a:r>
              <a:rPr lang="en-US" dirty="0"/>
              <a:t>. As above, choices include the conic well and parabolic well potentials</a:t>
            </a:r>
          </a:p>
        </p:txBody>
      </p:sp>
      <p:sp>
        <p:nvSpPr>
          <p:cNvPr id="19" name="TextBox 18">
            <a:extLst>
              <a:ext uri="{FF2B5EF4-FFF2-40B4-BE49-F238E27FC236}">
                <a16:creationId xmlns:a16="http://schemas.microsoft.com/office/drawing/2014/main" id="{FBD4711A-7012-640E-3213-D7AF07FF8B6A}"/>
              </a:ext>
            </a:extLst>
          </p:cNvPr>
          <p:cNvSpPr txBox="1"/>
          <p:nvPr/>
        </p:nvSpPr>
        <p:spPr>
          <a:xfrm>
            <a:off x="-5770533" y="5019770"/>
            <a:ext cx="5770533" cy="1015663"/>
          </a:xfrm>
          <a:prstGeom prst="rect">
            <a:avLst/>
          </a:prstGeom>
          <a:noFill/>
        </p:spPr>
        <p:txBody>
          <a:bodyPr vert="horz" wrap="square" lIns="0" tIns="0" rIns="0" bIns="0" rtlCol="0">
            <a:noAutofit/>
          </a:bodyPr>
          <a:lstStyle>
            <a:defPPr>
              <a:defRPr lang="en-US"/>
            </a:defPPr>
            <a:lvl1pPr indent="0">
              <a:lnSpc>
                <a:spcPct val="100000"/>
              </a:lnSpc>
              <a:spcBef>
                <a:spcPts val="0"/>
              </a:spcBef>
              <a:spcAft>
                <a:spcPts val="1200"/>
              </a:spcAft>
              <a:buFont typeface="Arial" panose="020B0604020202020204" pitchFamily="34" charset="0"/>
              <a:buNone/>
              <a:defRPr sz="1100" b="0">
                <a:latin typeface="Arial" panose="020B0604020202020204" pitchFamily="34" charset="0"/>
                <a:cs typeface="Arial" panose="020B060402020202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defRPr>
            </a:lvl9pPr>
          </a:lstStyle>
          <a:p>
            <a:r>
              <a:rPr lang="en-US" dirty="0"/>
              <a:t>To prevent collisions, we will dene a workspace repulsive potential eld for the origin of each DH frame (excluding frame 0). Note that by </a:t>
            </a:r>
            <a:r>
              <a:rPr lang="en-US" dirty="0" err="1"/>
              <a:t>dening</a:t>
            </a:r>
            <a:r>
              <a:rPr lang="en-US" dirty="0"/>
              <a:t> repulsive potentials only for the origins of the DH frames we cannot ensure that collisions </a:t>
            </a:r>
            <a:r>
              <a:rPr lang="en-US" dirty="0">
                <a:sym typeface="Verdana" panose="020B0604030504040204" pitchFamily="34" charset="0"/>
              </a:rPr>
              <a:t>never</a:t>
            </a:r>
            <a:r>
              <a:rPr lang="en-US" dirty="0"/>
              <a:t> occur (for example, the middle portion of a long link might collide with an obstacle), but it is fairly easy to modify the method to prevent such collisions as we will see below. For now, we will deal only with the origins of the DH frames.</a:t>
            </a:r>
          </a:p>
        </p:txBody>
      </p:sp>
      <p:pic>
        <p:nvPicPr>
          <p:cNvPr id="23" name="Picture 22">
            <a:extLst>
              <a:ext uri="{FF2B5EF4-FFF2-40B4-BE49-F238E27FC236}">
                <a16:creationId xmlns:a16="http://schemas.microsoft.com/office/drawing/2014/main" id="{B6BF28AC-6871-D3F7-353F-7355038155B0}"/>
              </a:ext>
            </a:extLst>
          </p:cNvPr>
          <p:cNvPicPr>
            <a:picLocks noChangeAspect="1"/>
          </p:cNvPicPr>
          <p:nvPr/>
        </p:nvPicPr>
        <p:blipFill>
          <a:blip r:embed="rId5"/>
          <a:stretch>
            <a:fillRect/>
          </a:stretch>
        </p:blipFill>
        <p:spPr>
          <a:xfrm>
            <a:off x="12367846" y="1376363"/>
            <a:ext cx="5414027" cy="4745770"/>
          </a:xfrm>
          <a:prstGeom prst="rect">
            <a:avLst/>
          </a:prstGeom>
        </p:spPr>
      </p:pic>
      <p:sp>
        <p:nvSpPr>
          <p:cNvPr id="22" name="Marcador de texto 3">
            <a:extLst>
              <a:ext uri="{FF2B5EF4-FFF2-40B4-BE49-F238E27FC236}">
                <a16:creationId xmlns:a16="http://schemas.microsoft.com/office/drawing/2014/main" id="{B24A2E67-948B-8FA1-AAD9-E6B6468BD6B3}"/>
              </a:ext>
            </a:extLst>
          </p:cNvPr>
          <p:cNvSpPr txBox="1">
            <a:spLocks/>
          </p:cNvSpPr>
          <p:nvPr/>
        </p:nvSpPr>
        <p:spPr>
          <a:xfrm>
            <a:off x="371475" y="1520824"/>
            <a:ext cx="5610225" cy="4708525"/>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reat robot as a point particle in configuration space under the influence of a potential field</a:t>
            </a:r>
          </a:p>
          <a:p>
            <a:pPr marL="514304" lvl="1" indent="-285750">
              <a:spcAft>
                <a:spcPts val="600"/>
              </a:spcAft>
            </a:pPr>
            <a:r>
              <a:rPr lang="en-US" sz="1600" b="0" dirty="0">
                <a:latin typeface="Calibri" panose="020F0502020204030204" pitchFamily="34" charset="0"/>
                <a:cs typeface="Calibri" panose="020F0502020204030204" pitchFamily="34" charset="0"/>
              </a:rPr>
              <a:t>By design, the potential field attracts the robot to the final configuration and repels the robot from boundaries of the free configuration space</a:t>
            </a:r>
          </a:p>
          <a:p>
            <a:pPr marL="514304" lvl="1" indent="-285750">
              <a:spcAft>
                <a:spcPts val="600"/>
              </a:spcAft>
            </a:pPr>
            <a:r>
              <a:rPr lang="en-US" sz="1600" dirty="0">
                <a:latin typeface="Calibri" panose="020F0502020204030204" pitchFamily="34" charset="0"/>
                <a:cs typeface="Calibri" panose="020F0502020204030204" pitchFamily="34" charset="0"/>
              </a:rPr>
              <a:t>If possible, ensure potential field does not have local minim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practice, we implement this using a distinct attractive and repulsive potential field:</a:t>
            </a:r>
          </a:p>
          <a:p>
            <a:pPr marL="514304" lvl="1" indent="-285750" defTabSz="914400">
              <a:spcAft>
                <a:spcPts val="600"/>
              </a:spcAft>
              <a:defRPr/>
            </a:pPr>
            <a:r>
              <a:rPr lang="en-US" sz="1600" dirty="0">
                <a:solidFill>
                  <a:srgbClr val="000000"/>
                </a:solidFill>
                <a:latin typeface="Calibri" panose="020F0502020204030204" pitchFamily="34" charset="0"/>
                <a:ea typeface="+mn-ea"/>
                <a:cs typeface="Calibri" panose="020F0502020204030204" pitchFamily="34" charset="0"/>
              </a:rPr>
              <a:t>Attractive field: (i) monotonically increasing with distance to goal configuration; (ii) well-defined gradient; (iii) zero attractive force at the goal configuration</a:t>
            </a:r>
          </a:p>
          <a:p>
            <a:pPr marL="514304" lvl="1" indent="-285750" defTabSz="914400">
              <a:spcAft>
                <a:spcPts val="600"/>
              </a:spcAf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pulsive field: to prevent robot from colliding with obstacles and when robot is far away from obstacles to exert minimal force. </a:t>
            </a:r>
            <a:r>
              <a:rPr lang="en-US" sz="1600" dirty="0">
                <a:solidFill>
                  <a:srgbClr val="000000"/>
                </a:solidFill>
                <a:latin typeface="Calibri" panose="020F0502020204030204" pitchFamily="34" charset="0"/>
                <a:ea typeface="+mn-ea"/>
                <a:cs typeface="Calibri" panose="020F0502020204030204" pitchFamily="34" charset="0"/>
              </a:rPr>
              <a:t>To facilitate this, d</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fine</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epulsive potential fields at each obstacle + every DH frame of the robot</a:t>
            </a:r>
            <a:endParaRPr lang="en-US" sz="1600" dirty="0">
              <a:latin typeface="Calibri" panose="020F0502020204030204" pitchFamily="34" charset="0"/>
              <a:cs typeface="Calibri" panose="020F0502020204030204" pitchFamily="34" charset="0"/>
            </a:endParaRPr>
          </a:p>
          <a:p>
            <a:pPr marL="285750" indent="-285750">
              <a:spcAft>
                <a:spcPts val="600"/>
              </a:spcAft>
            </a:pPr>
            <a:endParaRPr lang="en-US" sz="1600" b="0" dirty="0">
              <a:latin typeface="Calibri" panose="020F0502020204030204" pitchFamily="34" charset="0"/>
              <a:cs typeface="Calibri" panose="020F0502020204030204" pitchFamily="34" charset="0"/>
            </a:endParaRPr>
          </a:p>
          <a:p>
            <a:pPr marL="285750" indent="-285750">
              <a:spcAft>
                <a:spcPts val="600"/>
              </a:spcAft>
            </a:pPr>
            <a:endParaRPr lang="en-US" sz="1600" b="0" dirty="0">
              <a:latin typeface="Calibri" panose="020F0502020204030204" pitchFamily="34" charset="0"/>
              <a:cs typeface="Calibri" panose="020F0502020204030204" pitchFamily="34" charset="0"/>
            </a:endParaRPr>
          </a:p>
        </p:txBody>
      </p:sp>
      <p:sp>
        <p:nvSpPr>
          <p:cNvPr id="24" name="Marcador de texto 3">
            <a:extLst>
              <a:ext uri="{FF2B5EF4-FFF2-40B4-BE49-F238E27FC236}">
                <a16:creationId xmlns:a16="http://schemas.microsoft.com/office/drawing/2014/main" id="{F53B7C2B-BECA-4926-9FB6-A548E017BBD2}"/>
              </a:ext>
            </a:extLst>
          </p:cNvPr>
          <p:cNvSpPr txBox="1">
            <a:spLocks/>
          </p:cNvSpPr>
          <p:nvPr/>
        </p:nvSpPr>
        <p:spPr>
          <a:xfrm>
            <a:off x="6221039" y="1520824"/>
            <a:ext cx="5610225" cy="4347703"/>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refresher, this involves taking small steps in the direction of the negative gradient and repeating until the final configuration is reached; the configurations explored in this method form waypoints in our path</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erminate when configuration reaches sufficiently near the goal configuration based on a tolerance selected for the task</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he problem that plagues all gradient descent algorithms is the possible existence of local minima in the potential field. </a:t>
            </a:r>
          </a:p>
          <a:p>
            <a:pPr marL="514304" lvl="1" indent="-285750">
              <a:spcAft>
                <a:spcPts val="600"/>
              </a:spcAft>
            </a:pPr>
            <a:r>
              <a:rPr lang="en-US" sz="1600" b="0" dirty="0">
                <a:latin typeface="Calibri" panose="020F0502020204030204" pitchFamily="34" charset="0"/>
                <a:cs typeface="Calibri" panose="020F0502020204030204" pitchFamily="34" charset="0"/>
              </a:rPr>
              <a:t>To detect these local minima, we can check if successive configurations lie within a small region of the configuration space, there is likely a local minima nearby</a:t>
            </a:r>
          </a:p>
          <a:p>
            <a:pPr marL="514304" lvl="1" indent="-285750">
              <a:spcAft>
                <a:spcPts val="600"/>
              </a:spcAft>
            </a:pPr>
            <a:r>
              <a:rPr lang="en-US" sz="1600" b="0" dirty="0">
                <a:latin typeface="Calibri" panose="020F0502020204030204" pitchFamily="34" charset="0"/>
                <a:cs typeface="Calibri" panose="020F0502020204030204" pitchFamily="34" charset="0"/>
              </a:rPr>
              <a:t>We can escape the local minima by defining a random walk once if/when the planner gets stuck; the random walk can be generated by adding a small fixed constant to current configuration</a:t>
            </a:r>
          </a:p>
          <a:p>
            <a:pPr marL="514304" lvl="1" indent="-285750">
              <a:spcAft>
                <a:spcPts val="600"/>
              </a:spcAft>
            </a:pPr>
            <a:endParaRPr lang="en-US" sz="1600" b="0" dirty="0">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E16EC91D-D67D-D084-802E-DBAA4D61B49C}"/>
              </a:ext>
            </a:extLst>
          </p:cNvPr>
          <p:cNvSpPr/>
          <p:nvPr/>
        </p:nvSpPr>
        <p:spPr>
          <a:xfrm>
            <a:off x="384174" y="989472"/>
            <a:ext cx="5711826"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Overview and formulation of potential field approach</a:t>
            </a:r>
          </a:p>
        </p:txBody>
      </p:sp>
      <p:sp>
        <p:nvSpPr>
          <p:cNvPr id="26" name="Rectangle 25">
            <a:extLst>
              <a:ext uri="{FF2B5EF4-FFF2-40B4-BE49-F238E27FC236}">
                <a16:creationId xmlns:a16="http://schemas.microsoft.com/office/drawing/2014/main" id="{81EBB276-6940-3550-33F1-9FD47980402E}"/>
              </a:ext>
            </a:extLst>
          </p:cNvPr>
          <p:cNvSpPr/>
          <p:nvPr/>
        </p:nvSpPr>
        <p:spPr>
          <a:xfrm>
            <a:off x="6180136" y="989472"/>
            <a:ext cx="5640389"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Generating path using gradient descent</a:t>
            </a:r>
          </a:p>
        </p:txBody>
      </p:sp>
    </p:spTree>
    <p:extLst>
      <p:ext uri="{BB962C8B-B14F-4D97-AF65-F5344CB8AC3E}">
        <p14:creationId xmlns:p14="http://schemas.microsoft.com/office/powerpoint/2010/main" val="17695329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D4CAD4D-8B83-C28F-6F66-389C7DC5C042}"/>
              </a:ext>
            </a:extLst>
          </p:cNvPr>
          <p:cNvGraphicFramePr>
            <a:graphicFrameLocks noChangeAspect="1"/>
          </p:cNvGraphicFramePr>
          <p:nvPr>
            <p:custDataLst>
              <p:tags r:id="rId1"/>
            </p:custDataLst>
            <p:extLst>
              <p:ext uri="{D42A27DB-BD31-4B8C-83A1-F6EECF244321}">
                <p14:modId xmlns:p14="http://schemas.microsoft.com/office/powerpoint/2010/main" val="474576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D4CAD4D-8B83-C28F-6F66-389C7DC5C0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6BF97CF8-E95B-A1AC-1F1F-F61125CA7891}"/>
              </a:ext>
            </a:extLst>
          </p:cNvPr>
          <p:cNvSpPr>
            <a:spLocks noGrp="1"/>
          </p:cNvSpPr>
          <p:nvPr>
            <p:ph type="body" sz="quarter" idx="14"/>
          </p:nvPr>
        </p:nvSpPr>
        <p:spPr/>
        <p:txBody>
          <a:bodyPr/>
          <a:lstStyle/>
          <a:p>
            <a:r>
              <a:rPr lang="en-US" dirty="0"/>
              <a:t>Subtitle</a:t>
            </a:r>
          </a:p>
        </p:txBody>
      </p:sp>
      <p:sp>
        <p:nvSpPr>
          <p:cNvPr id="12" name="Freeform 6">
            <a:extLst>
              <a:ext uri="{FF2B5EF4-FFF2-40B4-BE49-F238E27FC236}">
                <a16:creationId xmlns:a16="http://schemas.microsoft.com/office/drawing/2014/main" id="{B6B3171D-E618-6AA9-1251-F1F7C9DD22BE}"/>
              </a:ext>
            </a:extLst>
          </p:cNvPr>
          <p:cNvSpPr>
            <a:spLocks/>
          </p:cNvSpPr>
          <p:nvPr/>
        </p:nvSpPr>
        <p:spPr bwMode="auto">
          <a:xfrm rot="10800000">
            <a:off x="9700515" y="1520825"/>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D" sz="3599" dirty="0">
              <a:latin typeface="Roboto Light" panose="02000000000000000000" pitchFamily="2" charset="0"/>
            </a:endParaRPr>
          </a:p>
        </p:txBody>
      </p:sp>
      <p:sp>
        <p:nvSpPr>
          <p:cNvPr id="13" name="Freeform 6">
            <a:extLst>
              <a:ext uri="{FF2B5EF4-FFF2-40B4-BE49-F238E27FC236}">
                <a16:creationId xmlns:a16="http://schemas.microsoft.com/office/drawing/2014/main" id="{77D5C9B5-3E56-1928-091F-2EC77E755416}"/>
              </a:ext>
            </a:extLst>
          </p:cNvPr>
          <p:cNvSpPr>
            <a:spLocks/>
          </p:cNvSpPr>
          <p:nvPr/>
        </p:nvSpPr>
        <p:spPr bwMode="auto">
          <a:xfrm rot="10800000">
            <a:off x="9700515" y="2755229"/>
            <a:ext cx="2132709" cy="1047191"/>
          </a:xfrm>
          <a:custGeom>
            <a:avLst/>
            <a:gdLst>
              <a:gd name="T0" fmla="*/ 2215516 w 702"/>
              <a:gd name="T1" fmla="*/ 545358 h 343"/>
              <a:gd name="T2" fmla="*/ 1934631 w 702"/>
              <a:gd name="T3" fmla="*/ 383653 h 343"/>
              <a:gd name="T4" fmla="*/ 1934631 w 702"/>
              <a:gd name="T5" fmla="*/ 152193 h 343"/>
              <a:gd name="T6" fmla="*/ 1783143 w 702"/>
              <a:gd name="T7" fmla="*/ 0 h 343"/>
              <a:gd name="T8" fmla="*/ 151488 w 702"/>
              <a:gd name="T9" fmla="*/ 0 h 343"/>
              <a:gd name="T10" fmla="*/ 0 w 702"/>
              <a:gd name="T11" fmla="*/ 152193 h 343"/>
              <a:gd name="T12" fmla="*/ 0 w 702"/>
              <a:gd name="T13" fmla="*/ 935353 h 343"/>
              <a:gd name="T14" fmla="*/ 151488 w 702"/>
              <a:gd name="T15" fmla="*/ 1087546 h 343"/>
              <a:gd name="T16" fmla="*/ 1783143 w 702"/>
              <a:gd name="T17" fmla="*/ 1087546 h 343"/>
              <a:gd name="T18" fmla="*/ 1934631 w 702"/>
              <a:gd name="T19" fmla="*/ 935353 h 343"/>
              <a:gd name="T20" fmla="*/ 1934631 w 702"/>
              <a:gd name="T21" fmla="*/ 703893 h 343"/>
              <a:gd name="T22" fmla="*/ 2215516 w 702"/>
              <a:gd name="T23" fmla="*/ 545358 h 3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tx2"/>
          </a:solidFill>
          <a:ln>
            <a:noFill/>
          </a:ln>
        </p:spPr>
        <p:txBody>
          <a:bodyPr/>
          <a:lstStyle/>
          <a:p>
            <a:endParaRPr lang="en-ID" sz="3599" dirty="0">
              <a:latin typeface="Roboto Light" panose="02000000000000000000" pitchFamily="2" charset="0"/>
            </a:endParaRPr>
          </a:p>
        </p:txBody>
      </p:sp>
      <p:sp>
        <p:nvSpPr>
          <p:cNvPr id="14" name="Freeform 6">
            <a:extLst>
              <a:ext uri="{FF2B5EF4-FFF2-40B4-BE49-F238E27FC236}">
                <a16:creationId xmlns:a16="http://schemas.microsoft.com/office/drawing/2014/main" id="{BA07E4F5-C147-4882-2E12-674B504893D8}"/>
              </a:ext>
            </a:extLst>
          </p:cNvPr>
          <p:cNvSpPr>
            <a:spLocks/>
          </p:cNvSpPr>
          <p:nvPr/>
        </p:nvSpPr>
        <p:spPr bwMode="auto">
          <a:xfrm rot="10800000">
            <a:off x="9700515" y="4027826"/>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2"/>
          </a:solidFill>
          <a:ln>
            <a:noFill/>
          </a:ln>
        </p:spPr>
        <p:txBody>
          <a:bodyPr/>
          <a:lstStyle/>
          <a:p>
            <a:pPr>
              <a:defRPr/>
            </a:pPr>
            <a:endParaRPr lang="id-ID" sz="3599" dirty="0">
              <a:latin typeface="Roboto Light" panose="02000000000000000000" pitchFamily="2" charset="0"/>
            </a:endParaRPr>
          </a:p>
        </p:txBody>
      </p:sp>
      <p:sp>
        <p:nvSpPr>
          <p:cNvPr id="15" name="Freeform 6">
            <a:extLst>
              <a:ext uri="{FF2B5EF4-FFF2-40B4-BE49-F238E27FC236}">
                <a16:creationId xmlns:a16="http://schemas.microsoft.com/office/drawing/2014/main" id="{3DA0A9BD-88A5-47C7-67C5-168A0C0A7EC9}"/>
              </a:ext>
            </a:extLst>
          </p:cNvPr>
          <p:cNvSpPr>
            <a:spLocks/>
          </p:cNvSpPr>
          <p:nvPr/>
        </p:nvSpPr>
        <p:spPr bwMode="auto">
          <a:xfrm rot="10800000">
            <a:off x="9700515" y="5262230"/>
            <a:ext cx="2132709" cy="1046495"/>
          </a:xfrm>
          <a:custGeom>
            <a:avLst/>
            <a:gdLst>
              <a:gd name="T0" fmla="*/ 702 w 702"/>
              <a:gd name="T1" fmla="*/ 172 h 343"/>
              <a:gd name="T2" fmla="*/ 613 w 702"/>
              <a:gd name="T3" fmla="*/ 121 h 343"/>
              <a:gd name="T4" fmla="*/ 613 w 702"/>
              <a:gd name="T5" fmla="*/ 48 h 343"/>
              <a:gd name="T6" fmla="*/ 565 w 702"/>
              <a:gd name="T7" fmla="*/ 0 h 343"/>
              <a:gd name="T8" fmla="*/ 48 w 702"/>
              <a:gd name="T9" fmla="*/ 0 h 343"/>
              <a:gd name="T10" fmla="*/ 0 w 702"/>
              <a:gd name="T11" fmla="*/ 48 h 343"/>
              <a:gd name="T12" fmla="*/ 0 w 702"/>
              <a:gd name="T13" fmla="*/ 295 h 343"/>
              <a:gd name="T14" fmla="*/ 48 w 702"/>
              <a:gd name="T15" fmla="*/ 343 h 343"/>
              <a:gd name="T16" fmla="*/ 565 w 702"/>
              <a:gd name="T17" fmla="*/ 343 h 343"/>
              <a:gd name="T18" fmla="*/ 613 w 702"/>
              <a:gd name="T19" fmla="*/ 295 h 343"/>
              <a:gd name="T20" fmla="*/ 613 w 702"/>
              <a:gd name="T21" fmla="*/ 222 h 343"/>
              <a:gd name="T22" fmla="*/ 702 w 702"/>
              <a:gd name="T23" fmla="*/ 17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2" h="343">
                <a:moveTo>
                  <a:pt x="702" y="172"/>
                </a:moveTo>
                <a:cubicBezTo>
                  <a:pt x="613" y="121"/>
                  <a:pt x="613" y="121"/>
                  <a:pt x="613" y="121"/>
                </a:cubicBezTo>
                <a:cubicBezTo>
                  <a:pt x="613" y="48"/>
                  <a:pt x="613" y="48"/>
                  <a:pt x="613" y="48"/>
                </a:cubicBezTo>
                <a:cubicBezTo>
                  <a:pt x="613" y="22"/>
                  <a:pt x="592" y="0"/>
                  <a:pt x="565" y="0"/>
                </a:cubicBezTo>
                <a:cubicBezTo>
                  <a:pt x="48" y="0"/>
                  <a:pt x="48" y="0"/>
                  <a:pt x="48" y="0"/>
                </a:cubicBezTo>
                <a:cubicBezTo>
                  <a:pt x="22" y="0"/>
                  <a:pt x="0" y="22"/>
                  <a:pt x="0" y="48"/>
                </a:cubicBezTo>
                <a:cubicBezTo>
                  <a:pt x="0" y="295"/>
                  <a:pt x="0" y="295"/>
                  <a:pt x="0" y="295"/>
                </a:cubicBezTo>
                <a:cubicBezTo>
                  <a:pt x="0" y="322"/>
                  <a:pt x="22" y="343"/>
                  <a:pt x="48" y="343"/>
                </a:cubicBezTo>
                <a:cubicBezTo>
                  <a:pt x="565" y="343"/>
                  <a:pt x="565" y="343"/>
                  <a:pt x="565" y="343"/>
                </a:cubicBezTo>
                <a:cubicBezTo>
                  <a:pt x="592" y="343"/>
                  <a:pt x="613" y="322"/>
                  <a:pt x="613" y="295"/>
                </a:cubicBezTo>
                <a:cubicBezTo>
                  <a:pt x="613" y="222"/>
                  <a:pt x="613" y="222"/>
                  <a:pt x="613" y="222"/>
                </a:cubicBezTo>
                <a:lnTo>
                  <a:pt x="702" y="172"/>
                </a:lnTo>
                <a:close/>
              </a:path>
            </a:pathLst>
          </a:custGeom>
          <a:solidFill>
            <a:schemeClr val="accent3"/>
          </a:solidFill>
          <a:ln>
            <a:noFill/>
          </a:ln>
        </p:spPr>
        <p:txBody>
          <a:bodyPr/>
          <a:lstStyle/>
          <a:p>
            <a:pPr>
              <a:defRPr/>
            </a:pPr>
            <a:endParaRPr lang="id-ID" sz="3599" dirty="0">
              <a:latin typeface="Roboto Light" panose="02000000000000000000" pitchFamily="2" charset="0"/>
            </a:endParaRPr>
          </a:p>
        </p:txBody>
      </p:sp>
      <p:cxnSp>
        <p:nvCxnSpPr>
          <p:cNvPr id="16" name="Straight Connector 17">
            <a:extLst>
              <a:ext uri="{FF2B5EF4-FFF2-40B4-BE49-F238E27FC236}">
                <a16:creationId xmlns:a16="http://schemas.microsoft.com/office/drawing/2014/main" id="{AF373BE9-1912-51FE-9C11-31B54D02625B}"/>
              </a:ext>
            </a:extLst>
          </p:cNvPr>
          <p:cNvCxnSpPr/>
          <p:nvPr/>
        </p:nvCxnSpPr>
        <p:spPr>
          <a:xfrm>
            <a:off x="10914632" y="1675125"/>
            <a:ext cx="0" cy="693589"/>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8">
            <a:extLst>
              <a:ext uri="{FF2B5EF4-FFF2-40B4-BE49-F238E27FC236}">
                <a16:creationId xmlns:a16="http://schemas.microsoft.com/office/drawing/2014/main" id="{C43C7E88-526B-034D-F5E2-FC320A351983}"/>
              </a:ext>
            </a:extLst>
          </p:cNvPr>
          <p:cNvCxnSpPr/>
          <p:nvPr/>
        </p:nvCxnSpPr>
        <p:spPr>
          <a:xfrm>
            <a:off x="10914632" y="2932446"/>
            <a:ext cx="0" cy="692061"/>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9">
            <a:extLst>
              <a:ext uri="{FF2B5EF4-FFF2-40B4-BE49-F238E27FC236}">
                <a16:creationId xmlns:a16="http://schemas.microsoft.com/office/drawing/2014/main" id="{2C572CFD-1A72-4A67-26FD-D1EC0E908B58}"/>
              </a:ext>
            </a:extLst>
          </p:cNvPr>
          <p:cNvCxnSpPr/>
          <p:nvPr/>
        </p:nvCxnSpPr>
        <p:spPr>
          <a:xfrm>
            <a:off x="10914632" y="4205042"/>
            <a:ext cx="0" cy="6920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20">
            <a:extLst>
              <a:ext uri="{FF2B5EF4-FFF2-40B4-BE49-F238E27FC236}">
                <a16:creationId xmlns:a16="http://schemas.microsoft.com/office/drawing/2014/main" id="{B1292A89-1738-0ECB-940D-D620734D4FCF}"/>
              </a:ext>
            </a:extLst>
          </p:cNvPr>
          <p:cNvCxnSpPr/>
          <p:nvPr/>
        </p:nvCxnSpPr>
        <p:spPr>
          <a:xfrm>
            <a:off x="10914632" y="5460835"/>
            <a:ext cx="0" cy="69358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27">
            <a:extLst>
              <a:ext uri="{FF2B5EF4-FFF2-40B4-BE49-F238E27FC236}">
                <a16:creationId xmlns:a16="http://schemas.microsoft.com/office/drawing/2014/main" id="{A0695F53-C638-6E87-FF2B-562F54A2BDA4}"/>
              </a:ext>
            </a:extLst>
          </p:cNvPr>
          <p:cNvSpPr txBox="1"/>
          <p:nvPr/>
        </p:nvSpPr>
        <p:spPr>
          <a:xfrm>
            <a:off x="11151513" y="1762748"/>
            <a:ext cx="495649" cy="584775"/>
          </a:xfrm>
          <a:prstGeom prst="rect">
            <a:avLst/>
          </a:prstGeom>
          <a:noFill/>
        </p:spPr>
        <p:txBody>
          <a:bodyPr wrap="none" rtlCol="0" anchor="ctr">
            <a:spAutoFit/>
          </a:bodyPr>
          <a:lstStyle/>
          <a:p>
            <a:pPr algn="ctr"/>
            <a:r>
              <a:rPr lang="en-US" sz="3200" b="1" spc="150" dirty="0">
                <a:solidFill>
                  <a:schemeClr val="bg1"/>
                </a:solidFill>
                <a:latin typeface="+mj-lt"/>
              </a:rPr>
              <a:t>S</a:t>
            </a:r>
          </a:p>
        </p:txBody>
      </p:sp>
      <p:sp>
        <p:nvSpPr>
          <p:cNvPr id="21" name="TextBox 28">
            <a:extLst>
              <a:ext uri="{FF2B5EF4-FFF2-40B4-BE49-F238E27FC236}">
                <a16:creationId xmlns:a16="http://schemas.microsoft.com/office/drawing/2014/main" id="{8372C6A1-BBA6-642C-CF64-FD4016BB3257}"/>
              </a:ext>
            </a:extLst>
          </p:cNvPr>
          <p:cNvSpPr txBox="1"/>
          <p:nvPr/>
        </p:nvSpPr>
        <p:spPr>
          <a:xfrm>
            <a:off x="11065753" y="2986087"/>
            <a:ext cx="667170" cy="584775"/>
          </a:xfrm>
          <a:prstGeom prst="rect">
            <a:avLst/>
          </a:prstGeom>
          <a:noFill/>
        </p:spPr>
        <p:txBody>
          <a:bodyPr wrap="none" rtlCol="0" anchor="ctr">
            <a:spAutoFit/>
          </a:bodyPr>
          <a:lstStyle/>
          <a:p>
            <a:pPr algn="ctr"/>
            <a:r>
              <a:rPr lang="en-US" sz="3200" b="1" spc="150" dirty="0">
                <a:solidFill>
                  <a:schemeClr val="bg1"/>
                </a:solidFill>
                <a:latin typeface="+mj-lt"/>
              </a:rPr>
              <a:t>W</a:t>
            </a:r>
          </a:p>
        </p:txBody>
      </p:sp>
      <p:sp>
        <p:nvSpPr>
          <p:cNvPr id="22" name="TextBox 29">
            <a:extLst>
              <a:ext uri="{FF2B5EF4-FFF2-40B4-BE49-F238E27FC236}">
                <a16:creationId xmlns:a16="http://schemas.microsoft.com/office/drawing/2014/main" id="{3200B2D6-26F5-A526-DE9E-BD3525DD8426}"/>
              </a:ext>
            </a:extLst>
          </p:cNvPr>
          <p:cNvSpPr txBox="1"/>
          <p:nvPr/>
        </p:nvSpPr>
        <p:spPr>
          <a:xfrm>
            <a:off x="11122660" y="4258685"/>
            <a:ext cx="553357" cy="584775"/>
          </a:xfrm>
          <a:prstGeom prst="rect">
            <a:avLst/>
          </a:prstGeom>
          <a:noFill/>
        </p:spPr>
        <p:txBody>
          <a:bodyPr wrap="none" rtlCol="0" anchor="ctr">
            <a:spAutoFit/>
          </a:bodyPr>
          <a:lstStyle/>
          <a:p>
            <a:pPr algn="ctr"/>
            <a:r>
              <a:rPr lang="en-US" sz="3200" b="1" spc="150" dirty="0">
                <a:solidFill>
                  <a:schemeClr val="bg1"/>
                </a:solidFill>
                <a:latin typeface="+mj-lt"/>
              </a:rPr>
              <a:t>O</a:t>
            </a:r>
          </a:p>
        </p:txBody>
      </p:sp>
      <p:sp>
        <p:nvSpPr>
          <p:cNvPr id="23" name="TextBox 30">
            <a:extLst>
              <a:ext uri="{FF2B5EF4-FFF2-40B4-BE49-F238E27FC236}">
                <a16:creationId xmlns:a16="http://schemas.microsoft.com/office/drawing/2014/main" id="{AE020AC1-5A9A-77A2-AA04-9D1877F80443}"/>
              </a:ext>
            </a:extLst>
          </p:cNvPr>
          <p:cNvSpPr txBox="1"/>
          <p:nvPr/>
        </p:nvSpPr>
        <p:spPr>
          <a:xfrm>
            <a:off x="11157124" y="5515241"/>
            <a:ext cx="484428" cy="584775"/>
          </a:xfrm>
          <a:prstGeom prst="rect">
            <a:avLst/>
          </a:prstGeom>
          <a:noFill/>
        </p:spPr>
        <p:txBody>
          <a:bodyPr wrap="none" rtlCol="0" anchor="ctr">
            <a:spAutoFit/>
          </a:bodyPr>
          <a:lstStyle/>
          <a:p>
            <a:pPr algn="ctr"/>
            <a:r>
              <a:rPr lang="en-US" sz="3200" b="1" spc="150" dirty="0">
                <a:solidFill>
                  <a:schemeClr val="bg1"/>
                </a:solidFill>
                <a:latin typeface="+mj-lt"/>
              </a:rPr>
              <a:t>T</a:t>
            </a:r>
          </a:p>
        </p:txBody>
      </p:sp>
      <p:sp>
        <p:nvSpPr>
          <p:cNvPr id="24" name="Freeform 31">
            <a:extLst>
              <a:ext uri="{FF2B5EF4-FFF2-40B4-BE49-F238E27FC236}">
                <a16:creationId xmlns:a16="http://schemas.microsoft.com/office/drawing/2014/main" id="{3DD4E43D-4823-4365-50BE-3936BD4A6FDC}"/>
              </a:ext>
            </a:extLst>
          </p:cNvPr>
          <p:cNvSpPr>
            <a:spLocks noChangeArrowheads="1"/>
          </p:cNvSpPr>
          <p:nvPr/>
        </p:nvSpPr>
        <p:spPr bwMode="auto">
          <a:xfrm>
            <a:off x="10194015" y="5517068"/>
            <a:ext cx="536819" cy="536818"/>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5" name="Freeform 32">
            <a:extLst>
              <a:ext uri="{FF2B5EF4-FFF2-40B4-BE49-F238E27FC236}">
                <a16:creationId xmlns:a16="http://schemas.microsoft.com/office/drawing/2014/main" id="{07AEF136-7E86-790A-28DE-FBC88FF2022B}"/>
              </a:ext>
            </a:extLst>
          </p:cNvPr>
          <p:cNvSpPr>
            <a:spLocks noChangeArrowheads="1"/>
          </p:cNvSpPr>
          <p:nvPr/>
        </p:nvSpPr>
        <p:spPr bwMode="auto">
          <a:xfrm>
            <a:off x="10194020" y="2916071"/>
            <a:ext cx="536815" cy="724807"/>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6" name="Freeform 33">
            <a:extLst>
              <a:ext uri="{FF2B5EF4-FFF2-40B4-BE49-F238E27FC236}">
                <a16:creationId xmlns:a16="http://schemas.microsoft.com/office/drawing/2014/main" id="{9E6763C9-1336-CF36-4363-5F6FB702D19D}"/>
              </a:ext>
            </a:extLst>
          </p:cNvPr>
          <p:cNvSpPr>
            <a:spLocks noChangeArrowheads="1"/>
          </p:cNvSpPr>
          <p:nvPr/>
        </p:nvSpPr>
        <p:spPr bwMode="auto">
          <a:xfrm>
            <a:off x="10194015" y="4285625"/>
            <a:ext cx="538173" cy="534830"/>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sp>
        <p:nvSpPr>
          <p:cNvPr id="27" name="Freeform 34">
            <a:extLst>
              <a:ext uri="{FF2B5EF4-FFF2-40B4-BE49-F238E27FC236}">
                <a16:creationId xmlns:a16="http://schemas.microsoft.com/office/drawing/2014/main" id="{5AA17BAA-08F3-2A3B-552A-863E741F0764}"/>
              </a:ext>
            </a:extLst>
          </p:cNvPr>
          <p:cNvSpPr>
            <a:spLocks noChangeArrowheads="1"/>
          </p:cNvSpPr>
          <p:nvPr/>
        </p:nvSpPr>
        <p:spPr bwMode="auto">
          <a:xfrm>
            <a:off x="10194014" y="1807222"/>
            <a:ext cx="536817" cy="478337"/>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nvGrpSpPr>
          <p:cNvPr id="40" name="Grupo 39">
            <a:extLst>
              <a:ext uri="{FF2B5EF4-FFF2-40B4-BE49-F238E27FC236}">
                <a16:creationId xmlns:a16="http://schemas.microsoft.com/office/drawing/2014/main" id="{32A0CE3C-D728-C3D1-29DC-1D63BD6D3F06}"/>
              </a:ext>
            </a:extLst>
          </p:cNvPr>
          <p:cNvGrpSpPr/>
          <p:nvPr/>
        </p:nvGrpSpPr>
        <p:grpSpPr>
          <a:xfrm>
            <a:off x="384174" y="2656940"/>
            <a:ext cx="11449050" cy="2508097"/>
            <a:chOff x="1561686" y="2666465"/>
            <a:chExt cx="7997658" cy="2508097"/>
          </a:xfrm>
        </p:grpSpPr>
        <p:cxnSp>
          <p:nvCxnSpPr>
            <p:cNvPr id="28" name="Straight Connector 35">
              <a:extLst>
                <a:ext uri="{FF2B5EF4-FFF2-40B4-BE49-F238E27FC236}">
                  <a16:creationId xmlns:a16="http://schemas.microsoft.com/office/drawing/2014/main" id="{4D57577B-107B-A4B2-9444-359088406130}"/>
                </a:ext>
              </a:extLst>
            </p:cNvPr>
            <p:cNvCxnSpPr/>
            <p:nvPr/>
          </p:nvCxnSpPr>
          <p:spPr>
            <a:xfrm>
              <a:off x="1561686" y="2666465"/>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36">
              <a:extLst>
                <a:ext uri="{FF2B5EF4-FFF2-40B4-BE49-F238E27FC236}">
                  <a16:creationId xmlns:a16="http://schemas.microsoft.com/office/drawing/2014/main" id="{7037C7D7-D26A-C6D6-59B6-C22D4B5380FC}"/>
                </a:ext>
              </a:extLst>
            </p:cNvPr>
            <p:cNvCxnSpPr/>
            <p:nvPr/>
          </p:nvCxnSpPr>
          <p:spPr>
            <a:xfrm>
              <a:off x="1561686" y="391207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37">
              <a:extLst>
                <a:ext uri="{FF2B5EF4-FFF2-40B4-BE49-F238E27FC236}">
                  <a16:creationId xmlns:a16="http://schemas.microsoft.com/office/drawing/2014/main" id="{CE1290DF-0619-6067-D75E-5BFD134CA80A}"/>
                </a:ext>
              </a:extLst>
            </p:cNvPr>
            <p:cNvCxnSpPr/>
            <p:nvPr/>
          </p:nvCxnSpPr>
          <p:spPr>
            <a:xfrm>
              <a:off x="1561686" y="5174562"/>
              <a:ext cx="799765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 Placeholder 6">
            <a:extLst>
              <a:ext uri="{FF2B5EF4-FFF2-40B4-BE49-F238E27FC236}">
                <a16:creationId xmlns:a16="http://schemas.microsoft.com/office/drawing/2014/main" id="{4B102205-73EE-58CC-91FA-2C4AF15FA69E}"/>
              </a:ext>
            </a:extLst>
          </p:cNvPr>
          <p:cNvSpPr txBox="1">
            <a:spLocks/>
          </p:cNvSpPr>
          <p:nvPr/>
        </p:nvSpPr>
        <p:spPr>
          <a:xfrm>
            <a:off x="371475" y="5405986"/>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7" name="Text Placeholder 6">
            <a:extLst>
              <a:ext uri="{FF2B5EF4-FFF2-40B4-BE49-F238E27FC236}">
                <a16:creationId xmlns:a16="http://schemas.microsoft.com/office/drawing/2014/main" id="{6178FEA3-F7A6-2DF7-AB23-AF00DEA6142E}"/>
              </a:ext>
            </a:extLst>
          </p:cNvPr>
          <p:cNvSpPr txBox="1">
            <a:spLocks/>
          </p:cNvSpPr>
          <p:nvPr/>
        </p:nvSpPr>
        <p:spPr>
          <a:xfrm>
            <a:off x="371475" y="4171582"/>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8" name="Text Placeholder 6">
            <a:extLst>
              <a:ext uri="{FF2B5EF4-FFF2-40B4-BE49-F238E27FC236}">
                <a16:creationId xmlns:a16="http://schemas.microsoft.com/office/drawing/2014/main" id="{9FA7D351-1927-78DB-1877-DFEEFD5E9E57}"/>
              </a:ext>
            </a:extLst>
          </p:cNvPr>
          <p:cNvSpPr txBox="1">
            <a:spLocks/>
          </p:cNvSpPr>
          <p:nvPr/>
        </p:nvSpPr>
        <p:spPr>
          <a:xfrm>
            <a:off x="371475" y="2904295"/>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39" name="Text Placeholder 6">
            <a:extLst>
              <a:ext uri="{FF2B5EF4-FFF2-40B4-BE49-F238E27FC236}">
                <a16:creationId xmlns:a16="http://schemas.microsoft.com/office/drawing/2014/main" id="{7ED00BAF-242B-C76A-350F-E0F4748AA179}"/>
              </a:ext>
            </a:extLst>
          </p:cNvPr>
          <p:cNvSpPr txBox="1">
            <a:spLocks/>
          </p:cNvSpPr>
          <p:nvPr/>
        </p:nvSpPr>
        <p:spPr>
          <a:xfrm>
            <a:off x="371475" y="1664929"/>
            <a:ext cx="9705976" cy="758981"/>
          </a:xfrm>
          <a:prstGeom prst="rect">
            <a:avLst/>
          </a:prstGeom>
          <a:solidFill>
            <a:schemeClr val="bg1"/>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1087636"/>
            <a:r>
              <a:rPr lang="en-US" sz="1200" b="0" dirty="0">
                <a:latin typeface="+mn-lt"/>
              </a:rPr>
              <a:t>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Lorem ipsum dolor sit </a:t>
            </a:r>
            <a:r>
              <a:rPr lang="en-US" sz="1200" b="0" dirty="0" err="1">
                <a:latin typeface="+mn-lt"/>
              </a:rPr>
              <a:t>amet</a:t>
            </a:r>
            <a:r>
              <a:rPr lang="en-US" sz="1200" b="0" dirty="0">
                <a:latin typeface="+mn-lt"/>
              </a:rPr>
              <a:t>, </a:t>
            </a:r>
            <a:r>
              <a:rPr lang="en-US" sz="1200" b="0" dirty="0" err="1">
                <a:latin typeface="+mn-lt"/>
              </a:rPr>
              <a:t>consectetur</a:t>
            </a:r>
            <a:r>
              <a:rPr lang="en-US" sz="1200" b="0" dirty="0">
                <a:latin typeface="+mn-lt"/>
              </a:rPr>
              <a:t> </a:t>
            </a:r>
            <a:r>
              <a:rPr lang="en-US" sz="1200" b="0" dirty="0" err="1">
                <a:latin typeface="+mn-lt"/>
              </a:rPr>
              <a:t>adipiscing</a:t>
            </a:r>
            <a:r>
              <a:rPr lang="en-US" sz="1200" b="0" dirty="0">
                <a:latin typeface="+mn-lt"/>
              </a:rPr>
              <a:t> </a:t>
            </a:r>
            <a:r>
              <a:rPr lang="en-US" sz="1200" b="0" dirty="0" err="1">
                <a:latin typeface="+mn-lt"/>
              </a:rPr>
              <a:t>elit</a:t>
            </a:r>
            <a:r>
              <a:rPr lang="en-US" sz="1200" b="0" dirty="0">
                <a:latin typeface="+mn-lt"/>
              </a:rPr>
              <a:t>.  </a:t>
            </a:r>
          </a:p>
        </p:txBody>
      </p:sp>
      <p:sp>
        <p:nvSpPr>
          <p:cNvPr id="2" name="Footer Placeholder 1">
            <a:extLst>
              <a:ext uri="{FF2B5EF4-FFF2-40B4-BE49-F238E27FC236}">
                <a16:creationId xmlns:a16="http://schemas.microsoft.com/office/drawing/2014/main" id="{6FF043DF-9924-3D4D-0257-B01516912E62}"/>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3CED3F0D-A351-D2E4-0DE6-4203366065A5}"/>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3526825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C0135B8-DB5A-4AEE-584F-046E3ACACAA4}"/>
              </a:ext>
            </a:extLst>
          </p:cNvPr>
          <p:cNvGraphicFramePr>
            <a:graphicFrameLocks noChangeAspect="1"/>
          </p:cNvGraphicFramePr>
          <p:nvPr>
            <p:custDataLst>
              <p:tags r:id="rId1"/>
            </p:custDataLst>
            <p:extLst>
              <p:ext uri="{D42A27DB-BD31-4B8C-83A1-F6EECF244321}">
                <p14:modId xmlns:p14="http://schemas.microsoft.com/office/powerpoint/2010/main" val="20127138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C0135B8-DB5A-4AEE-584F-046E3ACAC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3">
            <a:extLst>
              <a:ext uri="{FF2B5EF4-FFF2-40B4-BE49-F238E27FC236}">
                <a16:creationId xmlns:a16="http://schemas.microsoft.com/office/drawing/2014/main" id="{068F549F-843C-0964-FA2D-F7D497051AE6}"/>
              </a:ext>
            </a:extLst>
          </p:cNvPr>
          <p:cNvSpPr/>
          <p:nvPr/>
        </p:nvSpPr>
        <p:spPr>
          <a:xfrm>
            <a:off x="371476"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7" name="Rectangle 4">
            <a:extLst>
              <a:ext uri="{FF2B5EF4-FFF2-40B4-BE49-F238E27FC236}">
                <a16:creationId xmlns:a16="http://schemas.microsoft.com/office/drawing/2014/main" id="{FB98AF84-03E0-3224-E57D-7502E6775455}"/>
              </a:ext>
            </a:extLst>
          </p:cNvPr>
          <p:cNvSpPr/>
          <p:nvPr/>
        </p:nvSpPr>
        <p:spPr>
          <a:xfrm>
            <a:off x="3291155"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Rectangle 5">
            <a:extLst>
              <a:ext uri="{FF2B5EF4-FFF2-40B4-BE49-F238E27FC236}">
                <a16:creationId xmlns:a16="http://schemas.microsoft.com/office/drawing/2014/main" id="{3D0203BB-8F17-EAB7-8275-3418A7C73EBB}"/>
              </a:ext>
            </a:extLst>
          </p:cNvPr>
          <p:cNvSpPr/>
          <p:nvPr/>
        </p:nvSpPr>
        <p:spPr>
          <a:xfrm>
            <a:off x="6210833"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9" name="Rectangle 6">
            <a:extLst>
              <a:ext uri="{FF2B5EF4-FFF2-40B4-BE49-F238E27FC236}">
                <a16:creationId xmlns:a16="http://schemas.microsoft.com/office/drawing/2014/main" id="{DE136C7B-E1E1-8A7B-76AA-D74CE6ABAFC7}"/>
              </a:ext>
            </a:extLst>
          </p:cNvPr>
          <p:cNvSpPr/>
          <p:nvPr/>
        </p:nvSpPr>
        <p:spPr>
          <a:xfrm>
            <a:off x="9124338" y="2057401"/>
            <a:ext cx="2696188" cy="42513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21" name="TextBox 30">
            <a:extLst>
              <a:ext uri="{FF2B5EF4-FFF2-40B4-BE49-F238E27FC236}">
                <a16:creationId xmlns:a16="http://schemas.microsoft.com/office/drawing/2014/main" id="{CD342F8B-DEAA-FF5C-ACFA-17A33AB27ED2}"/>
              </a:ext>
            </a:extLst>
          </p:cNvPr>
          <p:cNvSpPr txBox="1"/>
          <p:nvPr/>
        </p:nvSpPr>
        <p:spPr>
          <a:xfrm>
            <a:off x="1123892" y="3224058"/>
            <a:ext cx="1191352"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Strength</a:t>
            </a:r>
          </a:p>
        </p:txBody>
      </p:sp>
      <p:sp>
        <p:nvSpPr>
          <p:cNvPr id="22" name="TextBox 31">
            <a:extLst>
              <a:ext uri="{FF2B5EF4-FFF2-40B4-BE49-F238E27FC236}">
                <a16:creationId xmlns:a16="http://schemas.microsoft.com/office/drawing/2014/main" id="{B25E936F-C63F-393B-2004-6887DEFEE272}"/>
              </a:ext>
            </a:extLst>
          </p:cNvPr>
          <p:cNvSpPr txBox="1"/>
          <p:nvPr/>
        </p:nvSpPr>
        <p:spPr>
          <a:xfrm>
            <a:off x="3962620" y="3224058"/>
            <a:ext cx="135325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Weakness</a:t>
            </a:r>
          </a:p>
        </p:txBody>
      </p:sp>
      <p:sp>
        <p:nvSpPr>
          <p:cNvPr id="23" name="TextBox 32">
            <a:extLst>
              <a:ext uri="{FF2B5EF4-FFF2-40B4-BE49-F238E27FC236}">
                <a16:creationId xmlns:a16="http://schemas.microsoft.com/office/drawing/2014/main" id="{5591E985-2DB8-FFA1-768B-BAA4C600202D}"/>
              </a:ext>
            </a:extLst>
          </p:cNvPr>
          <p:cNvSpPr txBox="1"/>
          <p:nvPr/>
        </p:nvSpPr>
        <p:spPr>
          <a:xfrm>
            <a:off x="6772493" y="3224058"/>
            <a:ext cx="1572866"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Opportunity</a:t>
            </a:r>
          </a:p>
        </p:txBody>
      </p:sp>
      <p:sp>
        <p:nvSpPr>
          <p:cNvPr id="24" name="TextBox 33">
            <a:extLst>
              <a:ext uri="{FF2B5EF4-FFF2-40B4-BE49-F238E27FC236}">
                <a16:creationId xmlns:a16="http://schemas.microsoft.com/office/drawing/2014/main" id="{5C2BD119-42ED-0998-7E7E-9721F72BE35F}"/>
              </a:ext>
            </a:extLst>
          </p:cNvPr>
          <p:cNvSpPr txBox="1"/>
          <p:nvPr/>
        </p:nvSpPr>
        <p:spPr>
          <a:xfrm>
            <a:off x="10002591" y="3224058"/>
            <a:ext cx="939681" cy="338554"/>
          </a:xfrm>
          <a:prstGeom prst="rect">
            <a:avLst/>
          </a:prstGeom>
          <a:noFill/>
        </p:spPr>
        <p:txBody>
          <a:bodyPr wrap="none"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sz="1600" dirty="0"/>
              <a:t>Threat</a:t>
            </a:r>
          </a:p>
        </p:txBody>
      </p:sp>
      <p:sp>
        <p:nvSpPr>
          <p:cNvPr id="25" name="Subtitle 2">
            <a:extLst>
              <a:ext uri="{FF2B5EF4-FFF2-40B4-BE49-F238E27FC236}">
                <a16:creationId xmlns:a16="http://schemas.microsoft.com/office/drawing/2014/main" id="{DADF59DF-C57F-732E-4B99-514A6F77D6FC}"/>
              </a:ext>
            </a:extLst>
          </p:cNvPr>
          <p:cNvSpPr txBox="1">
            <a:spLocks/>
          </p:cNvSpPr>
          <p:nvPr/>
        </p:nvSpPr>
        <p:spPr>
          <a:xfrm>
            <a:off x="490795"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7A50B731-E30B-12F0-7964-D8F75D55CF37}"/>
              </a:ext>
            </a:extLst>
          </p:cNvPr>
          <p:cNvSpPr txBox="1">
            <a:spLocks/>
          </p:cNvSpPr>
          <p:nvPr/>
        </p:nvSpPr>
        <p:spPr>
          <a:xfrm>
            <a:off x="341047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D97A1D2F-78FA-8460-00DA-1A22E64957FF}"/>
              </a:ext>
            </a:extLst>
          </p:cNvPr>
          <p:cNvSpPr txBox="1">
            <a:spLocks/>
          </p:cNvSpPr>
          <p:nvPr/>
        </p:nvSpPr>
        <p:spPr>
          <a:xfrm>
            <a:off x="6330154"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35C0ABDB-02DA-D9BA-9C7F-9B44E088AFAE}"/>
              </a:ext>
            </a:extLst>
          </p:cNvPr>
          <p:cNvSpPr txBox="1">
            <a:spLocks/>
          </p:cNvSpPr>
          <p:nvPr/>
        </p:nvSpPr>
        <p:spPr>
          <a:xfrm>
            <a:off x="9240212" y="3690651"/>
            <a:ext cx="2457547" cy="2448526"/>
          </a:xfrm>
          <a:prstGeom prst="rect">
            <a:avLst/>
          </a:prstGeom>
          <a:noFill/>
          <a:ln>
            <a:noFill/>
          </a:ln>
          <a:effectLst/>
        </p:spPr>
        <p:txBody>
          <a:bodyPr lIns="108000" tIns="72000" rIns="72000" bIns="72000" anchor="ctr"/>
          <a:lstStyle>
            <a:defPPr>
              <a:defRPr lang="en-US"/>
            </a:defPPr>
            <a:lvl1pPr indent="0" defTabSz="1087636">
              <a:lnSpc>
                <a:spcPct val="100000"/>
              </a:lnSpc>
              <a:spcBef>
                <a:spcPts val="0"/>
              </a:spcBef>
              <a:spcAft>
                <a:spcPts val="0"/>
              </a:spcAft>
              <a:buFont typeface="Arial" panose="020B0604020202020204" pitchFamily="34" charset="0"/>
              <a:buNone/>
              <a:defRPr sz="1200" b="0"/>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 name="Marcador de texto 1">
            <a:extLst>
              <a:ext uri="{FF2B5EF4-FFF2-40B4-BE49-F238E27FC236}">
                <a16:creationId xmlns:a16="http://schemas.microsoft.com/office/drawing/2014/main" id="{6A503F37-4410-6B2B-96EE-1744282A21D8}"/>
              </a:ext>
            </a:extLst>
          </p:cNvPr>
          <p:cNvSpPr>
            <a:spLocks noGrp="1"/>
          </p:cNvSpPr>
          <p:nvPr>
            <p:ph type="body" sz="quarter" idx="14"/>
          </p:nvPr>
        </p:nvSpPr>
        <p:spPr/>
        <p:txBody>
          <a:bodyPr/>
          <a:lstStyle/>
          <a:p>
            <a:r>
              <a:rPr lang="en-US" dirty="0"/>
              <a:t>Subtitle</a:t>
            </a:r>
          </a:p>
        </p:txBody>
      </p:sp>
      <p:grpSp>
        <p:nvGrpSpPr>
          <p:cNvPr id="44" name="Grupo 43">
            <a:extLst>
              <a:ext uri="{FF2B5EF4-FFF2-40B4-BE49-F238E27FC236}">
                <a16:creationId xmlns:a16="http://schemas.microsoft.com/office/drawing/2014/main" id="{D0C3684F-125D-20C9-6EAA-7C31CFEC58C4}"/>
              </a:ext>
            </a:extLst>
          </p:cNvPr>
          <p:cNvGrpSpPr/>
          <p:nvPr/>
        </p:nvGrpSpPr>
        <p:grpSpPr>
          <a:xfrm>
            <a:off x="1152726" y="1525668"/>
            <a:ext cx="1133689" cy="1134158"/>
            <a:chOff x="1219199" y="1639968"/>
            <a:chExt cx="1133689" cy="1134158"/>
          </a:xfrm>
        </p:grpSpPr>
        <p:sp>
          <p:nvSpPr>
            <p:cNvPr id="10" name="Oval 7">
              <a:extLst>
                <a:ext uri="{FF2B5EF4-FFF2-40B4-BE49-F238E27FC236}">
                  <a16:creationId xmlns:a16="http://schemas.microsoft.com/office/drawing/2014/main" id="{0624EDDD-BA29-F605-1D09-E299A26C532C}"/>
                </a:ext>
              </a:extLst>
            </p:cNvPr>
            <p:cNvSpPr/>
            <p:nvPr/>
          </p:nvSpPr>
          <p:spPr>
            <a:xfrm>
              <a:off x="1219199" y="1639968"/>
              <a:ext cx="1133689" cy="1134158"/>
            </a:xfrm>
            <a:prstGeom prst="rect">
              <a:avLst/>
            </a:prstGeom>
            <a:solidFill>
              <a:schemeClr val="accent1">
                <a:lumMod val="75000"/>
              </a:schemeClr>
            </a:solidFill>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7" name="Freeform 26">
              <a:extLst>
                <a:ext uri="{FF2B5EF4-FFF2-40B4-BE49-F238E27FC236}">
                  <a16:creationId xmlns:a16="http://schemas.microsoft.com/office/drawing/2014/main" id="{788970DE-C32B-1940-2FE5-2E079781145F}"/>
                </a:ext>
              </a:extLst>
            </p:cNvPr>
            <p:cNvSpPr>
              <a:spLocks noChangeArrowheads="1"/>
            </p:cNvSpPr>
            <p:nvPr/>
          </p:nvSpPr>
          <p:spPr bwMode="auto">
            <a:xfrm>
              <a:off x="1449428" y="1915787"/>
              <a:ext cx="673229" cy="599889"/>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2" name="Grupo 41">
            <a:extLst>
              <a:ext uri="{FF2B5EF4-FFF2-40B4-BE49-F238E27FC236}">
                <a16:creationId xmlns:a16="http://schemas.microsoft.com/office/drawing/2014/main" id="{74FD2F32-06B6-FDC5-F83E-A371A4827105}"/>
              </a:ext>
            </a:extLst>
          </p:cNvPr>
          <p:cNvGrpSpPr/>
          <p:nvPr/>
        </p:nvGrpSpPr>
        <p:grpSpPr>
          <a:xfrm>
            <a:off x="6987968" y="1525668"/>
            <a:ext cx="1133689" cy="1134158"/>
            <a:chOff x="6316276" y="1639968"/>
            <a:chExt cx="1133689" cy="1134158"/>
          </a:xfrm>
        </p:grpSpPr>
        <p:sp>
          <p:nvSpPr>
            <p:cNvPr id="12" name="Oval 9">
              <a:extLst>
                <a:ext uri="{FF2B5EF4-FFF2-40B4-BE49-F238E27FC236}">
                  <a16:creationId xmlns:a16="http://schemas.microsoft.com/office/drawing/2014/main" id="{08F96BAC-8140-CB95-29FB-FCE785B3CA0D}"/>
                </a:ext>
              </a:extLst>
            </p:cNvPr>
            <p:cNvSpPr/>
            <p:nvPr/>
          </p:nvSpPr>
          <p:spPr>
            <a:xfrm>
              <a:off x="6316276" y="1639968"/>
              <a:ext cx="1133689" cy="1134158"/>
            </a:xfrm>
            <a:prstGeom prst="rect">
              <a:avLst/>
            </a:prstGeom>
            <a:solidFill>
              <a:schemeClr val="accent2"/>
            </a:solidFill>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8" name="Freeform 27">
              <a:extLst>
                <a:ext uri="{FF2B5EF4-FFF2-40B4-BE49-F238E27FC236}">
                  <a16:creationId xmlns:a16="http://schemas.microsoft.com/office/drawing/2014/main" id="{39E6489D-5D59-00A2-59D2-37F07930894A}"/>
                </a:ext>
              </a:extLst>
            </p:cNvPr>
            <p:cNvSpPr>
              <a:spLocks noChangeArrowheads="1"/>
            </p:cNvSpPr>
            <p:nvPr/>
          </p:nvSpPr>
          <p:spPr bwMode="auto">
            <a:xfrm>
              <a:off x="6592718" y="1915787"/>
              <a:ext cx="592518" cy="588837"/>
            </a:xfrm>
            <a:custGeom>
              <a:avLst/>
              <a:gdLst>
                <a:gd name="connsiteX0" fmla="*/ 28448 w 306028"/>
                <a:gd name="connsiteY0" fmla="*/ 224238 h 304127"/>
                <a:gd name="connsiteX1" fmla="*/ 28448 w 306028"/>
                <a:gd name="connsiteY1" fmla="*/ 260583 h 304127"/>
                <a:gd name="connsiteX2" fmla="*/ 130354 w 306028"/>
                <a:gd name="connsiteY2" fmla="*/ 260583 h 304127"/>
                <a:gd name="connsiteX3" fmla="*/ 130354 w 306028"/>
                <a:gd name="connsiteY3" fmla="*/ 224238 h 304127"/>
                <a:gd name="connsiteX4" fmla="*/ 235090 w 306028"/>
                <a:gd name="connsiteY4" fmla="*/ 63546 h 304127"/>
                <a:gd name="connsiteX5" fmla="*/ 250214 w 306028"/>
                <a:gd name="connsiteY5" fmla="*/ 73974 h 304127"/>
                <a:gd name="connsiteX6" fmla="*/ 262097 w 306028"/>
                <a:gd name="connsiteY6" fmla="*/ 70378 h 304127"/>
                <a:gd name="connsiteX7" fmla="*/ 279381 w 306028"/>
                <a:gd name="connsiteY7" fmla="*/ 89438 h 304127"/>
                <a:gd name="connsiteX8" fmla="*/ 279381 w 306028"/>
                <a:gd name="connsiteY8" fmla="*/ 93034 h 304127"/>
                <a:gd name="connsiteX9" fmla="*/ 289104 w 306028"/>
                <a:gd name="connsiteY9" fmla="*/ 90876 h 304127"/>
                <a:gd name="connsiteX10" fmla="*/ 306028 w 306028"/>
                <a:gd name="connsiteY10" fmla="*/ 109576 h 304127"/>
                <a:gd name="connsiteX11" fmla="*/ 306028 w 306028"/>
                <a:gd name="connsiteY11" fmla="*/ 153449 h 304127"/>
                <a:gd name="connsiteX12" fmla="*/ 296306 w 306028"/>
                <a:gd name="connsiteY12" fmla="*/ 219618 h 304127"/>
                <a:gd name="connsiteX13" fmla="*/ 287663 w 306028"/>
                <a:gd name="connsiteY13" fmla="*/ 280032 h 304127"/>
                <a:gd name="connsiteX14" fmla="*/ 287663 w 306028"/>
                <a:gd name="connsiteY14" fmla="*/ 299452 h 304127"/>
                <a:gd name="connsiteX15" fmla="*/ 282982 w 306028"/>
                <a:gd name="connsiteY15" fmla="*/ 304127 h 304127"/>
                <a:gd name="connsiteX16" fmla="*/ 278301 w 306028"/>
                <a:gd name="connsiteY16" fmla="*/ 299452 h 304127"/>
                <a:gd name="connsiteX17" fmla="*/ 278301 w 306028"/>
                <a:gd name="connsiteY17" fmla="*/ 280032 h 304127"/>
                <a:gd name="connsiteX18" fmla="*/ 287663 w 306028"/>
                <a:gd name="connsiteY18" fmla="*/ 217100 h 304127"/>
                <a:gd name="connsiteX19" fmla="*/ 297026 w 306028"/>
                <a:gd name="connsiteY19" fmla="*/ 153449 h 304127"/>
                <a:gd name="connsiteX20" fmla="*/ 297026 w 306028"/>
                <a:gd name="connsiteY20" fmla="*/ 109576 h 304127"/>
                <a:gd name="connsiteX21" fmla="*/ 288744 w 306028"/>
                <a:gd name="connsiteY21" fmla="*/ 100226 h 304127"/>
                <a:gd name="connsiteX22" fmla="*/ 281902 w 306028"/>
                <a:gd name="connsiteY22" fmla="*/ 102384 h 304127"/>
                <a:gd name="connsiteX23" fmla="*/ 279381 w 306028"/>
                <a:gd name="connsiteY23" fmla="*/ 108857 h 304127"/>
                <a:gd name="connsiteX24" fmla="*/ 279381 w 306028"/>
                <a:gd name="connsiteY24" fmla="*/ 159203 h 304127"/>
                <a:gd name="connsiteX25" fmla="*/ 274700 w 306028"/>
                <a:gd name="connsiteY25" fmla="*/ 163518 h 304127"/>
                <a:gd name="connsiteX26" fmla="*/ 270019 w 306028"/>
                <a:gd name="connsiteY26" fmla="*/ 159203 h 304127"/>
                <a:gd name="connsiteX27" fmla="*/ 270019 w 306028"/>
                <a:gd name="connsiteY27" fmla="*/ 108857 h 304127"/>
                <a:gd name="connsiteX28" fmla="*/ 270019 w 306028"/>
                <a:gd name="connsiteY28" fmla="*/ 89438 h 304127"/>
                <a:gd name="connsiteX29" fmla="*/ 261377 w 306028"/>
                <a:gd name="connsiteY29" fmla="*/ 79728 h 304127"/>
                <a:gd name="connsiteX30" fmla="*/ 254895 w 306028"/>
                <a:gd name="connsiteY30" fmla="*/ 82246 h 304127"/>
                <a:gd name="connsiteX31" fmla="*/ 252374 w 306028"/>
                <a:gd name="connsiteY31" fmla="*/ 88719 h 304127"/>
                <a:gd name="connsiteX32" fmla="*/ 252374 w 306028"/>
                <a:gd name="connsiteY32" fmla="*/ 154887 h 304127"/>
                <a:gd name="connsiteX33" fmla="*/ 247693 w 306028"/>
                <a:gd name="connsiteY33" fmla="*/ 159562 h 304127"/>
                <a:gd name="connsiteX34" fmla="*/ 243012 w 306028"/>
                <a:gd name="connsiteY34" fmla="*/ 154887 h 304127"/>
                <a:gd name="connsiteX35" fmla="*/ 243012 w 306028"/>
                <a:gd name="connsiteY35" fmla="*/ 88719 h 304127"/>
                <a:gd name="connsiteX36" fmla="*/ 243012 w 306028"/>
                <a:gd name="connsiteY36" fmla="*/ 82246 h 304127"/>
                <a:gd name="connsiteX37" fmla="*/ 234370 w 306028"/>
                <a:gd name="connsiteY37" fmla="*/ 72536 h 304127"/>
                <a:gd name="connsiteX38" fmla="*/ 227888 w 306028"/>
                <a:gd name="connsiteY38" fmla="*/ 75053 h 304127"/>
                <a:gd name="connsiteX39" fmla="*/ 225007 w 306028"/>
                <a:gd name="connsiteY39" fmla="*/ 81526 h 304127"/>
                <a:gd name="connsiteX40" fmla="*/ 225007 w 306028"/>
                <a:gd name="connsiteY40" fmla="*/ 101665 h 304127"/>
                <a:gd name="connsiteX41" fmla="*/ 225007 w 306028"/>
                <a:gd name="connsiteY41" fmla="*/ 150572 h 304127"/>
                <a:gd name="connsiteX42" fmla="*/ 220326 w 306028"/>
                <a:gd name="connsiteY42" fmla="*/ 155247 h 304127"/>
                <a:gd name="connsiteX43" fmla="*/ 216005 w 306028"/>
                <a:gd name="connsiteY43" fmla="*/ 150572 h 304127"/>
                <a:gd name="connsiteX44" fmla="*/ 216005 w 306028"/>
                <a:gd name="connsiteY44" fmla="*/ 101665 h 304127"/>
                <a:gd name="connsiteX45" fmla="*/ 216005 w 306028"/>
                <a:gd name="connsiteY45" fmla="*/ 101305 h 304127"/>
                <a:gd name="connsiteX46" fmla="*/ 212764 w 306028"/>
                <a:gd name="connsiteY46" fmla="*/ 94832 h 304127"/>
                <a:gd name="connsiteX47" fmla="*/ 205202 w 306028"/>
                <a:gd name="connsiteY47" fmla="*/ 93034 h 304127"/>
                <a:gd name="connsiteX48" fmla="*/ 198000 w 306028"/>
                <a:gd name="connsiteY48" fmla="*/ 102024 h 304127"/>
                <a:gd name="connsiteX49" fmla="*/ 198000 w 306028"/>
                <a:gd name="connsiteY49" fmla="*/ 166035 h 304127"/>
                <a:gd name="connsiteX50" fmla="*/ 198000 w 306028"/>
                <a:gd name="connsiteY50" fmla="*/ 193366 h 304127"/>
                <a:gd name="connsiteX51" fmla="*/ 200521 w 306028"/>
                <a:gd name="connsiteY51" fmla="*/ 199839 h 304127"/>
                <a:gd name="connsiteX52" fmla="*/ 206643 w 306028"/>
                <a:gd name="connsiteY52" fmla="*/ 206312 h 304127"/>
                <a:gd name="connsiteX53" fmla="*/ 206643 w 306028"/>
                <a:gd name="connsiteY53" fmla="*/ 212785 h 304127"/>
                <a:gd name="connsiteX54" fmla="*/ 203402 w 306028"/>
                <a:gd name="connsiteY54" fmla="*/ 214223 h 304127"/>
                <a:gd name="connsiteX55" fmla="*/ 200161 w 306028"/>
                <a:gd name="connsiteY55" fmla="*/ 212785 h 304127"/>
                <a:gd name="connsiteX56" fmla="*/ 193679 w 306028"/>
                <a:gd name="connsiteY56" fmla="*/ 206312 h 304127"/>
                <a:gd name="connsiteX57" fmla="*/ 188998 w 306028"/>
                <a:gd name="connsiteY57" fmla="*/ 193366 h 304127"/>
                <a:gd name="connsiteX58" fmla="*/ 188998 w 306028"/>
                <a:gd name="connsiteY58" fmla="*/ 166035 h 304127"/>
                <a:gd name="connsiteX59" fmla="*/ 184677 w 306028"/>
                <a:gd name="connsiteY59" fmla="*/ 156326 h 304127"/>
                <a:gd name="connsiteX60" fmla="*/ 176395 w 306028"/>
                <a:gd name="connsiteY60" fmla="*/ 154528 h 304127"/>
                <a:gd name="connsiteX61" fmla="*/ 168113 w 306028"/>
                <a:gd name="connsiteY61" fmla="*/ 166755 h 304127"/>
                <a:gd name="connsiteX62" fmla="*/ 168113 w 306028"/>
                <a:gd name="connsiteY62" fmla="*/ 216021 h 304127"/>
                <a:gd name="connsiteX63" fmla="*/ 174594 w 306028"/>
                <a:gd name="connsiteY63" fmla="*/ 232923 h 304127"/>
                <a:gd name="connsiteX64" fmla="*/ 190078 w 306028"/>
                <a:gd name="connsiteY64" fmla="*/ 248746 h 304127"/>
                <a:gd name="connsiteX65" fmla="*/ 198000 w 306028"/>
                <a:gd name="connsiteY65" fmla="*/ 268525 h 304127"/>
                <a:gd name="connsiteX66" fmla="*/ 198000 w 306028"/>
                <a:gd name="connsiteY66" fmla="*/ 299452 h 304127"/>
                <a:gd name="connsiteX67" fmla="*/ 193679 w 306028"/>
                <a:gd name="connsiteY67" fmla="*/ 304127 h 304127"/>
                <a:gd name="connsiteX68" fmla="*/ 188998 w 306028"/>
                <a:gd name="connsiteY68" fmla="*/ 299452 h 304127"/>
                <a:gd name="connsiteX69" fmla="*/ 188998 w 306028"/>
                <a:gd name="connsiteY69" fmla="*/ 268525 h 304127"/>
                <a:gd name="connsiteX70" fmla="*/ 183237 w 306028"/>
                <a:gd name="connsiteY70" fmla="*/ 255219 h 304127"/>
                <a:gd name="connsiteX71" fmla="*/ 167753 w 306028"/>
                <a:gd name="connsiteY71" fmla="*/ 239396 h 304127"/>
                <a:gd name="connsiteX72" fmla="*/ 158750 w 306028"/>
                <a:gd name="connsiteY72" fmla="*/ 216021 h 304127"/>
                <a:gd name="connsiteX73" fmla="*/ 158750 w 306028"/>
                <a:gd name="connsiteY73" fmla="*/ 166755 h 304127"/>
                <a:gd name="connsiteX74" fmla="*/ 174234 w 306028"/>
                <a:gd name="connsiteY74" fmla="*/ 145537 h 304127"/>
                <a:gd name="connsiteX75" fmla="*/ 188998 w 306028"/>
                <a:gd name="connsiteY75" fmla="*/ 148414 h 304127"/>
                <a:gd name="connsiteX76" fmla="*/ 188998 w 306028"/>
                <a:gd name="connsiteY76" fmla="*/ 102024 h 304127"/>
                <a:gd name="connsiteX77" fmla="*/ 203762 w 306028"/>
                <a:gd name="connsiteY77" fmla="*/ 83684 h 304127"/>
                <a:gd name="connsiteX78" fmla="*/ 216005 w 306028"/>
                <a:gd name="connsiteY78" fmla="*/ 85842 h 304127"/>
                <a:gd name="connsiteX79" fmla="*/ 216005 w 306028"/>
                <a:gd name="connsiteY79" fmla="*/ 81526 h 304127"/>
                <a:gd name="connsiteX80" fmla="*/ 221406 w 306028"/>
                <a:gd name="connsiteY80" fmla="*/ 68580 h 304127"/>
                <a:gd name="connsiteX81" fmla="*/ 235090 w 306028"/>
                <a:gd name="connsiteY81" fmla="*/ 63546 h 304127"/>
                <a:gd name="connsiteX82" fmla="*/ 75620 w 306028"/>
                <a:gd name="connsiteY82" fmla="*/ 9402 h 304127"/>
                <a:gd name="connsiteX83" fmla="*/ 69138 w 306028"/>
                <a:gd name="connsiteY83" fmla="*/ 11561 h 304127"/>
                <a:gd name="connsiteX84" fmla="*/ 66257 w 306028"/>
                <a:gd name="connsiteY84" fmla="*/ 18039 h 304127"/>
                <a:gd name="connsiteX85" fmla="*/ 66257 w 306028"/>
                <a:gd name="connsiteY85" fmla="*/ 38191 h 304127"/>
                <a:gd name="connsiteX86" fmla="*/ 66257 w 306028"/>
                <a:gd name="connsiteY86" fmla="*/ 87132 h 304127"/>
                <a:gd name="connsiteX87" fmla="*/ 61576 w 306028"/>
                <a:gd name="connsiteY87" fmla="*/ 91810 h 304127"/>
                <a:gd name="connsiteX88" fmla="*/ 56895 w 306028"/>
                <a:gd name="connsiteY88" fmla="*/ 87132 h 304127"/>
                <a:gd name="connsiteX89" fmla="*/ 56895 w 306028"/>
                <a:gd name="connsiteY89" fmla="*/ 38191 h 304127"/>
                <a:gd name="connsiteX90" fmla="*/ 54014 w 306028"/>
                <a:gd name="connsiteY90" fmla="*/ 31354 h 304127"/>
                <a:gd name="connsiteX91" fmla="*/ 46452 w 306028"/>
                <a:gd name="connsiteY91" fmla="*/ 29554 h 304127"/>
                <a:gd name="connsiteX92" fmla="*/ 39250 w 306028"/>
                <a:gd name="connsiteY92" fmla="*/ 38911 h 304127"/>
                <a:gd name="connsiteX93" fmla="*/ 39250 w 306028"/>
                <a:gd name="connsiteY93" fmla="*/ 102606 h 304127"/>
                <a:gd name="connsiteX94" fmla="*/ 39250 w 306028"/>
                <a:gd name="connsiteY94" fmla="*/ 129955 h 304127"/>
                <a:gd name="connsiteX95" fmla="*/ 41771 w 306028"/>
                <a:gd name="connsiteY95" fmla="*/ 136432 h 304127"/>
                <a:gd name="connsiteX96" fmla="*/ 47893 w 306028"/>
                <a:gd name="connsiteY96" fmla="*/ 143270 h 304127"/>
                <a:gd name="connsiteX97" fmla="*/ 47532 w 306028"/>
                <a:gd name="connsiteY97" fmla="*/ 149747 h 304127"/>
                <a:gd name="connsiteX98" fmla="*/ 44292 w 306028"/>
                <a:gd name="connsiteY98" fmla="*/ 150827 h 304127"/>
                <a:gd name="connsiteX99" fmla="*/ 41051 w 306028"/>
                <a:gd name="connsiteY99" fmla="*/ 149387 h 304127"/>
                <a:gd name="connsiteX100" fmla="*/ 34929 w 306028"/>
                <a:gd name="connsiteY100" fmla="*/ 142910 h 304127"/>
                <a:gd name="connsiteX101" fmla="*/ 29888 w 306028"/>
                <a:gd name="connsiteY101" fmla="*/ 129955 h 304127"/>
                <a:gd name="connsiteX102" fmla="*/ 29888 w 306028"/>
                <a:gd name="connsiteY102" fmla="*/ 102606 h 304127"/>
                <a:gd name="connsiteX103" fmla="*/ 25567 w 306028"/>
                <a:gd name="connsiteY103" fmla="*/ 93249 h 304127"/>
                <a:gd name="connsiteX104" fmla="*/ 17645 w 306028"/>
                <a:gd name="connsiteY104" fmla="*/ 91090 h 304127"/>
                <a:gd name="connsiteX105" fmla="*/ 9363 w 306028"/>
                <a:gd name="connsiteY105" fmla="*/ 103325 h 304127"/>
                <a:gd name="connsiteX106" fmla="*/ 9363 w 306028"/>
                <a:gd name="connsiteY106" fmla="*/ 152626 h 304127"/>
                <a:gd name="connsiteX107" fmla="*/ 15844 w 306028"/>
                <a:gd name="connsiteY107" fmla="*/ 169899 h 304127"/>
                <a:gd name="connsiteX108" fmla="*/ 30968 w 306028"/>
                <a:gd name="connsiteY108" fmla="*/ 185373 h 304127"/>
                <a:gd name="connsiteX109" fmla="*/ 39250 w 306028"/>
                <a:gd name="connsiteY109" fmla="*/ 205525 h 304127"/>
                <a:gd name="connsiteX110" fmla="*/ 39250 w 306028"/>
                <a:gd name="connsiteY110" fmla="*/ 214881 h 304127"/>
                <a:gd name="connsiteX111" fmla="*/ 119551 w 306028"/>
                <a:gd name="connsiteY111" fmla="*/ 214881 h 304127"/>
                <a:gd name="connsiteX112" fmla="*/ 128553 w 306028"/>
                <a:gd name="connsiteY112" fmla="*/ 153705 h 304127"/>
                <a:gd name="connsiteX113" fmla="*/ 137916 w 306028"/>
                <a:gd name="connsiteY113" fmla="*/ 90370 h 304127"/>
                <a:gd name="connsiteX114" fmla="*/ 137916 w 306028"/>
                <a:gd name="connsiteY114" fmla="*/ 46468 h 304127"/>
                <a:gd name="connsiteX115" fmla="*/ 129634 w 306028"/>
                <a:gd name="connsiteY115" fmla="*/ 36751 h 304127"/>
                <a:gd name="connsiteX116" fmla="*/ 123152 w 306028"/>
                <a:gd name="connsiteY116" fmla="*/ 39270 h 304127"/>
                <a:gd name="connsiteX117" fmla="*/ 120271 w 306028"/>
                <a:gd name="connsiteY117" fmla="*/ 45748 h 304127"/>
                <a:gd name="connsiteX118" fmla="*/ 120271 w 306028"/>
                <a:gd name="connsiteY118" fmla="*/ 95768 h 304127"/>
                <a:gd name="connsiteX119" fmla="*/ 115950 w 306028"/>
                <a:gd name="connsiteY119" fmla="*/ 100446 h 304127"/>
                <a:gd name="connsiteX120" fmla="*/ 111269 w 306028"/>
                <a:gd name="connsiteY120" fmla="*/ 95768 h 304127"/>
                <a:gd name="connsiteX121" fmla="*/ 111269 w 306028"/>
                <a:gd name="connsiteY121" fmla="*/ 45748 h 304127"/>
                <a:gd name="connsiteX122" fmla="*/ 111269 w 306028"/>
                <a:gd name="connsiteY122" fmla="*/ 25956 h 304127"/>
                <a:gd name="connsiteX123" fmla="*/ 102627 w 306028"/>
                <a:gd name="connsiteY123" fmla="*/ 16599 h 304127"/>
                <a:gd name="connsiteX124" fmla="*/ 96145 w 306028"/>
                <a:gd name="connsiteY124" fmla="*/ 18759 h 304127"/>
                <a:gd name="connsiteX125" fmla="*/ 93264 w 306028"/>
                <a:gd name="connsiteY125" fmla="*/ 25236 h 304127"/>
                <a:gd name="connsiteX126" fmla="*/ 93264 w 306028"/>
                <a:gd name="connsiteY126" fmla="*/ 91450 h 304127"/>
                <a:gd name="connsiteX127" fmla="*/ 88583 w 306028"/>
                <a:gd name="connsiteY127" fmla="*/ 96128 h 304127"/>
                <a:gd name="connsiteX128" fmla="*/ 83902 w 306028"/>
                <a:gd name="connsiteY128" fmla="*/ 91450 h 304127"/>
                <a:gd name="connsiteX129" fmla="*/ 83902 w 306028"/>
                <a:gd name="connsiteY129" fmla="*/ 25236 h 304127"/>
                <a:gd name="connsiteX130" fmla="*/ 83902 w 306028"/>
                <a:gd name="connsiteY130" fmla="*/ 18759 h 304127"/>
                <a:gd name="connsiteX131" fmla="*/ 75620 w 306028"/>
                <a:gd name="connsiteY131" fmla="*/ 9402 h 304127"/>
                <a:gd name="connsiteX132" fmla="*/ 75980 w 306028"/>
                <a:gd name="connsiteY132" fmla="*/ 46 h 304127"/>
                <a:gd name="connsiteX133" fmla="*/ 91464 w 306028"/>
                <a:gd name="connsiteY133" fmla="*/ 10482 h 304127"/>
                <a:gd name="connsiteX134" fmla="*/ 102987 w 306028"/>
                <a:gd name="connsiteY134" fmla="*/ 7243 h 304127"/>
                <a:gd name="connsiteX135" fmla="*/ 120271 w 306028"/>
                <a:gd name="connsiteY135" fmla="*/ 25956 h 304127"/>
                <a:gd name="connsiteX136" fmla="*/ 120271 w 306028"/>
                <a:gd name="connsiteY136" fmla="*/ 29914 h 304127"/>
                <a:gd name="connsiteX137" fmla="*/ 130354 w 306028"/>
                <a:gd name="connsiteY137" fmla="*/ 27395 h 304127"/>
                <a:gd name="connsiteX138" fmla="*/ 147278 w 306028"/>
                <a:gd name="connsiteY138" fmla="*/ 46468 h 304127"/>
                <a:gd name="connsiteX139" fmla="*/ 147278 w 306028"/>
                <a:gd name="connsiteY139" fmla="*/ 90370 h 304127"/>
                <a:gd name="connsiteX140" fmla="*/ 137556 w 306028"/>
                <a:gd name="connsiteY140" fmla="*/ 156225 h 304127"/>
                <a:gd name="connsiteX141" fmla="*/ 128553 w 306028"/>
                <a:gd name="connsiteY141" fmla="*/ 214881 h 304127"/>
                <a:gd name="connsiteX142" fmla="*/ 130354 w 306028"/>
                <a:gd name="connsiteY142" fmla="*/ 214881 h 304127"/>
                <a:gd name="connsiteX143" fmla="*/ 139356 w 306028"/>
                <a:gd name="connsiteY143" fmla="*/ 224238 h 304127"/>
                <a:gd name="connsiteX144" fmla="*/ 139356 w 306028"/>
                <a:gd name="connsiteY144" fmla="*/ 299448 h 304127"/>
                <a:gd name="connsiteX145" fmla="*/ 134675 w 306028"/>
                <a:gd name="connsiteY145" fmla="*/ 304126 h 304127"/>
                <a:gd name="connsiteX146" fmla="*/ 130354 w 306028"/>
                <a:gd name="connsiteY146" fmla="*/ 299448 h 304127"/>
                <a:gd name="connsiteX147" fmla="*/ 130354 w 306028"/>
                <a:gd name="connsiteY147" fmla="*/ 269580 h 304127"/>
                <a:gd name="connsiteX148" fmla="*/ 28448 w 306028"/>
                <a:gd name="connsiteY148" fmla="*/ 269580 h 304127"/>
                <a:gd name="connsiteX149" fmla="*/ 28448 w 306028"/>
                <a:gd name="connsiteY149" fmla="*/ 299448 h 304127"/>
                <a:gd name="connsiteX150" fmla="*/ 23766 w 306028"/>
                <a:gd name="connsiteY150" fmla="*/ 304126 h 304127"/>
                <a:gd name="connsiteX151" fmla="*/ 19085 w 306028"/>
                <a:gd name="connsiteY151" fmla="*/ 299448 h 304127"/>
                <a:gd name="connsiteX152" fmla="*/ 19085 w 306028"/>
                <a:gd name="connsiteY152" fmla="*/ 224238 h 304127"/>
                <a:gd name="connsiteX153" fmla="*/ 28448 w 306028"/>
                <a:gd name="connsiteY153" fmla="*/ 214881 h 304127"/>
                <a:gd name="connsiteX154" fmla="*/ 29888 w 306028"/>
                <a:gd name="connsiteY154" fmla="*/ 214881 h 304127"/>
                <a:gd name="connsiteX155" fmla="*/ 29888 w 306028"/>
                <a:gd name="connsiteY155" fmla="*/ 205525 h 304127"/>
                <a:gd name="connsiteX156" fmla="*/ 24487 w 306028"/>
                <a:gd name="connsiteY156" fmla="*/ 191850 h 304127"/>
                <a:gd name="connsiteX157" fmla="*/ 9003 w 306028"/>
                <a:gd name="connsiteY157" fmla="*/ 176377 h 304127"/>
                <a:gd name="connsiteX158" fmla="*/ 0 w 306028"/>
                <a:gd name="connsiteY158" fmla="*/ 152626 h 304127"/>
                <a:gd name="connsiteX159" fmla="*/ 0 w 306028"/>
                <a:gd name="connsiteY159" fmla="*/ 103325 h 304127"/>
                <a:gd name="connsiteX160" fmla="*/ 15484 w 306028"/>
                <a:gd name="connsiteY160" fmla="*/ 82094 h 304127"/>
                <a:gd name="connsiteX161" fmla="*/ 29888 w 306028"/>
                <a:gd name="connsiteY161" fmla="*/ 85332 h 304127"/>
                <a:gd name="connsiteX162" fmla="*/ 29888 w 306028"/>
                <a:gd name="connsiteY162" fmla="*/ 38911 h 304127"/>
                <a:gd name="connsiteX163" fmla="*/ 44652 w 306028"/>
                <a:gd name="connsiteY163" fmla="*/ 20558 h 304127"/>
                <a:gd name="connsiteX164" fmla="*/ 56895 w 306028"/>
                <a:gd name="connsiteY164" fmla="*/ 22717 h 304127"/>
                <a:gd name="connsiteX165" fmla="*/ 56895 w 306028"/>
                <a:gd name="connsiteY165" fmla="*/ 18039 h 304127"/>
                <a:gd name="connsiteX166" fmla="*/ 62656 w 306028"/>
                <a:gd name="connsiteY166" fmla="*/ 5084 h 304127"/>
                <a:gd name="connsiteX167" fmla="*/ 75980 w 306028"/>
                <a:gd name="connsiteY167" fmla="*/ 46 h 30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306028" h="304127">
                  <a:moveTo>
                    <a:pt x="28448" y="224238"/>
                  </a:moveTo>
                  <a:lnTo>
                    <a:pt x="28448" y="260583"/>
                  </a:lnTo>
                  <a:lnTo>
                    <a:pt x="130354" y="260583"/>
                  </a:lnTo>
                  <a:lnTo>
                    <a:pt x="130354" y="224238"/>
                  </a:lnTo>
                  <a:close/>
                  <a:moveTo>
                    <a:pt x="235090" y="63546"/>
                  </a:moveTo>
                  <a:cubicBezTo>
                    <a:pt x="241932" y="63905"/>
                    <a:pt x="247693" y="68221"/>
                    <a:pt x="250214" y="73974"/>
                  </a:cubicBezTo>
                  <a:cubicBezTo>
                    <a:pt x="253815" y="71817"/>
                    <a:pt x="257776" y="70378"/>
                    <a:pt x="262097" y="70378"/>
                  </a:cubicBezTo>
                  <a:cubicBezTo>
                    <a:pt x="271459" y="71098"/>
                    <a:pt x="279381" y="79369"/>
                    <a:pt x="279381" y="89438"/>
                  </a:cubicBezTo>
                  <a:lnTo>
                    <a:pt x="279381" y="93034"/>
                  </a:lnTo>
                  <a:cubicBezTo>
                    <a:pt x="282262" y="91236"/>
                    <a:pt x="285503" y="90517"/>
                    <a:pt x="289104" y="90876"/>
                  </a:cubicBezTo>
                  <a:cubicBezTo>
                    <a:pt x="298826" y="91236"/>
                    <a:pt x="306028" y="99867"/>
                    <a:pt x="306028" y="109576"/>
                  </a:cubicBezTo>
                  <a:lnTo>
                    <a:pt x="306028" y="153449"/>
                  </a:lnTo>
                  <a:cubicBezTo>
                    <a:pt x="306028" y="176104"/>
                    <a:pt x="303147" y="198041"/>
                    <a:pt x="296306" y="219618"/>
                  </a:cubicBezTo>
                  <a:cubicBezTo>
                    <a:pt x="290544" y="239396"/>
                    <a:pt x="287663" y="259535"/>
                    <a:pt x="287663" y="280032"/>
                  </a:cubicBezTo>
                  <a:lnTo>
                    <a:pt x="287663" y="299452"/>
                  </a:lnTo>
                  <a:cubicBezTo>
                    <a:pt x="287663" y="302328"/>
                    <a:pt x="285503" y="304127"/>
                    <a:pt x="282982" y="304127"/>
                  </a:cubicBezTo>
                  <a:cubicBezTo>
                    <a:pt x="280462" y="304127"/>
                    <a:pt x="278301" y="302328"/>
                    <a:pt x="278301" y="299452"/>
                  </a:cubicBezTo>
                  <a:lnTo>
                    <a:pt x="278301" y="280032"/>
                  </a:lnTo>
                  <a:cubicBezTo>
                    <a:pt x="278301" y="258815"/>
                    <a:pt x="281542" y="237239"/>
                    <a:pt x="287663" y="217100"/>
                  </a:cubicBezTo>
                  <a:cubicBezTo>
                    <a:pt x="293785" y="196243"/>
                    <a:pt x="297026" y="175026"/>
                    <a:pt x="297026" y="153449"/>
                  </a:cubicBezTo>
                  <a:lnTo>
                    <a:pt x="297026" y="109576"/>
                  </a:lnTo>
                  <a:cubicBezTo>
                    <a:pt x="297026" y="104542"/>
                    <a:pt x="293065" y="100226"/>
                    <a:pt x="288744" y="100226"/>
                  </a:cubicBezTo>
                  <a:cubicBezTo>
                    <a:pt x="285863" y="99867"/>
                    <a:pt x="283702" y="100945"/>
                    <a:pt x="281902" y="102384"/>
                  </a:cubicBezTo>
                  <a:cubicBezTo>
                    <a:pt x="280101" y="104182"/>
                    <a:pt x="279381" y="106340"/>
                    <a:pt x="279381" y="108857"/>
                  </a:cubicBezTo>
                  <a:lnTo>
                    <a:pt x="279381" y="159203"/>
                  </a:lnTo>
                  <a:cubicBezTo>
                    <a:pt x="279381" y="161720"/>
                    <a:pt x="277221" y="163518"/>
                    <a:pt x="274700" y="163518"/>
                  </a:cubicBezTo>
                  <a:cubicBezTo>
                    <a:pt x="272179" y="163518"/>
                    <a:pt x="270019" y="161720"/>
                    <a:pt x="270019" y="159203"/>
                  </a:cubicBezTo>
                  <a:lnTo>
                    <a:pt x="270019" y="108857"/>
                  </a:lnTo>
                  <a:lnTo>
                    <a:pt x="270019" y="89438"/>
                  </a:lnTo>
                  <a:cubicBezTo>
                    <a:pt x="270019" y="84403"/>
                    <a:pt x="266058" y="80088"/>
                    <a:pt x="261377" y="79728"/>
                  </a:cubicBezTo>
                  <a:cubicBezTo>
                    <a:pt x="258856" y="79728"/>
                    <a:pt x="256695" y="80447"/>
                    <a:pt x="254895" y="82246"/>
                  </a:cubicBezTo>
                  <a:cubicBezTo>
                    <a:pt x="253095" y="83684"/>
                    <a:pt x="252374" y="86201"/>
                    <a:pt x="252374" y="88719"/>
                  </a:cubicBezTo>
                  <a:lnTo>
                    <a:pt x="252374" y="154887"/>
                  </a:lnTo>
                  <a:cubicBezTo>
                    <a:pt x="252374" y="157405"/>
                    <a:pt x="250214" y="159562"/>
                    <a:pt x="247693" y="159562"/>
                  </a:cubicBezTo>
                  <a:cubicBezTo>
                    <a:pt x="245172" y="159562"/>
                    <a:pt x="243012" y="157405"/>
                    <a:pt x="243012" y="154887"/>
                  </a:cubicBezTo>
                  <a:lnTo>
                    <a:pt x="243012" y="88719"/>
                  </a:lnTo>
                  <a:lnTo>
                    <a:pt x="243012" y="82246"/>
                  </a:lnTo>
                  <a:cubicBezTo>
                    <a:pt x="243012" y="77211"/>
                    <a:pt x="239051" y="72896"/>
                    <a:pt x="234370" y="72536"/>
                  </a:cubicBezTo>
                  <a:cubicBezTo>
                    <a:pt x="232209" y="72536"/>
                    <a:pt x="229689" y="73255"/>
                    <a:pt x="227888" y="75053"/>
                  </a:cubicBezTo>
                  <a:cubicBezTo>
                    <a:pt x="226088" y="76492"/>
                    <a:pt x="225007" y="79009"/>
                    <a:pt x="225007" y="81526"/>
                  </a:cubicBezTo>
                  <a:lnTo>
                    <a:pt x="225007" y="101665"/>
                  </a:lnTo>
                  <a:lnTo>
                    <a:pt x="225007" y="150572"/>
                  </a:lnTo>
                  <a:cubicBezTo>
                    <a:pt x="225007" y="153089"/>
                    <a:pt x="222847" y="155247"/>
                    <a:pt x="220326" y="155247"/>
                  </a:cubicBezTo>
                  <a:cubicBezTo>
                    <a:pt x="217805" y="155247"/>
                    <a:pt x="216005" y="153089"/>
                    <a:pt x="216005" y="150572"/>
                  </a:cubicBezTo>
                  <a:lnTo>
                    <a:pt x="216005" y="101665"/>
                  </a:lnTo>
                  <a:lnTo>
                    <a:pt x="216005" y="101305"/>
                  </a:lnTo>
                  <a:cubicBezTo>
                    <a:pt x="216005" y="98788"/>
                    <a:pt x="214565" y="96630"/>
                    <a:pt x="212764" y="94832"/>
                  </a:cubicBezTo>
                  <a:cubicBezTo>
                    <a:pt x="210604" y="93034"/>
                    <a:pt x="208083" y="92674"/>
                    <a:pt x="205202" y="93034"/>
                  </a:cubicBezTo>
                  <a:cubicBezTo>
                    <a:pt x="201241" y="93753"/>
                    <a:pt x="198000" y="97709"/>
                    <a:pt x="198000" y="102024"/>
                  </a:cubicBezTo>
                  <a:lnTo>
                    <a:pt x="198000" y="166035"/>
                  </a:lnTo>
                  <a:lnTo>
                    <a:pt x="198000" y="193366"/>
                  </a:lnTo>
                  <a:cubicBezTo>
                    <a:pt x="198000" y="195883"/>
                    <a:pt x="199081" y="198041"/>
                    <a:pt x="200521" y="199839"/>
                  </a:cubicBezTo>
                  <a:lnTo>
                    <a:pt x="206643" y="206312"/>
                  </a:lnTo>
                  <a:cubicBezTo>
                    <a:pt x="208443" y="208110"/>
                    <a:pt x="208083" y="211346"/>
                    <a:pt x="206643" y="212785"/>
                  </a:cubicBezTo>
                  <a:cubicBezTo>
                    <a:pt x="205562" y="213864"/>
                    <a:pt x="204482" y="214223"/>
                    <a:pt x="203402" y="214223"/>
                  </a:cubicBezTo>
                  <a:cubicBezTo>
                    <a:pt x="201961" y="214223"/>
                    <a:pt x="200881" y="213504"/>
                    <a:pt x="200161" y="212785"/>
                  </a:cubicBezTo>
                  <a:lnTo>
                    <a:pt x="193679" y="206312"/>
                  </a:lnTo>
                  <a:cubicBezTo>
                    <a:pt x="190798" y="202716"/>
                    <a:pt x="188998" y="198041"/>
                    <a:pt x="188998" y="193366"/>
                  </a:cubicBezTo>
                  <a:lnTo>
                    <a:pt x="188998" y="166035"/>
                  </a:lnTo>
                  <a:cubicBezTo>
                    <a:pt x="188998" y="162439"/>
                    <a:pt x="187198" y="158843"/>
                    <a:pt x="184677" y="156326"/>
                  </a:cubicBezTo>
                  <a:cubicBezTo>
                    <a:pt x="182156" y="154528"/>
                    <a:pt x="179276" y="153808"/>
                    <a:pt x="176395" y="154528"/>
                  </a:cubicBezTo>
                  <a:cubicBezTo>
                    <a:pt x="171714" y="155607"/>
                    <a:pt x="168113" y="160641"/>
                    <a:pt x="168113" y="166755"/>
                  </a:cubicBezTo>
                  <a:lnTo>
                    <a:pt x="168113" y="216021"/>
                  </a:lnTo>
                  <a:cubicBezTo>
                    <a:pt x="168113" y="222135"/>
                    <a:pt x="170273" y="228608"/>
                    <a:pt x="174594" y="232923"/>
                  </a:cubicBezTo>
                  <a:lnTo>
                    <a:pt x="190078" y="248746"/>
                  </a:lnTo>
                  <a:cubicBezTo>
                    <a:pt x="195120" y="253781"/>
                    <a:pt x="198000" y="260973"/>
                    <a:pt x="198000" y="268525"/>
                  </a:cubicBezTo>
                  <a:lnTo>
                    <a:pt x="198000" y="299452"/>
                  </a:lnTo>
                  <a:cubicBezTo>
                    <a:pt x="198000" y="302328"/>
                    <a:pt x="196200" y="304127"/>
                    <a:pt x="193679" y="304127"/>
                  </a:cubicBezTo>
                  <a:cubicBezTo>
                    <a:pt x="190798" y="304127"/>
                    <a:pt x="188998" y="302328"/>
                    <a:pt x="188998" y="299452"/>
                  </a:cubicBezTo>
                  <a:lnTo>
                    <a:pt x="188998" y="268525"/>
                  </a:lnTo>
                  <a:cubicBezTo>
                    <a:pt x="188998" y="263490"/>
                    <a:pt x="186837" y="258815"/>
                    <a:pt x="183237" y="255219"/>
                  </a:cubicBezTo>
                  <a:lnTo>
                    <a:pt x="167753" y="239396"/>
                  </a:lnTo>
                  <a:cubicBezTo>
                    <a:pt x="161991" y="232923"/>
                    <a:pt x="158750" y="224652"/>
                    <a:pt x="158750" y="216021"/>
                  </a:cubicBezTo>
                  <a:lnTo>
                    <a:pt x="158750" y="166755"/>
                  </a:lnTo>
                  <a:cubicBezTo>
                    <a:pt x="158750" y="156326"/>
                    <a:pt x="165232" y="147695"/>
                    <a:pt x="174234" y="145537"/>
                  </a:cubicBezTo>
                  <a:cubicBezTo>
                    <a:pt x="179276" y="144458"/>
                    <a:pt x="184677" y="145537"/>
                    <a:pt x="188998" y="148414"/>
                  </a:cubicBezTo>
                  <a:lnTo>
                    <a:pt x="188998" y="102024"/>
                  </a:lnTo>
                  <a:cubicBezTo>
                    <a:pt x="188998" y="93034"/>
                    <a:pt x="195120" y="85482"/>
                    <a:pt x="203762" y="83684"/>
                  </a:cubicBezTo>
                  <a:cubicBezTo>
                    <a:pt x="207723" y="82965"/>
                    <a:pt x="212404" y="83684"/>
                    <a:pt x="216005" y="85842"/>
                  </a:cubicBezTo>
                  <a:lnTo>
                    <a:pt x="216005" y="81526"/>
                  </a:lnTo>
                  <a:cubicBezTo>
                    <a:pt x="216005" y="76492"/>
                    <a:pt x="217805" y="71817"/>
                    <a:pt x="221406" y="68580"/>
                  </a:cubicBezTo>
                  <a:cubicBezTo>
                    <a:pt x="225007" y="64984"/>
                    <a:pt x="230049" y="63186"/>
                    <a:pt x="235090" y="63546"/>
                  </a:cubicBezTo>
                  <a:close/>
                  <a:moveTo>
                    <a:pt x="75620" y="9402"/>
                  </a:moveTo>
                  <a:cubicBezTo>
                    <a:pt x="73459" y="9042"/>
                    <a:pt x="70939" y="10122"/>
                    <a:pt x="69138" y="11561"/>
                  </a:cubicBezTo>
                  <a:cubicBezTo>
                    <a:pt x="67338" y="13361"/>
                    <a:pt x="66257" y="15520"/>
                    <a:pt x="66257" y="18039"/>
                  </a:cubicBezTo>
                  <a:lnTo>
                    <a:pt x="66257" y="38191"/>
                  </a:lnTo>
                  <a:lnTo>
                    <a:pt x="66257" y="87132"/>
                  </a:lnTo>
                  <a:cubicBezTo>
                    <a:pt x="66257" y="90011"/>
                    <a:pt x="64097" y="91810"/>
                    <a:pt x="61576" y="91810"/>
                  </a:cubicBezTo>
                  <a:cubicBezTo>
                    <a:pt x="59055" y="91810"/>
                    <a:pt x="56895" y="90011"/>
                    <a:pt x="56895" y="87132"/>
                  </a:cubicBezTo>
                  <a:lnTo>
                    <a:pt x="56895" y="38191"/>
                  </a:lnTo>
                  <a:cubicBezTo>
                    <a:pt x="56895" y="35672"/>
                    <a:pt x="55815" y="33153"/>
                    <a:pt x="54014" y="31354"/>
                  </a:cubicBezTo>
                  <a:cubicBezTo>
                    <a:pt x="51854" y="29914"/>
                    <a:pt x="49333" y="29194"/>
                    <a:pt x="46452" y="29554"/>
                  </a:cubicBezTo>
                  <a:cubicBezTo>
                    <a:pt x="42491" y="30634"/>
                    <a:pt x="39250" y="34592"/>
                    <a:pt x="39250" y="38911"/>
                  </a:cubicBezTo>
                  <a:lnTo>
                    <a:pt x="39250" y="102606"/>
                  </a:lnTo>
                  <a:lnTo>
                    <a:pt x="39250" y="129955"/>
                  </a:lnTo>
                  <a:cubicBezTo>
                    <a:pt x="39250" y="132474"/>
                    <a:pt x="39971" y="134993"/>
                    <a:pt x="41771" y="136432"/>
                  </a:cubicBezTo>
                  <a:lnTo>
                    <a:pt x="47893" y="143270"/>
                  </a:lnTo>
                  <a:cubicBezTo>
                    <a:pt x="49693" y="145069"/>
                    <a:pt x="49333" y="147948"/>
                    <a:pt x="47532" y="149747"/>
                  </a:cubicBezTo>
                  <a:cubicBezTo>
                    <a:pt x="46812" y="150467"/>
                    <a:pt x="45732" y="150827"/>
                    <a:pt x="44292" y="150827"/>
                  </a:cubicBezTo>
                  <a:cubicBezTo>
                    <a:pt x="43211" y="150827"/>
                    <a:pt x="42131" y="150107"/>
                    <a:pt x="41051" y="149387"/>
                  </a:cubicBezTo>
                  <a:lnTo>
                    <a:pt x="34929" y="142910"/>
                  </a:lnTo>
                  <a:cubicBezTo>
                    <a:pt x="32048" y="139311"/>
                    <a:pt x="29888" y="134993"/>
                    <a:pt x="29888" y="129955"/>
                  </a:cubicBezTo>
                  <a:lnTo>
                    <a:pt x="29888" y="102606"/>
                  </a:lnTo>
                  <a:cubicBezTo>
                    <a:pt x="29888" y="99007"/>
                    <a:pt x="28448" y="95408"/>
                    <a:pt x="25567" y="93249"/>
                  </a:cubicBezTo>
                  <a:cubicBezTo>
                    <a:pt x="23406" y="91090"/>
                    <a:pt x="20526" y="90730"/>
                    <a:pt x="17645" y="91090"/>
                  </a:cubicBezTo>
                  <a:cubicBezTo>
                    <a:pt x="12964" y="92530"/>
                    <a:pt x="9363" y="97568"/>
                    <a:pt x="9363" y="103325"/>
                  </a:cubicBezTo>
                  <a:lnTo>
                    <a:pt x="9363" y="152626"/>
                  </a:lnTo>
                  <a:cubicBezTo>
                    <a:pt x="9363" y="159103"/>
                    <a:pt x="11523" y="165221"/>
                    <a:pt x="15844" y="169899"/>
                  </a:cubicBezTo>
                  <a:lnTo>
                    <a:pt x="30968" y="185373"/>
                  </a:lnTo>
                  <a:cubicBezTo>
                    <a:pt x="36370" y="190771"/>
                    <a:pt x="39250" y="197968"/>
                    <a:pt x="39250" y="205525"/>
                  </a:cubicBezTo>
                  <a:lnTo>
                    <a:pt x="39250" y="214881"/>
                  </a:lnTo>
                  <a:lnTo>
                    <a:pt x="119551" y="214881"/>
                  </a:lnTo>
                  <a:cubicBezTo>
                    <a:pt x="119551" y="194369"/>
                    <a:pt x="122792" y="173498"/>
                    <a:pt x="128553" y="153705"/>
                  </a:cubicBezTo>
                  <a:cubicBezTo>
                    <a:pt x="135035" y="133194"/>
                    <a:pt x="137916" y="111962"/>
                    <a:pt x="137916" y="90370"/>
                  </a:cubicBezTo>
                  <a:lnTo>
                    <a:pt x="137916" y="46468"/>
                  </a:lnTo>
                  <a:cubicBezTo>
                    <a:pt x="137916" y="41070"/>
                    <a:pt x="134315" y="37111"/>
                    <a:pt x="129634" y="36751"/>
                  </a:cubicBezTo>
                  <a:cubicBezTo>
                    <a:pt x="127113" y="36392"/>
                    <a:pt x="124952" y="37471"/>
                    <a:pt x="123152" y="39270"/>
                  </a:cubicBezTo>
                  <a:cubicBezTo>
                    <a:pt x="121351" y="40710"/>
                    <a:pt x="120271" y="43229"/>
                    <a:pt x="120271" y="45748"/>
                  </a:cubicBezTo>
                  <a:lnTo>
                    <a:pt x="120271" y="95768"/>
                  </a:lnTo>
                  <a:cubicBezTo>
                    <a:pt x="120271" y="98287"/>
                    <a:pt x="118471" y="100446"/>
                    <a:pt x="115950" y="100446"/>
                  </a:cubicBezTo>
                  <a:cubicBezTo>
                    <a:pt x="113069" y="100446"/>
                    <a:pt x="111269" y="98287"/>
                    <a:pt x="111269" y="95768"/>
                  </a:cubicBezTo>
                  <a:lnTo>
                    <a:pt x="111269" y="45748"/>
                  </a:lnTo>
                  <a:lnTo>
                    <a:pt x="111269" y="25956"/>
                  </a:lnTo>
                  <a:cubicBezTo>
                    <a:pt x="111269" y="20918"/>
                    <a:pt x="107308" y="16599"/>
                    <a:pt x="102627" y="16599"/>
                  </a:cubicBezTo>
                  <a:cubicBezTo>
                    <a:pt x="100106" y="16240"/>
                    <a:pt x="97945" y="17319"/>
                    <a:pt x="96145" y="18759"/>
                  </a:cubicBezTo>
                  <a:cubicBezTo>
                    <a:pt x="94345" y="20558"/>
                    <a:pt x="93264" y="22717"/>
                    <a:pt x="93264" y="25236"/>
                  </a:cubicBezTo>
                  <a:lnTo>
                    <a:pt x="93264" y="91450"/>
                  </a:lnTo>
                  <a:cubicBezTo>
                    <a:pt x="93264" y="93969"/>
                    <a:pt x="91104" y="96128"/>
                    <a:pt x="88583" y="96128"/>
                  </a:cubicBezTo>
                  <a:cubicBezTo>
                    <a:pt x="86422" y="96128"/>
                    <a:pt x="83902" y="93969"/>
                    <a:pt x="83902" y="91450"/>
                  </a:cubicBezTo>
                  <a:lnTo>
                    <a:pt x="83902" y="25236"/>
                  </a:lnTo>
                  <a:lnTo>
                    <a:pt x="83902" y="18759"/>
                  </a:lnTo>
                  <a:cubicBezTo>
                    <a:pt x="83902" y="13721"/>
                    <a:pt x="80301" y="9402"/>
                    <a:pt x="75620" y="9402"/>
                  </a:cubicBezTo>
                  <a:close/>
                  <a:moveTo>
                    <a:pt x="75980" y="46"/>
                  </a:moveTo>
                  <a:cubicBezTo>
                    <a:pt x="83182" y="406"/>
                    <a:pt x="88583" y="4724"/>
                    <a:pt x="91464" y="10482"/>
                  </a:cubicBezTo>
                  <a:cubicBezTo>
                    <a:pt x="94705" y="8323"/>
                    <a:pt x="99026" y="6883"/>
                    <a:pt x="102987" y="7243"/>
                  </a:cubicBezTo>
                  <a:cubicBezTo>
                    <a:pt x="112709" y="7603"/>
                    <a:pt x="120271" y="15880"/>
                    <a:pt x="120271" y="25956"/>
                  </a:cubicBezTo>
                  <a:lnTo>
                    <a:pt x="120271" y="29914"/>
                  </a:lnTo>
                  <a:cubicBezTo>
                    <a:pt x="123152" y="28115"/>
                    <a:pt x="126753" y="27395"/>
                    <a:pt x="130354" y="27395"/>
                  </a:cubicBezTo>
                  <a:cubicBezTo>
                    <a:pt x="140076" y="27755"/>
                    <a:pt x="147278" y="36032"/>
                    <a:pt x="147278" y="46468"/>
                  </a:cubicBezTo>
                  <a:lnTo>
                    <a:pt x="147278" y="90370"/>
                  </a:lnTo>
                  <a:cubicBezTo>
                    <a:pt x="147278" y="112682"/>
                    <a:pt x="144037" y="134993"/>
                    <a:pt x="137556" y="156225"/>
                  </a:cubicBezTo>
                  <a:cubicBezTo>
                    <a:pt x="131794" y="175297"/>
                    <a:pt x="128553" y="195089"/>
                    <a:pt x="128553" y="214881"/>
                  </a:cubicBezTo>
                  <a:lnTo>
                    <a:pt x="130354" y="214881"/>
                  </a:lnTo>
                  <a:cubicBezTo>
                    <a:pt x="135395" y="214881"/>
                    <a:pt x="139356" y="219200"/>
                    <a:pt x="139356" y="224238"/>
                  </a:cubicBezTo>
                  <a:lnTo>
                    <a:pt x="139356" y="299448"/>
                  </a:lnTo>
                  <a:cubicBezTo>
                    <a:pt x="139356" y="302327"/>
                    <a:pt x="137556" y="304126"/>
                    <a:pt x="134675" y="304126"/>
                  </a:cubicBezTo>
                  <a:cubicBezTo>
                    <a:pt x="132154" y="304126"/>
                    <a:pt x="130354" y="302327"/>
                    <a:pt x="130354" y="299448"/>
                  </a:cubicBezTo>
                  <a:lnTo>
                    <a:pt x="130354" y="269580"/>
                  </a:lnTo>
                  <a:lnTo>
                    <a:pt x="28448" y="269580"/>
                  </a:lnTo>
                  <a:lnTo>
                    <a:pt x="28448" y="299448"/>
                  </a:lnTo>
                  <a:cubicBezTo>
                    <a:pt x="28448" y="302327"/>
                    <a:pt x="26287" y="304126"/>
                    <a:pt x="23766" y="304126"/>
                  </a:cubicBezTo>
                  <a:cubicBezTo>
                    <a:pt x="21246" y="304126"/>
                    <a:pt x="19085" y="302327"/>
                    <a:pt x="19085" y="299448"/>
                  </a:cubicBezTo>
                  <a:lnTo>
                    <a:pt x="19085" y="224238"/>
                  </a:lnTo>
                  <a:cubicBezTo>
                    <a:pt x="19085" y="219200"/>
                    <a:pt x="23406" y="214881"/>
                    <a:pt x="28448" y="214881"/>
                  </a:cubicBezTo>
                  <a:lnTo>
                    <a:pt x="29888" y="214881"/>
                  </a:lnTo>
                  <a:lnTo>
                    <a:pt x="29888" y="205525"/>
                  </a:lnTo>
                  <a:cubicBezTo>
                    <a:pt x="29888" y="200487"/>
                    <a:pt x="28087" y="195449"/>
                    <a:pt x="24487" y="191850"/>
                  </a:cubicBezTo>
                  <a:lnTo>
                    <a:pt x="9003" y="176377"/>
                  </a:lnTo>
                  <a:cubicBezTo>
                    <a:pt x="3241" y="169899"/>
                    <a:pt x="0" y="161622"/>
                    <a:pt x="0" y="152626"/>
                  </a:cubicBezTo>
                  <a:lnTo>
                    <a:pt x="0" y="103325"/>
                  </a:lnTo>
                  <a:cubicBezTo>
                    <a:pt x="0" y="93249"/>
                    <a:pt x="6482" y="84253"/>
                    <a:pt x="15484" y="82094"/>
                  </a:cubicBezTo>
                  <a:cubicBezTo>
                    <a:pt x="20526" y="81014"/>
                    <a:pt x="25567" y="82094"/>
                    <a:pt x="29888" y="85332"/>
                  </a:cubicBezTo>
                  <a:lnTo>
                    <a:pt x="29888" y="38911"/>
                  </a:lnTo>
                  <a:cubicBezTo>
                    <a:pt x="29888" y="29914"/>
                    <a:pt x="36010" y="21997"/>
                    <a:pt x="44652" y="20558"/>
                  </a:cubicBezTo>
                  <a:cubicBezTo>
                    <a:pt x="48973" y="19838"/>
                    <a:pt x="53654" y="20558"/>
                    <a:pt x="56895" y="22717"/>
                  </a:cubicBezTo>
                  <a:lnTo>
                    <a:pt x="56895" y="18039"/>
                  </a:lnTo>
                  <a:cubicBezTo>
                    <a:pt x="56895" y="13001"/>
                    <a:pt x="59055" y="8323"/>
                    <a:pt x="62656" y="5084"/>
                  </a:cubicBezTo>
                  <a:cubicBezTo>
                    <a:pt x="66257" y="1485"/>
                    <a:pt x="71299" y="-314"/>
                    <a:pt x="75980" y="46"/>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1" name="Grupo 40">
            <a:extLst>
              <a:ext uri="{FF2B5EF4-FFF2-40B4-BE49-F238E27FC236}">
                <a16:creationId xmlns:a16="http://schemas.microsoft.com/office/drawing/2014/main" id="{3BE70B35-979F-9740-B562-13AB1756C4F3}"/>
              </a:ext>
            </a:extLst>
          </p:cNvPr>
          <p:cNvGrpSpPr/>
          <p:nvPr/>
        </p:nvGrpSpPr>
        <p:grpSpPr>
          <a:xfrm>
            <a:off x="9905588" y="1525668"/>
            <a:ext cx="1133689" cy="1134158"/>
            <a:chOff x="8848347" y="1639968"/>
            <a:chExt cx="1133689" cy="1134158"/>
          </a:xfrm>
        </p:grpSpPr>
        <p:sp>
          <p:nvSpPr>
            <p:cNvPr id="13" name="Oval 10">
              <a:extLst>
                <a:ext uri="{FF2B5EF4-FFF2-40B4-BE49-F238E27FC236}">
                  <a16:creationId xmlns:a16="http://schemas.microsoft.com/office/drawing/2014/main" id="{09A9E50C-3141-F0FD-7020-F240A77305EB}"/>
                </a:ext>
              </a:extLst>
            </p:cNvPr>
            <p:cNvSpPr/>
            <p:nvPr/>
          </p:nvSpPr>
          <p:spPr>
            <a:xfrm>
              <a:off x="8848347" y="1639968"/>
              <a:ext cx="1133689" cy="1134158"/>
            </a:xfrm>
            <a:prstGeom prst="rect">
              <a:avLst/>
            </a:prstGeom>
            <a:solidFill>
              <a:schemeClr val="accent3"/>
            </a:solidFill>
            <a:effectLst/>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19" name="Freeform 28">
              <a:extLst>
                <a:ext uri="{FF2B5EF4-FFF2-40B4-BE49-F238E27FC236}">
                  <a16:creationId xmlns:a16="http://schemas.microsoft.com/office/drawing/2014/main" id="{F502D0FF-909A-83E6-7C8E-85275E8A2531}"/>
                </a:ext>
              </a:extLst>
            </p:cNvPr>
            <p:cNvSpPr>
              <a:spLocks noChangeArrowheads="1"/>
            </p:cNvSpPr>
            <p:nvPr/>
          </p:nvSpPr>
          <p:spPr bwMode="auto">
            <a:xfrm>
              <a:off x="9170799" y="1951138"/>
              <a:ext cx="535317" cy="535315"/>
            </a:xfrm>
            <a:custGeom>
              <a:avLst/>
              <a:gdLst>
                <a:gd name="connsiteX0" fmla="*/ 157776 w 315553"/>
                <a:gd name="connsiteY0" fmla="*/ 101432 h 315552"/>
                <a:gd name="connsiteX1" fmla="*/ 140463 w 315553"/>
                <a:gd name="connsiteY1" fmla="*/ 113307 h 315552"/>
                <a:gd name="connsiteX2" fmla="*/ 124954 w 315553"/>
                <a:gd name="connsiteY2" fmla="*/ 154692 h 315552"/>
                <a:gd name="connsiteX3" fmla="*/ 170761 w 315553"/>
                <a:gd name="connsiteY3" fmla="*/ 143896 h 315552"/>
                <a:gd name="connsiteX4" fmla="*/ 176532 w 315553"/>
                <a:gd name="connsiteY4" fmla="*/ 147135 h 315552"/>
                <a:gd name="connsiteX5" fmla="*/ 173286 w 315553"/>
                <a:gd name="connsiteY5" fmla="*/ 153252 h 315552"/>
                <a:gd name="connsiteX6" fmla="*/ 120986 w 315553"/>
                <a:gd name="connsiteY6" fmla="*/ 165488 h 315552"/>
                <a:gd name="connsiteX7" fmla="*/ 102591 w 315553"/>
                <a:gd name="connsiteY7" fmla="*/ 215509 h 315552"/>
                <a:gd name="connsiteX8" fmla="*/ 186992 w 315553"/>
                <a:gd name="connsiteY8" fmla="*/ 194997 h 315552"/>
                <a:gd name="connsiteX9" fmla="*/ 192763 w 315553"/>
                <a:gd name="connsiteY9" fmla="*/ 198596 h 315552"/>
                <a:gd name="connsiteX10" fmla="*/ 189156 w 315553"/>
                <a:gd name="connsiteY10" fmla="*/ 204353 h 315552"/>
                <a:gd name="connsiteX11" fmla="*/ 98623 w 315553"/>
                <a:gd name="connsiteY11" fmla="*/ 226305 h 315552"/>
                <a:gd name="connsiteX12" fmla="*/ 80228 w 315553"/>
                <a:gd name="connsiteY12" fmla="*/ 275967 h 315552"/>
                <a:gd name="connsiteX13" fmla="*/ 205388 w 315553"/>
                <a:gd name="connsiteY13" fmla="*/ 245738 h 315552"/>
                <a:gd name="connsiteX14" fmla="*/ 211159 w 315553"/>
                <a:gd name="connsiteY14" fmla="*/ 249337 h 315552"/>
                <a:gd name="connsiteX15" fmla="*/ 207912 w 315553"/>
                <a:gd name="connsiteY15" fmla="*/ 255095 h 315552"/>
                <a:gd name="connsiteX16" fmla="*/ 76260 w 315553"/>
                <a:gd name="connsiteY16" fmla="*/ 286763 h 315552"/>
                <a:gd name="connsiteX17" fmla="*/ 69047 w 315553"/>
                <a:gd name="connsiteY17" fmla="*/ 306196 h 315552"/>
                <a:gd name="connsiteX18" fmla="*/ 246867 w 315553"/>
                <a:gd name="connsiteY18" fmla="*/ 306196 h 315552"/>
                <a:gd name="connsiteX19" fmla="*/ 175090 w 315553"/>
                <a:gd name="connsiteY19" fmla="*/ 113307 h 315552"/>
                <a:gd name="connsiteX20" fmla="*/ 157776 w 315553"/>
                <a:gd name="connsiteY20" fmla="*/ 101432 h 315552"/>
                <a:gd name="connsiteX21" fmla="*/ 157776 w 315553"/>
                <a:gd name="connsiteY21" fmla="*/ 92075 h 315552"/>
                <a:gd name="connsiteX22" fmla="*/ 184107 w 315553"/>
                <a:gd name="connsiteY22" fmla="*/ 110068 h 315552"/>
                <a:gd name="connsiteX23" fmla="*/ 256966 w 315553"/>
                <a:gd name="connsiteY23" fmla="*/ 306196 h 315552"/>
                <a:gd name="connsiteX24" fmla="*/ 277526 w 315553"/>
                <a:gd name="connsiteY24" fmla="*/ 306196 h 315552"/>
                <a:gd name="connsiteX25" fmla="*/ 282215 w 315553"/>
                <a:gd name="connsiteY25" fmla="*/ 311234 h 315552"/>
                <a:gd name="connsiteX26" fmla="*/ 277526 w 315553"/>
                <a:gd name="connsiteY26" fmla="*/ 315552 h 315552"/>
                <a:gd name="connsiteX27" fmla="*/ 253359 w 315553"/>
                <a:gd name="connsiteY27" fmla="*/ 315552 h 315552"/>
                <a:gd name="connsiteX28" fmla="*/ 61833 w 315553"/>
                <a:gd name="connsiteY28" fmla="*/ 315552 h 315552"/>
                <a:gd name="connsiteX29" fmla="*/ 38027 w 315553"/>
                <a:gd name="connsiteY29" fmla="*/ 315552 h 315552"/>
                <a:gd name="connsiteX30" fmla="*/ 33338 w 315553"/>
                <a:gd name="connsiteY30" fmla="*/ 311234 h 315552"/>
                <a:gd name="connsiteX31" fmla="*/ 38027 w 315553"/>
                <a:gd name="connsiteY31" fmla="*/ 306196 h 315552"/>
                <a:gd name="connsiteX32" fmla="*/ 58947 w 315553"/>
                <a:gd name="connsiteY32" fmla="*/ 306196 h 315552"/>
                <a:gd name="connsiteX33" fmla="*/ 131807 w 315553"/>
                <a:gd name="connsiteY33" fmla="*/ 110068 h 315552"/>
                <a:gd name="connsiteX34" fmla="*/ 157776 w 315553"/>
                <a:gd name="connsiteY34" fmla="*/ 92075 h 315552"/>
                <a:gd name="connsiteX35" fmla="*/ 282399 w 315553"/>
                <a:gd name="connsiteY35" fmla="*/ 25728 h 315552"/>
                <a:gd name="connsiteX36" fmla="*/ 289102 w 315553"/>
                <a:gd name="connsiteY36" fmla="*/ 25728 h 315552"/>
                <a:gd name="connsiteX37" fmla="*/ 290160 w 315553"/>
                <a:gd name="connsiteY37" fmla="*/ 29560 h 315552"/>
                <a:gd name="connsiteX38" fmla="*/ 289102 w 315553"/>
                <a:gd name="connsiteY38" fmla="*/ 33009 h 315552"/>
                <a:gd name="connsiteX39" fmla="*/ 285574 w 315553"/>
                <a:gd name="connsiteY39" fmla="*/ 34542 h 315552"/>
                <a:gd name="connsiteX40" fmla="*/ 282399 w 315553"/>
                <a:gd name="connsiteY40" fmla="*/ 33009 h 315552"/>
                <a:gd name="connsiteX41" fmla="*/ 280988 w 315553"/>
                <a:gd name="connsiteY41" fmla="*/ 29560 h 315552"/>
                <a:gd name="connsiteX42" fmla="*/ 282399 w 315553"/>
                <a:gd name="connsiteY42" fmla="*/ 25728 h 315552"/>
                <a:gd name="connsiteX43" fmla="*/ 220436 w 315553"/>
                <a:gd name="connsiteY43" fmla="*/ 25728 h 315552"/>
                <a:gd name="connsiteX44" fmla="*/ 226899 w 315553"/>
                <a:gd name="connsiteY44" fmla="*/ 25728 h 315552"/>
                <a:gd name="connsiteX45" fmla="*/ 228260 w 315553"/>
                <a:gd name="connsiteY45" fmla="*/ 29560 h 315552"/>
                <a:gd name="connsiteX46" fmla="*/ 226899 w 315553"/>
                <a:gd name="connsiteY46" fmla="*/ 33009 h 315552"/>
                <a:gd name="connsiteX47" fmla="*/ 223498 w 315553"/>
                <a:gd name="connsiteY47" fmla="*/ 34542 h 315552"/>
                <a:gd name="connsiteX48" fmla="*/ 220436 w 315553"/>
                <a:gd name="connsiteY48" fmla="*/ 33009 h 315552"/>
                <a:gd name="connsiteX49" fmla="*/ 219075 w 315553"/>
                <a:gd name="connsiteY49" fmla="*/ 29560 h 315552"/>
                <a:gd name="connsiteX50" fmla="*/ 220436 w 315553"/>
                <a:gd name="connsiteY50" fmla="*/ 25728 h 315552"/>
                <a:gd name="connsiteX51" fmla="*/ 254001 w 315553"/>
                <a:gd name="connsiteY51" fmla="*/ 23812 h 315552"/>
                <a:gd name="connsiteX52" fmla="*/ 258423 w 315553"/>
                <a:gd name="connsiteY52" fmla="*/ 28574 h 315552"/>
                <a:gd name="connsiteX53" fmla="*/ 254001 w 315553"/>
                <a:gd name="connsiteY53" fmla="*/ 32997 h 315552"/>
                <a:gd name="connsiteX54" fmla="*/ 249238 w 315553"/>
                <a:gd name="connsiteY54" fmla="*/ 28574 h 315552"/>
                <a:gd name="connsiteX55" fmla="*/ 254001 w 315553"/>
                <a:gd name="connsiteY55" fmla="*/ 23812 h 315552"/>
                <a:gd name="connsiteX56" fmla="*/ 9726 w 315553"/>
                <a:gd name="connsiteY56" fmla="*/ 9376 h 315552"/>
                <a:gd name="connsiteX57" fmla="*/ 9726 w 315553"/>
                <a:gd name="connsiteY57" fmla="*/ 47603 h 315552"/>
                <a:gd name="connsiteX58" fmla="*/ 306187 w 315553"/>
                <a:gd name="connsiteY58" fmla="*/ 47603 h 315552"/>
                <a:gd name="connsiteX59" fmla="*/ 306187 w 315553"/>
                <a:gd name="connsiteY59" fmla="*/ 9376 h 315552"/>
                <a:gd name="connsiteX60" fmla="*/ 4683 w 315553"/>
                <a:gd name="connsiteY60" fmla="*/ 0 h 315552"/>
                <a:gd name="connsiteX61" fmla="*/ 310510 w 315553"/>
                <a:gd name="connsiteY61" fmla="*/ 0 h 315552"/>
                <a:gd name="connsiteX62" fmla="*/ 315553 w 315553"/>
                <a:gd name="connsiteY62" fmla="*/ 4688 h 315552"/>
                <a:gd name="connsiteX63" fmla="*/ 315553 w 315553"/>
                <a:gd name="connsiteY63" fmla="*/ 52652 h 315552"/>
                <a:gd name="connsiteX64" fmla="*/ 315553 w 315553"/>
                <a:gd name="connsiteY64" fmla="*/ 311224 h 315552"/>
                <a:gd name="connsiteX65" fmla="*/ 310510 w 315553"/>
                <a:gd name="connsiteY65" fmla="*/ 315552 h 315552"/>
                <a:gd name="connsiteX66" fmla="*/ 306187 w 315553"/>
                <a:gd name="connsiteY66" fmla="*/ 311224 h 315552"/>
                <a:gd name="connsiteX67" fmla="*/ 306187 w 315553"/>
                <a:gd name="connsiteY67" fmla="*/ 57340 h 315552"/>
                <a:gd name="connsiteX68" fmla="*/ 9726 w 315553"/>
                <a:gd name="connsiteY68" fmla="*/ 57340 h 315552"/>
                <a:gd name="connsiteX69" fmla="*/ 9726 w 315553"/>
                <a:gd name="connsiteY69" fmla="*/ 311224 h 315552"/>
                <a:gd name="connsiteX70" fmla="*/ 4683 w 315553"/>
                <a:gd name="connsiteY70" fmla="*/ 315552 h 315552"/>
                <a:gd name="connsiteX71" fmla="*/ 0 w 315553"/>
                <a:gd name="connsiteY71" fmla="*/ 311224 h 315552"/>
                <a:gd name="connsiteX72" fmla="*/ 0 w 315553"/>
                <a:gd name="connsiteY72" fmla="*/ 52652 h 315552"/>
                <a:gd name="connsiteX73" fmla="*/ 0 w 315553"/>
                <a:gd name="connsiteY73" fmla="*/ 4688 h 315552"/>
                <a:gd name="connsiteX74" fmla="*/ 4683 w 315553"/>
                <a:gd name="connsiteY74" fmla="*/ 0 h 31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15553" h="315552">
                  <a:moveTo>
                    <a:pt x="157776" y="101432"/>
                  </a:moveTo>
                  <a:cubicBezTo>
                    <a:pt x="151645" y="101432"/>
                    <a:pt x="143709" y="104670"/>
                    <a:pt x="140463" y="113307"/>
                  </a:cubicBezTo>
                  <a:lnTo>
                    <a:pt x="124954" y="154692"/>
                  </a:lnTo>
                  <a:lnTo>
                    <a:pt x="170761" y="143896"/>
                  </a:lnTo>
                  <a:cubicBezTo>
                    <a:pt x="173286" y="143176"/>
                    <a:pt x="176172" y="144616"/>
                    <a:pt x="176532" y="147135"/>
                  </a:cubicBezTo>
                  <a:cubicBezTo>
                    <a:pt x="177254" y="150014"/>
                    <a:pt x="175811" y="152533"/>
                    <a:pt x="173286" y="153252"/>
                  </a:cubicBezTo>
                  <a:lnTo>
                    <a:pt x="120986" y="165488"/>
                  </a:lnTo>
                  <a:lnTo>
                    <a:pt x="102591" y="215509"/>
                  </a:lnTo>
                  <a:lnTo>
                    <a:pt x="186992" y="194997"/>
                  </a:lnTo>
                  <a:cubicBezTo>
                    <a:pt x="189517" y="194637"/>
                    <a:pt x="192042" y="196077"/>
                    <a:pt x="192763" y="198596"/>
                  </a:cubicBezTo>
                  <a:cubicBezTo>
                    <a:pt x="193485" y="201115"/>
                    <a:pt x="191681" y="203994"/>
                    <a:pt x="189156" y="204353"/>
                  </a:cubicBezTo>
                  <a:lnTo>
                    <a:pt x="98623" y="226305"/>
                  </a:lnTo>
                  <a:lnTo>
                    <a:pt x="80228" y="275967"/>
                  </a:lnTo>
                  <a:lnTo>
                    <a:pt x="205388" y="245738"/>
                  </a:lnTo>
                  <a:cubicBezTo>
                    <a:pt x="207912" y="245018"/>
                    <a:pt x="210798" y="246818"/>
                    <a:pt x="211159" y="249337"/>
                  </a:cubicBezTo>
                  <a:cubicBezTo>
                    <a:pt x="211880" y="251856"/>
                    <a:pt x="210437" y="254375"/>
                    <a:pt x="207912" y="255095"/>
                  </a:cubicBezTo>
                  <a:lnTo>
                    <a:pt x="76260" y="286763"/>
                  </a:lnTo>
                  <a:lnTo>
                    <a:pt x="69047" y="306196"/>
                  </a:lnTo>
                  <a:lnTo>
                    <a:pt x="246867" y="306196"/>
                  </a:lnTo>
                  <a:lnTo>
                    <a:pt x="175090" y="113307"/>
                  </a:lnTo>
                  <a:cubicBezTo>
                    <a:pt x="171843" y="104670"/>
                    <a:pt x="163908" y="101432"/>
                    <a:pt x="157776" y="101432"/>
                  </a:cubicBezTo>
                  <a:close/>
                  <a:moveTo>
                    <a:pt x="157776" y="92075"/>
                  </a:moveTo>
                  <a:cubicBezTo>
                    <a:pt x="169679" y="92075"/>
                    <a:pt x="180139" y="98913"/>
                    <a:pt x="184107" y="110068"/>
                  </a:cubicBezTo>
                  <a:lnTo>
                    <a:pt x="256966" y="306196"/>
                  </a:lnTo>
                  <a:lnTo>
                    <a:pt x="277526" y="306196"/>
                  </a:lnTo>
                  <a:cubicBezTo>
                    <a:pt x="280050" y="306196"/>
                    <a:pt x="282215" y="308355"/>
                    <a:pt x="282215" y="311234"/>
                  </a:cubicBezTo>
                  <a:cubicBezTo>
                    <a:pt x="282215" y="313753"/>
                    <a:pt x="280050" y="315552"/>
                    <a:pt x="277526" y="315552"/>
                  </a:cubicBezTo>
                  <a:lnTo>
                    <a:pt x="253359" y="315552"/>
                  </a:lnTo>
                  <a:lnTo>
                    <a:pt x="61833" y="315552"/>
                  </a:lnTo>
                  <a:lnTo>
                    <a:pt x="38027" y="315552"/>
                  </a:lnTo>
                  <a:cubicBezTo>
                    <a:pt x="35502" y="315552"/>
                    <a:pt x="33338" y="313753"/>
                    <a:pt x="33338" y="311234"/>
                  </a:cubicBezTo>
                  <a:cubicBezTo>
                    <a:pt x="33338" y="308355"/>
                    <a:pt x="35502" y="306196"/>
                    <a:pt x="38027" y="306196"/>
                  </a:cubicBezTo>
                  <a:lnTo>
                    <a:pt x="58947" y="306196"/>
                  </a:lnTo>
                  <a:lnTo>
                    <a:pt x="131807" y="110068"/>
                  </a:lnTo>
                  <a:cubicBezTo>
                    <a:pt x="135774" y="98913"/>
                    <a:pt x="145874" y="92075"/>
                    <a:pt x="157776" y="92075"/>
                  </a:cubicBezTo>
                  <a:close/>
                  <a:moveTo>
                    <a:pt x="282399" y="25728"/>
                  </a:moveTo>
                  <a:cubicBezTo>
                    <a:pt x="284163" y="23812"/>
                    <a:pt x="286985" y="23812"/>
                    <a:pt x="289102" y="25728"/>
                  </a:cubicBezTo>
                  <a:cubicBezTo>
                    <a:pt x="289808" y="26878"/>
                    <a:pt x="290160" y="28027"/>
                    <a:pt x="290160" y="29560"/>
                  </a:cubicBezTo>
                  <a:cubicBezTo>
                    <a:pt x="290160" y="30710"/>
                    <a:pt x="289808" y="31859"/>
                    <a:pt x="289102" y="33009"/>
                  </a:cubicBezTo>
                  <a:cubicBezTo>
                    <a:pt x="288044" y="33775"/>
                    <a:pt x="286985" y="34542"/>
                    <a:pt x="285574" y="34542"/>
                  </a:cubicBezTo>
                  <a:cubicBezTo>
                    <a:pt x="284516" y="34542"/>
                    <a:pt x="283105" y="33775"/>
                    <a:pt x="282399" y="33009"/>
                  </a:cubicBezTo>
                  <a:cubicBezTo>
                    <a:pt x="281341" y="31859"/>
                    <a:pt x="280988" y="30710"/>
                    <a:pt x="280988" y="29560"/>
                  </a:cubicBezTo>
                  <a:cubicBezTo>
                    <a:pt x="280988" y="28027"/>
                    <a:pt x="281341" y="26878"/>
                    <a:pt x="282399" y="25728"/>
                  </a:cubicBezTo>
                  <a:close/>
                  <a:moveTo>
                    <a:pt x="220436" y="25728"/>
                  </a:moveTo>
                  <a:cubicBezTo>
                    <a:pt x="222137" y="23812"/>
                    <a:pt x="225198" y="23812"/>
                    <a:pt x="226899" y="25728"/>
                  </a:cubicBezTo>
                  <a:cubicBezTo>
                    <a:pt x="227580" y="26878"/>
                    <a:pt x="228260" y="28027"/>
                    <a:pt x="228260" y="29560"/>
                  </a:cubicBezTo>
                  <a:cubicBezTo>
                    <a:pt x="228260" y="30710"/>
                    <a:pt x="227580" y="31859"/>
                    <a:pt x="226899" y="33009"/>
                  </a:cubicBezTo>
                  <a:cubicBezTo>
                    <a:pt x="226219" y="33775"/>
                    <a:pt x="224858" y="34542"/>
                    <a:pt x="223498" y="34542"/>
                  </a:cubicBezTo>
                  <a:cubicBezTo>
                    <a:pt x="222477" y="34542"/>
                    <a:pt x="221456" y="33775"/>
                    <a:pt x="220436" y="33009"/>
                  </a:cubicBezTo>
                  <a:cubicBezTo>
                    <a:pt x="219756" y="31859"/>
                    <a:pt x="219075" y="30710"/>
                    <a:pt x="219075" y="29560"/>
                  </a:cubicBezTo>
                  <a:cubicBezTo>
                    <a:pt x="219075" y="28027"/>
                    <a:pt x="219756" y="26878"/>
                    <a:pt x="220436" y="25728"/>
                  </a:cubicBezTo>
                  <a:close/>
                  <a:moveTo>
                    <a:pt x="254001" y="23812"/>
                  </a:moveTo>
                  <a:cubicBezTo>
                    <a:pt x="256382" y="23812"/>
                    <a:pt x="258423" y="25853"/>
                    <a:pt x="258423" y="28574"/>
                  </a:cubicBezTo>
                  <a:cubicBezTo>
                    <a:pt x="258423" y="30956"/>
                    <a:pt x="256382" y="32997"/>
                    <a:pt x="254001" y="32997"/>
                  </a:cubicBezTo>
                  <a:cubicBezTo>
                    <a:pt x="251279" y="32997"/>
                    <a:pt x="249238" y="30956"/>
                    <a:pt x="249238" y="28574"/>
                  </a:cubicBezTo>
                  <a:cubicBezTo>
                    <a:pt x="249238" y="25853"/>
                    <a:pt x="251279" y="23812"/>
                    <a:pt x="254001" y="23812"/>
                  </a:cubicBezTo>
                  <a:close/>
                  <a:moveTo>
                    <a:pt x="9726" y="9376"/>
                  </a:moveTo>
                  <a:lnTo>
                    <a:pt x="9726" y="47603"/>
                  </a:lnTo>
                  <a:lnTo>
                    <a:pt x="306187" y="47603"/>
                  </a:lnTo>
                  <a:lnTo>
                    <a:pt x="306187" y="9376"/>
                  </a:lnTo>
                  <a:close/>
                  <a:moveTo>
                    <a:pt x="4683" y="0"/>
                  </a:moveTo>
                  <a:lnTo>
                    <a:pt x="310510" y="0"/>
                  </a:lnTo>
                  <a:cubicBezTo>
                    <a:pt x="313392" y="0"/>
                    <a:pt x="315553" y="2164"/>
                    <a:pt x="315553" y="4688"/>
                  </a:cubicBezTo>
                  <a:lnTo>
                    <a:pt x="315553" y="52652"/>
                  </a:lnTo>
                  <a:lnTo>
                    <a:pt x="315553" y="311224"/>
                  </a:lnTo>
                  <a:cubicBezTo>
                    <a:pt x="315553" y="313748"/>
                    <a:pt x="313392" y="315552"/>
                    <a:pt x="310510" y="315552"/>
                  </a:cubicBezTo>
                  <a:cubicBezTo>
                    <a:pt x="308349" y="315552"/>
                    <a:pt x="306187" y="313748"/>
                    <a:pt x="306187" y="311224"/>
                  </a:cubicBezTo>
                  <a:lnTo>
                    <a:pt x="306187" y="57340"/>
                  </a:lnTo>
                  <a:lnTo>
                    <a:pt x="9726" y="57340"/>
                  </a:lnTo>
                  <a:lnTo>
                    <a:pt x="9726" y="311224"/>
                  </a:lnTo>
                  <a:cubicBezTo>
                    <a:pt x="9726" y="313748"/>
                    <a:pt x="7564" y="315552"/>
                    <a:pt x="4683" y="315552"/>
                  </a:cubicBezTo>
                  <a:cubicBezTo>
                    <a:pt x="2161" y="315552"/>
                    <a:pt x="0" y="313748"/>
                    <a:pt x="0" y="311224"/>
                  </a:cubicBezTo>
                  <a:lnTo>
                    <a:pt x="0" y="52652"/>
                  </a:lnTo>
                  <a:lnTo>
                    <a:pt x="0" y="4688"/>
                  </a:lnTo>
                  <a:cubicBezTo>
                    <a:pt x="0" y="2164"/>
                    <a:pt x="2161" y="0"/>
                    <a:pt x="4683"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grpSp>
        <p:nvGrpSpPr>
          <p:cNvPr id="43" name="Grupo 42">
            <a:extLst>
              <a:ext uri="{FF2B5EF4-FFF2-40B4-BE49-F238E27FC236}">
                <a16:creationId xmlns:a16="http://schemas.microsoft.com/office/drawing/2014/main" id="{2AAEC4EA-4BB4-27A6-52F0-D940A6541CDC}"/>
              </a:ext>
            </a:extLst>
          </p:cNvPr>
          <p:cNvGrpSpPr/>
          <p:nvPr/>
        </p:nvGrpSpPr>
        <p:grpSpPr>
          <a:xfrm>
            <a:off x="4070347" y="1525668"/>
            <a:ext cx="1133689" cy="1134158"/>
            <a:chOff x="3776269" y="1639968"/>
            <a:chExt cx="1133689" cy="1134158"/>
          </a:xfrm>
        </p:grpSpPr>
        <p:sp>
          <p:nvSpPr>
            <p:cNvPr id="11" name="Oval 8">
              <a:extLst>
                <a:ext uri="{FF2B5EF4-FFF2-40B4-BE49-F238E27FC236}">
                  <a16:creationId xmlns:a16="http://schemas.microsoft.com/office/drawing/2014/main" id="{EB11D605-E390-9735-403F-425637244588}"/>
                </a:ext>
              </a:extLst>
            </p:cNvPr>
            <p:cNvSpPr/>
            <p:nvPr/>
          </p:nvSpPr>
          <p:spPr>
            <a:xfrm>
              <a:off x="3776269" y="1639968"/>
              <a:ext cx="1133689" cy="1134158"/>
            </a:xfrm>
            <a:prstGeom prst="rect">
              <a:avLst/>
            </a:prstGeom>
            <a:solidFill>
              <a:schemeClr val="tx2"/>
            </a:solidFill>
            <a:effectLst/>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3599" dirty="0">
                <a:latin typeface="Roboto Light" panose="02000000000000000000" pitchFamily="2" charset="0"/>
              </a:endParaRPr>
            </a:p>
          </p:txBody>
        </p:sp>
        <p:sp>
          <p:nvSpPr>
            <p:cNvPr id="20" name="Freeform 29">
              <a:extLst>
                <a:ext uri="{FF2B5EF4-FFF2-40B4-BE49-F238E27FC236}">
                  <a16:creationId xmlns:a16="http://schemas.microsoft.com/office/drawing/2014/main" id="{62430A81-05CD-3433-4139-47450C06DDDA}"/>
                </a:ext>
              </a:extLst>
            </p:cNvPr>
            <p:cNvSpPr>
              <a:spLocks noChangeArrowheads="1"/>
            </p:cNvSpPr>
            <p:nvPr/>
          </p:nvSpPr>
          <p:spPr bwMode="auto">
            <a:xfrm>
              <a:off x="4075456" y="1857408"/>
              <a:ext cx="535312" cy="722779"/>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US" sz="900" dirty="0">
                <a:latin typeface="Roboto Light" panose="02000000000000000000" pitchFamily="2" charset="0"/>
              </a:endParaRPr>
            </a:p>
          </p:txBody>
        </p:sp>
      </p:grpSp>
      <p:sp>
        <p:nvSpPr>
          <p:cNvPr id="4" name="Footer Placeholder 3">
            <a:extLst>
              <a:ext uri="{FF2B5EF4-FFF2-40B4-BE49-F238E27FC236}">
                <a16:creationId xmlns:a16="http://schemas.microsoft.com/office/drawing/2014/main" id="{8A13BDEF-369B-7F9D-3BBE-55FC16EC09E9}"/>
              </a:ext>
            </a:extLst>
          </p:cNvPr>
          <p:cNvSpPr>
            <a:spLocks noGrp="1"/>
          </p:cNvSpPr>
          <p:nvPr>
            <p:ph type="ftr" sz="quarter" idx="3"/>
          </p:nvPr>
        </p:nvSpPr>
        <p:spPr/>
        <p:txBody>
          <a:bodyPr/>
          <a:lstStyle/>
          <a:p>
            <a:r>
              <a:rPr lang="en-US"/>
              <a:t>Source:_______</a:t>
            </a:r>
            <a:endParaRPr lang="en-US" dirty="0"/>
          </a:p>
        </p:txBody>
      </p:sp>
      <p:sp>
        <p:nvSpPr>
          <p:cNvPr id="15" name="Título 14">
            <a:extLst>
              <a:ext uri="{FF2B5EF4-FFF2-40B4-BE49-F238E27FC236}">
                <a16:creationId xmlns:a16="http://schemas.microsoft.com/office/drawing/2014/main" id="{F487B96D-9ECC-5B4A-B748-632B8D20632D}"/>
              </a:ext>
            </a:extLst>
          </p:cNvPr>
          <p:cNvSpPr>
            <a:spLocks noGrp="1"/>
          </p:cNvSpPr>
          <p:nvPr>
            <p:ph type="title"/>
          </p:nvPr>
        </p:nvSpPr>
        <p:spPr/>
        <p:txBody>
          <a:bodyPr vert="horz"/>
          <a:lstStyle/>
          <a:p>
            <a:r>
              <a:rPr lang="en-US" dirty="0"/>
              <a:t>Template - SWOT Analysis Slide</a:t>
            </a:r>
          </a:p>
        </p:txBody>
      </p:sp>
    </p:spTree>
    <p:extLst>
      <p:ext uri="{BB962C8B-B14F-4D97-AF65-F5344CB8AC3E}">
        <p14:creationId xmlns:p14="http://schemas.microsoft.com/office/powerpoint/2010/main" val="98952699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51174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sp>
        <p:nvSpPr>
          <p:cNvPr id="4" name="Freeform 58">
            <a:extLst>
              <a:ext uri="{FF2B5EF4-FFF2-40B4-BE49-F238E27FC236}">
                <a16:creationId xmlns:a16="http://schemas.microsoft.com/office/drawing/2014/main" id="{E394932E-7D43-8CB5-7995-9E326671E002}"/>
              </a:ext>
            </a:extLst>
          </p:cNvPr>
          <p:cNvSpPr/>
          <p:nvPr/>
        </p:nvSpPr>
        <p:spPr>
          <a:xfrm>
            <a:off x="4195659" y="1323186"/>
            <a:ext cx="2663799" cy="2054486"/>
          </a:xfrm>
          <a:custGeom>
            <a:avLst/>
            <a:gdLst>
              <a:gd name="connsiteX0" fmla="*/ 3686383 w 5327597"/>
              <a:gd name="connsiteY0" fmla="*/ 0 h 4108972"/>
              <a:gd name="connsiteX1" fmla="*/ 5327597 w 5327597"/>
              <a:gd name="connsiteY1" fmla="*/ 2039909 h 4108972"/>
              <a:gd name="connsiteX2" fmla="*/ 3686383 w 5327597"/>
              <a:gd name="connsiteY2" fmla="*/ 4079818 h 4108972"/>
              <a:gd name="connsiteX3" fmla="*/ 3686383 w 5327597"/>
              <a:gd name="connsiteY3" fmla="*/ 3510357 h 4108972"/>
              <a:gd name="connsiteX4" fmla="*/ 3632441 w 5327597"/>
              <a:gd name="connsiteY4" fmla="*/ 3513081 h 4108972"/>
              <a:gd name="connsiteX5" fmla="*/ 2543596 w 5327597"/>
              <a:gd name="connsiteY5" fmla="*/ 4088237 h 4108972"/>
              <a:gd name="connsiteX6" fmla="*/ 2527896 w 5327597"/>
              <a:gd name="connsiteY6" fmla="*/ 4108972 h 4108972"/>
              <a:gd name="connsiteX7" fmla="*/ 1833994 w 5327597"/>
              <a:gd name="connsiteY7" fmla="*/ 2318273 h 4108972"/>
              <a:gd name="connsiteX8" fmla="*/ 0 w 5327597"/>
              <a:gd name="connsiteY8" fmla="*/ 2602797 h 4108972"/>
              <a:gd name="connsiteX9" fmla="*/ 6877 w 5327597"/>
              <a:gd name="connsiteY9" fmla="*/ 2592068 h 4108972"/>
              <a:gd name="connsiteX10" fmla="*/ 3565246 w 5327597"/>
              <a:gd name="connsiteY10" fmla="*/ 580870 h 4108972"/>
              <a:gd name="connsiteX11" fmla="*/ 3686383 w 5327597"/>
              <a:gd name="connsiteY11" fmla="*/ 577807 h 410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7597" h="4108972">
                <a:moveTo>
                  <a:pt x="3686383" y="0"/>
                </a:moveTo>
                <a:lnTo>
                  <a:pt x="5327597" y="2039909"/>
                </a:lnTo>
                <a:lnTo>
                  <a:pt x="3686383" y="4079818"/>
                </a:lnTo>
                <a:lnTo>
                  <a:pt x="3686383" y="3510357"/>
                </a:lnTo>
                <a:lnTo>
                  <a:pt x="3632441" y="3513081"/>
                </a:lnTo>
                <a:cubicBezTo>
                  <a:pt x="3196819" y="3557321"/>
                  <a:pt x="2811428" y="3771481"/>
                  <a:pt x="2543596" y="4088237"/>
                </a:cubicBezTo>
                <a:lnTo>
                  <a:pt x="2527896" y="4108972"/>
                </a:lnTo>
                <a:lnTo>
                  <a:pt x="1833994" y="2318273"/>
                </a:lnTo>
                <a:lnTo>
                  <a:pt x="0" y="2602797"/>
                </a:lnTo>
                <a:lnTo>
                  <a:pt x="6877" y="2592068"/>
                </a:lnTo>
                <a:cubicBezTo>
                  <a:pt x="787960" y="1435914"/>
                  <a:pt x="2083624" y="655974"/>
                  <a:pt x="3565246" y="580870"/>
                </a:cubicBezTo>
                <a:lnTo>
                  <a:pt x="3686383" y="57780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5" name="Freeform 89">
            <a:extLst>
              <a:ext uri="{FF2B5EF4-FFF2-40B4-BE49-F238E27FC236}">
                <a16:creationId xmlns:a16="http://schemas.microsoft.com/office/drawing/2014/main" id="{9C69BDE5-3B32-1974-9D44-BBA43ACF67E6}"/>
              </a:ext>
            </a:extLst>
          </p:cNvPr>
          <p:cNvSpPr/>
          <p:nvPr/>
        </p:nvSpPr>
        <p:spPr>
          <a:xfrm>
            <a:off x="6257000" y="1618702"/>
            <a:ext cx="2019671" cy="2118342"/>
          </a:xfrm>
          <a:custGeom>
            <a:avLst/>
            <a:gdLst>
              <a:gd name="connsiteX0" fmla="*/ 39215 w 4039341"/>
              <a:gd name="connsiteY0" fmla="*/ 0 h 4236684"/>
              <a:gd name="connsiteX1" fmla="*/ 188984 w 4039341"/>
              <a:gd name="connsiteY1" fmla="*/ 12100 h 4236684"/>
              <a:gd name="connsiteX2" fmla="*/ 3471808 w 4039341"/>
              <a:gd name="connsiteY2" fmla="*/ 2001036 h 4236684"/>
              <a:gd name="connsiteX3" fmla="*/ 3528904 w 4039341"/>
              <a:gd name="connsiteY3" fmla="*/ 2090097 h 4236684"/>
              <a:gd name="connsiteX4" fmla="*/ 4039341 w 4039341"/>
              <a:gd name="connsiteY4" fmla="*/ 1795396 h 4236684"/>
              <a:gd name="connsiteX5" fmla="*/ 3093334 w 4039341"/>
              <a:gd name="connsiteY5" fmla="*/ 4236684 h 4236684"/>
              <a:gd name="connsiteX6" fmla="*/ 506114 w 4039341"/>
              <a:gd name="connsiteY6" fmla="*/ 3835305 h 4236684"/>
              <a:gd name="connsiteX7" fmla="*/ 983313 w 4039341"/>
              <a:gd name="connsiteY7" fmla="*/ 3559794 h 4236684"/>
              <a:gd name="connsiteX8" fmla="*/ 949325 w 4039341"/>
              <a:gd name="connsiteY8" fmla="*/ 3514271 h 4236684"/>
              <a:gd name="connsiteX9" fmla="*/ 29668 w 4039341"/>
              <a:gd name="connsiteY9" fmla="*/ 2951216 h 4236684"/>
              <a:gd name="connsiteX10" fmla="*/ 0 w 4039341"/>
              <a:gd name="connsiteY10" fmla="*/ 2946499 h 4236684"/>
              <a:gd name="connsiteX11" fmla="*/ 1204914 w 4039341"/>
              <a:gd name="connsiteY11" fmla="*/ 1448878 h 423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9341" h="4236684">
                <a:moveTo>
                  <a:pt x="39215" y="0"/>
                </a:moveTo>
                <a:lnTo>
                  <a:pt x="188984" y="12100"/>
                </a:lnTo>
                <a:cubicBezTo>
                  <a:pt x="1555009" y="163904"/>
                  <a:pt x="2739543" y="917142"/>
                  <a:pt x="3471808" y="2001036"/>
                </a:cubicBezTo>
                <a:lnTo>
                  <a:pt x="3528904" y="2090097"/>
                </a:lnTo>
                <a:lnTo>
                  <a:pt x="4039341" y="1795396"/>
                </a:lnTo>
                <a:lnTo>
                  <a:pt x="3093334" y="4236684"/>
                </a:lnTo>
                <a:lnTo>
                  <a:pt x="506114" y="3835305"/>
                </a:lnTo>
                <a:lnTo>
                  <a:pt x="983313" y="3559794"/>
                </a:lnTo>
                <a:lnTo>
                  <a:pt x="949325" y="3514271"/>
                </a:lnTo>
                <a:cubicBezTo>
                  <a:pt x="718663" y="3233923"/>
                  <a:pt x="397077" y="3031204"/>
                  <a:pt x="29668" y="2951216"/>
                </a:cubicBezTo>
                <a:lnTo>
                  <a:pt x="0" y="2946499"/>
                </a:lnTo>
                <a:lnTo>
                  <a:pt x="1204914" y="1448878"/>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6" name="Freeform 90">
            <a:extLst>
              <a:ext uri="{FF2B5EF4-FFF2-40B4-BE49-F238E27FC236}">
                <a16:creationId xmlns:a16="http://schemas.microsoft.com/office/drawing/2014/main" id="{3E735D98-026F-2E26-68D9-E04F9425EE57}"/>
              </a:ext>
            </a:extLst>
          </p:cNvPr>
          <p:cNvSpPr/>
          <p:nvPr/>
        </p:nvSpPr>
        <p:spPr>
          <a:xfrm>
            <a:off x="6606081" y="2870894"/>
            <a:ext cx="1777508" cy="2390646"/>
          </a:xfrm>
          <a:custGeom>
            <a:avLst/>
            <a:gdLst>
              <a:gd name="connsiteX0" fmla="*/ 3066445 w 3555015"/>
              <a:gd name="connsiteY0" fmla="*/ 0 h 4781291"/>
              <a:gd name="connsiteX1" fmla="*/ 3127652 w 3555015"/>
              <a:gd name="connsiteY1" fmla="*/ 121322 h 4781291"/>
              <a:gd name="connsiteX2" fmla="*/ 3555015 w 3555015"/>
              <a:gd name="connsiteY2" fmla="*/ 2054677 h 4781291"/>
              <a:gd name="connsiteX3" fmla="*/ 3127652 w 3555015"/>
              <a:gd name="connsiteY3" fmla="*/ 3988033 h 4781291"/>
              <a:gd name="connsiteX4" fmla="*/ 3066031 w 3555015"/>
              <a:gd name="connsiteY4" fmla="*/ 4110176 h 4781291"/>
              <a:gd name="connsiteX5" fmla="*/ 3533227 w 3555015"/>
              <a:gd name="connsiteY5" fmla="*/ 4379912 h 4781291"/>
              <a:gd name="connsiteX6" fmla="*/ 946006 w 3555015"/>
              <a:gd name="connsiteY6" fmla="*/ 4781291 h 4781291"/>
              <a:gd name="connsiteX7" fmla="*/ 0 w 3555015"/>
              <a:gd name="connsiteY7" fmla="*/ 2340003 h 4781291"/>
              <a:gd name="connsiteX8" fmla="*/ 516821 w 3555015"/>
              <a:gd name="connsiteY8" fmla="*/ 2638390 h 4781291"/>
              <a:gd name="connsiteX9" fmla="*/ 551368 w 3555015"/>
              <a:gd name="connsiteY9" fmla="*/ 2544001 h 4781291"/>
              <a:gd name="connsiteX10" fmla="*/ 625347 w 3555015"/>
              <a:gd name="connsiteY10" fmla="*/ 2054677 h 4781291"/>
              <a:gd name="connsiteX11" fmla="*/ 551368 w 3555015"/>
              <a:gd name="connsiteY11" fmla="*/ 1565354 h 4781291"/>
              <a:gd name="connsiteX12" fmla="*/ 505153 w 3555015"/>
              <a:gd name="connsiteY12" fmla="*/ 1439085 h 4781291"/>
              <a:gd name="connsiteX13" fmla="*/ 2395173 w 3555015"/>
              <a:gd name="connsiteY13" fmla="*/ 1732301 h 478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5015" h="4781291">
                <a:moveTo>
                  <a:pt x="3066445" y="0"/>
                </a:moveTo>
                <a:lnTo>
                  <a:pt x="3127652" y="121322"/>
                </a:lnTo>
                <a:cubicBezTo>
                  <a:pt x="3401862" y="708605"/>
                  <a:pt x="3555015" y="1363756"/>
                  <a:pt x="3555015" y="2054677"/>
                </a:cubicBezTo>
                <a:cubicBezTo>
                  <a:pt x="3555015" y="2745599"/>
                  <a:pt x="3401862" y="3400749"/>
                  <a:pt x="3127652" y="3988033"/>
                </a:cubicBezTo>
                <a:lnTo>
                  <a:pt x="3066031" y="4110176"/>
                </a:lnTo>
                <a:lnTo>
                  <a:pt x="3533227" y="4379912"/>
                </a:lnTo>
                <a:lnTo>
                  <a:pt x="946006" y="4781291"/>
                </a:lnTo>
                <a:lnTo>
                  <a:pt x="0" y="2340003"/>
                </a:lnTo>
                <a:lnTo>
                  <a:pt x="516821" y="2638390"/>
                </a:lnTo>
                <a:lnTo>
                  <a:pt x="551368" y="2544001"/>
                </a:lnTo>
                <a:cubicBezTo>
                  <a:pt x="599447" y="2389424"/>
                  <a:pt x="625347" y="2225075"/>
                  <a:pt x="625347" y="2054677"/>
                </a:cubicBezTo>
                <a:cubicBezTo>
                  <a:pt x="625347" y="1884279"/>
                  <a:pt x="599447" y="1719931"/>
                  <a:pt x="551368" y="1565354"/>
                </a:cubicBezTo>
                <a:lnTo>
                  <a:pt x="505153" y="1439085"/>
                </a:lnTo>
                <a:lnTo>
                  <a:pt x="2395173" y="17323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7" name="Freeform 57">
            <a:extLst>
              <a:ext uri="{FF2B5EF4-FFF2-40B4-BE49-F238E27FC236}">
                <a16:creationId xmlns:a16="http://schemas.microsoft.com/office/drawing/2014/main" id="{AA9F2E45-D41E-86F3-31A1-8292C060087F}"/>
              </a:ext>
            </a:extLst>
          </p:cNvPr>
          <p:cNvSpPr/>
          <p:nvPr/>
        </p:nvSpPr>
        <p:spPr>
          <a:xfrm>
            <a:off x="3808413" y="2482322"/>
            <a:ext cx="1777246" cy="2434805"/>
          </a:xfrm>
          <a:custGeom>
            <a:avLst/>
            <a:gdLst>
              <a:gd name="connsiteX0" fmla="*/ 2608485 w 3554492"/>
              <a:gd name="connsiteY0" fmla="*/ 0 h 4869609"/>
              <a:gd name="connsiteX1" fmla="*/ 3554492 w 3554492"/>
              <a:gd name="connsiteY1" fmla="*/ 2441288 h 4869609"/>
              <a:gd name="connsiteX2" fmla="*/ 3072590 w 3554492"/>
              <a:gd name="connsiteY2" fmla="*/ 2163062 h 4869609"/>
              <a:gd name="connsiteX3" fmla="*/ 3058980 w 3554492"/>
              <a:gd name="connsiteY3" fmla="*/ 2191315 h 4869609"/>
              <a:gd name="connsiteX4" fmla="*/ 2929668 w 3554492"/>
              <a:gd name="connsiteY4" fmla="*/ 2831820 h 4869609"/>
              <a:gd name="connsiteX5" fmla="*/ 3003647 w 3554492"/>
              <a:gd name="connsiteY5" fmla="*/ 3321143 h 4869609"/>
              <a:gd name="connsiteX6" fmla="*/ 3034778 w 3554492"/>
              <a:gd name="connsiteY6" fmla="*/ 3406202 h 4869609"/>
              <a:gd name="connsiteX7" fmla="*/ 1159839 w 3554492"/>
              <a:gd name="connsiteY7" fmla="*/ 3115326 h 4869609"/>
              <a:gd name="connsiteX8" fmla="*/ 480050 w 3554492"/>
              <a:gd name="connsiteY8" fmla="*/ 4869609 h 4869609"/>
              <a:gd name="connsiteX9" fmla="*/ 427363 w 3554492"/>
              <a:gd name="connsiteY9" fmla="*/ 4765176 h 4869609"/>
              <a:gd name="connsiteX10" fmla="*/ 0 w 3554492"/>
              <a:gd name="connsiteY10" fmla="*/ 2831820 h 4869609"/>
              <a:gd name="connsiteX11" fmla="*/ 427363 w 3554492"/>
              <a:gd name="connsiteY11" fmla="*/ 898465 h 4869609"/>
              <a:gd name="connsiteX12" fmla="*/ 529971 w 3554492"/>
              <a:gd name="connsiteY12" fmla="*/ 695080 h 4869609"/>
              <a:gd name="connsiteX13" fmla="*/ 21266 w 3554492"/>
              <a:gd name="connsiteY13" fmla="*/ 401379 h 486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54492" h="4869609">
                <a:moveTo>
                  <a:pt x="2608485" y="0"/>
                </a:moveTo>
                <a:lnTo>
                  <a:pt x="3554492" y="2441288"/>
                </a:lnTo>
                <a:lnTo>
                  <a:pt x="3072590" y="2163062"/>
                </a:lnTo>
                <a:lnTo>
                  <a:pt x="3058980" y="2191315"/>
                </a:lnTo>
                <a:cubicBezTo>
                  <a:pt x="2975713" y="2388181"/>
                  <a:pt x="2929668" y="2604623"/>
                  <a:pt x="2929668" y="2831820"/>
                </a:cubicBezTo>
                <a:cubicBezTo>
                  <a:pt x="2929668" y="3002218"/>
                  <a:pt x="2955568" y="3166567"/>
                  <a:pt x="3003647" y="3321143"/>
                </a:cubicBezTo>
                <a:lnTo>
                  <a:pt x="3034778" y="3406202"/>
                </a:lnTo>
                <a:lnTo>
                  <a:pt x="1159839" y="3115326"/>
                </a:lnTo>
                <a:lnTo>
                  <a:pt x="480050" y="4869609"/>
                </a:lnTo>
                <a:lnTo>
                  <a:pt x="427363" y="4765176"/>
                </a:lnTo>
                <a:cubicBezTo>
                  <a:pt x="153154" y="4177892"/>
                  <a:pt x="0" y="3522742"/>
                  <a:pt x="0" y="2831820"/>
                </a:cubicBezTo>
                <a:cubicBezTo>
                  <a:pt x="0" y="2140899"/>
                  <a:pt x="153154" y="1485748"/>
                  <a:pt x="427363" y="898465"/>
                </a:cubicBezTo>
                <a:lnTo>
                  <a:pt x="529971" y="695080"/>
                </a:lnTo>
                <a:lnTo>
                  <a:pt x="21266" y="40137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8" name="Freeform 56">
            <a:extLst>
              <a:ext uri="{FF2B5EF4-FFF2-40B4-BE49-F238E27FC236}">
                <a16:creationId xmlns:a16="http://schemas.microsoft.com/office/drawing/2014/main" id="{7FDACD58-C768-2A57-6BF8-FD112E8E507A}"/>
              </a:ext>
            </a:extLst>
          </p:cNvPr>
          <p:cNvSpPr/>
          <p:nvPr/>
        </p:nvSpPr>
        <p:spPr>
          <a:xfrm>
            <a:off x="3915330" y="4039984"/>
            <a:ext cx="2023302" cy="2137424"/>
          </a:xfrm>
          <a:custGeom>
            <a:avLst/>
            <a:gdLst>
              <a:gd name="connsiteX0" fmla="*/ 946006 w 4046603"/>
              <a:gd name="connsiteY0" fmla="*/ 0 h 4274848"/>
              <a:gd name="connsiteX1" fmla="*/ 3533227 w 4046603"/>
              <a:gd name="connsiteY1" fmla="*/ 401379 h 4274848"/>
              <a:gd name="connsiteX2" fmla="*/ 3035749 w 4046603"/>
              <a:gd name="connsiteY2" fmla="*/ 688598 h 4274848"/>
              <a:gd name="connsiteX3" fmla="*/ 3090017 w 4046603"/>
              <a:gd name="connsiteY3" fmla="*/ 761284 h 4274848"/>
              <a:gd name="connsiteX4" fmla="*/ 4009674 w 4046603"/>
              <a:gd name="connsiteY4" fmla="*/ 1324339 h 4274848"/>
              <a:gd name="connsiteX5" fmla="*/ 4046603 w 4046603"/>
              <a:gd name="connsiteY5" fmla="*/ 1330211 h 4274848"/>
              <a:gd name="connsiteX6" fmla="*/ 2834427 w 4046603"/>
              <a:gd name="connsiteY6" fmla="*/ 2836857 h 4274848"/>
              <a:gd name="connsiteX7" fmla="*/ 3991366 w 4046603"/>
              <a:gd name="connsiteY7" fmla="*/ 4274848 h 4274848"/>
              <a:gd name="connsiteX8" fmla="*/ 3850358 w 4046603"/>
              <a:gd name="connsiteY8" fmla="*/ 4263455 h 4274848"/>
              <a:gd name="connsiteX9" fmla="*/ 567534 w 4046603"/>
              <a:gd name="connsiteY9" fmla="*/ 2274519 h 4274848"/>
              <a:gd name="connsiteX10" fmla="*/ 492251 w 4046603"/>
              <a:gd name="connsiteY10" fmla="*/ 2157087 h 4274848"/>
              <a:gd name="connsiteX11" fmla="*/ 0 w 4046603"/>
              <a:gd name="connsiteY11" fmla="*/ 2441288 h 427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46603" h="4274848">
                <a:moveTo>
                  <a:pt x="946006" y="0"/>
                </a:moveTo>
                <a:lnTo>
                  <a:pt x="3533227" y="401379"/>
                </a:lnTo>
                <a:lnTo>
                  <a:pt x="3035749" y="688598"/>
                </a:lnTo>
                <a:lnTo>
                  <a:pt x="3090017" y="761284"/>
                </a:lnTo>
                <a:cubicBezTo>
                  <a:pt x="3320679" y="1041633"/>
                  <a:pt x="3642265" y="1244352"/>
                  <a:pt x="4009674" y="1324339"/>
                </a:cubicBezTo>
                <a:lnTo>
                  <a:pt x="4046603" y="1330211"/>
                </a:lnTo>
                <a:lnTo>
                  <a:pt x="2834427" y="2836857"/>
                </a:lnTo>
                <a:lnTo>
                  <a:pt x="3991366" y="4274848"/>
                </a:lnTo>
                <a:lnTo>
                  <a:pt x="3850358" y="4263455"/>
                </a:lnTo>
                <a:cubicBezTo>
                  <a:pt x="2484333" y="4111651"/>
                  <a:pt x="1299799" y="3358413"/>
                  <a:pt x="567534" y="2274519"/>
                </a:cubicBezTo>
                <a:lnTo>
                  <a:pt x="492251" y="2157087"/>
                </a:lnTo>
                <a:lnTo>
                  <a:pt x="0" y="24412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9" name="Freeform 91">
            <a:extLst>
              <a:ext uri="{FF2B5EF4-FFF2-40B4-BE49-F238E27FC236}">
                <a16:creationId xmlns:a16="http://schemas.microsoft.com/office/drawing/2014/main" id="{C82A3FD0-54D6-9F9C-5848-5437FE1BDDE8}"/>
              </a:ext>
            </a:extLst>
          </p:cNvPr>
          <p:cNvSpPr/>
          <p:nvPr/>
        </p:nvSpPr>
        <p:spPr>
          <a:xfrm>
            <a:off x="5332543" y="4401212"/>
            <a:ext cx="2701275" cy="2077155"/>
          </a:xfrm>
          <a:custGeom>
            <a:avLst/>
            <a:gdLst>
              <a:gd name="connsiteX0" fmla="*/ 2826323 w 5402550"/>
              <a:gd name="connsiteY0" fmla="*/ 0 h 4154310"/>
              <a:gd name="connsiteX1" fmla="*/ 3493081 w 5402550"/>
              <a:gd name="connsiteY1" fmla="*/ 1720654 h 4154310"/>
              <a:gd name="connsiteX2" fmla="*/ 5402550 w 5402550"/>
              <a:gd name="connsiteY2" fmla="*/ 1424421 h 4154310"/>
              <a:gd name="connsiteX3" fmla="*/ 5320721 w 5402550"/>
              <a:gd name="connsiteY3" fmla="*/ 1552063 h 4154310"/>
              <a:gd name="connsiteX4" fmla="*/ 1762352 w 5402550"/>
              <a:gd name="connsiteY4" fmla="*/ 3563261 h 4154310"/>
              <a:gd name="connsiteX5" fmla="*/ 1641214 w 5402550"/>
              <a:gd name="connsiteY5" fmla="*/ 3566324 h 4154310"/>
              <a:gd name="connsiteX6" fmla="*/ 1641214 w 5402550"/>
              <a:gd name="connsiteY6" fmla="*/ 4154310 h 4154310"/>
              <a:gd name="connsiteX7" fmla="*/ 0 w 5402550"/>
              <a:gd name="connsiteY7" fmla="*/ 2114401 h 4154310"/>
              <a:gd name="connsiteX8" fmla="*/ 1641214 w 5402550"/>
              <a:gd name="connsiteY8" fmla="*/ 74492 h 4154310"/>
              <a:gd name="connsiteX9" fmla="*/ 1641214 w 5402550"/>
              <a:gd name="connsiteY9" fmla="*/ 633774 h 4154310"/>
              <a:gd name="connsiteX10" fmla="*/ 1695157 w 5402550"/>
              <a:gd name="connsiteY10" fmla="*/ 631050 h 4154310"/>
              <a:gd name="connsiteX11" fmla="*/ 2784002 w 5402550"/>
              <a:gd name="connsiteY11" fmla="*/ 55895 h 415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2550" h="4154310">
                <a:moveTo>
                  <a:pt x="2826323" y="0"/>
                </a:moveTo>
                <a:lnTo>
                  <a:pt x="3493081" y="1720654"/>
                </a:lnTo>
                <a:lnTo>
                  <a:pt x="5402550" y="1424421"/>
                </a:lnTo>
                <a:lnTo>
                  <a:pt x="5320721" y="1552063"/>
                </a:lnTo>
                <a:cubicBezTo>
                  <a:pt x="4539638" y="2708217"/>
                  <a:pt x="3243974" y="3488157"/>
                  <a:pt x="1762352" y="3563261"/>
                </a:cubicBezTo>
                <a:lnTo>
                  <a:pt x="1641214" y="3566324"/>
                </a:lnTo>
                <a:lnTo>
                  <a:pt x="1641214" y="4154310"/>
                </a:lnTo>
                <a:lnTo>
                  <a:pt x="0" y="2114401"/>
                </a:lnTo>
                <a:lnTo>
                  <a:pt x="1641214" y="74492"/>
                </a:lnTo>
                <a:lnTo>
                  <a:pt x="1641214" y="633774"/>
                </a:lnTo>
                <a:lnTo>
                  <a:pt x="1695157" y="631050"/>
                </a:lnTo>
                <a:cubicBezTo>
                  <a:pt x="2130779" y="586811"/>
                  <a:pt x="2516170" y="372651"/>
                  <a:pt x="2784002" y="55895"/>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0" name="TextBox 65">
            <a:extLst>
              <a:ext uri="{FF2B5EF4-FFF2-40B4-BE49-F238E27FC236}">
                <a16:creationId xmlns:a16="http://schemas.microsoft.com/office/drawing/2014/main" id="{2E58206E-C4D6-5EA0-0556-4191244805BC}"/>
              </a:ext>
            </a:extLst>
          </p:cNvPr>
          <p:cNvSpPr txBox="1"/>
          <p:nvPr/>
        </p:nvSpPr>
        <p:spPr>
          <a:xfrm>
            <a:off x="5949002" y="2066142"/>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1" name="TextBox 66">
            <a:extLst>
              <a:ext uri="{FF2B5EF4-FFF2-40B4-BE49-F238E27FC236}">
                <a16:creationId xmlns:a16="http://schemas.microsoft.com/office/drawing/2014/main" id="{954607D4-08BB-56B2-13E5-ED3EB38FFC41}"/>
              </a:ext>
            </a:extLst>
          </p:cNvPr>
          <p:cNvSpPr txBox="1"/>
          <p:nvPr/>
        </p:nvSpPr>
        <p:spPr>
          <a:xfrm>
            <a:off x="4374265" y="4247012"/>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12" name="TextBox 67">
            <a:extLst>
              <a:ext uri="{FF2B5EF4-FFF2-40B4-BE49-F238E27FC236}">
                <a16:creationId xmlns:a16="http://schemas.microsoft.com/office/drawing/2014/main" id="{3DE7FE6A-96BE-5047-DEAF-11CFB2A22AC9}"/>
              </a:ext>
            </a:extLst>
          </p:cNvPr>
          <p:cNvSpPr txBox="1"/>
          <p:nvPr/>
        </p:nvSpPr>
        <p:spPr>
          <a:xfrm>
            <a:off x="4543219" y="2597827"/>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3" name="TextBox 68">
            <a:extLst>
              <a:ext uri="{FF2B5EF4-FFF2-40B4-BE49-F238E27FC236}">
                <a16:creationId xmlns:a16="http://schemas.microsoft.com/office/drawing/2014/main" id="{66DC6573-2F95-98BE-DD72-E7BA39CA9357}"/>
              </a:ext>
            </a:extLst>
          </p:cNvPr>
          <p:cNvSpPr txBox="1"/>
          <p:nvPr/>
        </p:nvSpPr>
        <p:spPr>
          <a:xfrm>
            <a:off x="7227190" y="3042477"/>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4" name="TextBox 69">
            <a:extLst>
              <a:ext uri="{FF2B5EF4-FFF2-40B4-BE49-F238E27FC236}">
                <a16:creationId xmlns:a16="http://schemas.microsoft.com/office/drawing/2014/main" id="{1040502C-8D53-B977-9104-A0030774AEF4}"/>
              </a:ext>
            </a:extLst>
          </p:cNvPr>
          <p:cNvSpPr txBox="1"/>
          <p:nvPr/>
        </p:nvSpPr>
        <p:spPr>
          <a:xfrm>
            <a:off x="6941835" y="4541191"/>
            <a:ext cx="684803"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15" name="TextBox 70">
            <a:extLst>
              <a:ext uri="{FF2B5EF4-FFF2-40B4-BE49-F238E27FC236}">
                <a16:creationId xmlns:a16="http://schemas.microsoft.com/office/drawing/2014/main" id="{CC340151-1D33-B0BE-7548-3DB2AB1C3D7E}"/>
              </a:ext>
            </a:extLst>
          </p:cNvPr>
          <p:cNvSpPr txBox="1"/>
          <p:nvPr/>
        </p:nvSpPr>
        <p:spPr>
          <a:xfrm>
            <a:off x="5520400" y="5162366"/>
            <a:ext cx="679994"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16" name="Freeform 953">
            <a:extLst>
              <a:ext uri="{FF2B5EF4-FFF2-40B4-BE49-F238E27FC236}">
                <a16:creationId xmlns:a16="http://schemas.microsoft.com/office/drawing/2014/main" id="{E290623B-CB5A-525B-FBD8-9810053A217A}"/>
              </a:ext>
            </a:extLst>
          </p:cNvPr>
          <p:cNvSpPr>
            <a:spLocks noChangeAspect="1" noChangeArrowheads="1"/>
          </p:cNvSpPr>
          <p:nvPr/>
        </p:nvSpPr>
        <p:spPr bwMode="auto">
          <a:xfrm>
            <a:off x="4834667" y="4826692"/>
            <a:ext cx="484254" cy="526365"/>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US" sz="900"/>
          </a:p>
        </p:txBody>
      </p:sp>
      <p:sp>
        <p:nvSpPr>
          <p:cNvPr id="17" name="Freeform 1045">
            <a:extLst>
              <a:ext uri="{FF2B5EF4-FFF2-40B4-BE49-F238E27FC236}">
                <a16:creationId xmlns:a16="http://schemas.microsoft.com/office/drawing/2014/main" id="{22C85771-0D8C-D90A-70DD-D4BADEA1D6A2}"/>
              </a:ext>
            </a:extLst>
          </p:cNvPr>
          <p:cNvSpPr>
            <a:spLocks noChangeAspect="1" noChangeArrowheads="1"/>
          </p:cNvSpPr>
          <p:nvPr/>
        </p:nvSpPr>
        <p:spPr bwMode="auto">
          <a:xfrm>
            <a:off x="6953181" y="2285703"/>
            <a:ext cx="526365" cy="526365"/>
          </a:xfrm>
          <a:custGeom>
            <a:avLst/>
            <a:gdLst>
              <a:gd name="T0" fmla="*/ 1715332 w 283803"/>
              <a:gd name="T1" fmla="*/ 5101162 h 283804"/>
              <a:gd name="T2" fmla="*/ 1649710 w 283803"/>
              <a:gd name="T3" fmla="*/ 4346955 h 283804"/>
              <a:gd name="T4" fmla="*/ 1649710 w 283803"/>
              <a:gd name="T5" fmla="*/ 4529725 h 283804"/>
              <a:gd name="T6" fmla="*/ 1200177 w 283803"/>
              <a:gd name="T7" fmla="*/ 4346955 h 283804"/>
              <a:gd name="T8" fmla="*/ 602831 w 283803"/>
              <a:gd name="T9" fmla="*/ 4438361 h 283804"/>
              <a:gd name="T10" fmla="*/ 4561335 w 283803"/>
              <a:gd name="T11" fmla="*/ 4282097 h 283804"/>
              <a:gd name="T12" fmla="*/ 5021272 w 283803"/>
              <a:gd name="T13" fmla="*/ 4112093 h 283804"/>
              <a:gd name="T14" fmla="*/ 3443430 w 283803"/>
              <a:gd name="T15" fmla="*/ 4112093 h 283804"/>
              <a:gd name="T16" fmla="*/ 3910685 w 283803"/>
              <a:gd name="T17" fmla="*/ 4282097 h 283804"/>
              <a:gd name="T18" fmla="*/ 4707319 w 283803"/>
              <a:gd name="T19" fmla="*/ 3807567 h 283804"/>
              <a:gd name="T20" fmla="*/ 4875242 w 283803"/>
              <a:gd name="T21" fmla="*/ 4593718 h 283804"/>
              <a:gd name="T22" fmla="*/ 4707319 w 283803"/>
              <a:gd name="T23" fmla="*/ 3807567 h 283804"/>
              <a:gd name="T24" fmla="*/ 4085923 w 283803"/>
              <a:gd name="T25" fmla="*/ 4282097 h 283804"/>
              <a:gd name="T26" fmla="*/ 3268217 w 283803"/>
              <a:gd name="T27" fmla="*/ 4112093 h 283804"/>
              <a:gd name="T28" fmla="*/ 1293303 w 283803"/>
              <a:gd name="T29" fmla="*/ 3941783 h 283804"/>
              <a:gd name="T30" fmla="*/ 1201926 w 283803"/>
              <a:gd name="T31" fmla="*/ 3458536 h 283804"/>
              <a:gd name="T32" fmla="*/ 694239 w 283803"/>
              <a:gd name="T33" fmla="*/ 3990873 h 283804"/>
              <a:gd name="T34" fmla="*/ 1733735 w 283803"/>
              <a:gd name="T35" fmla="*/ 3141256 h 283804"/>
              <a:gd name="T36" fmla="*/ 1649981 w 283803"/>
              <a:gd name="T37" fmla="*/ 3942972 h 283804"/>
              <a:gd name="T38" fmla="*/ 2372163 w 283803"/>
              <a:gd name="T39" fmla="*/ 2998961 h 283804"/>
              <a:gd name="T40" fmla="*/ 2189386 w 283803"/>
              <a:gd name="T41" fmla="*/ 2998961 h 283804"/>
              <a:gd name="T42" fmla="*/ 4561335 w 283803"/>
              <a:gd name="T43" fmla="*/ 3161744 h 283804"/>
              <a:gd name="T44" fmla="*/ 5021272 w 283803"/>
              <a:gd name="T45" fmla="*/ 2986506 h 283804"/>
              <a:gd name="T46" fmla="*/ 3443430 w 283803"/>
              <a:gd name="T47" fmla="*/ 2986506 h 283804"/>
              <a:gd name="T48" fmla="*/ 3910685 w 283803"/>
              <a:gd name="T49" fmla="*/ 3161744 h 283804"/>
              <a:gd name="T50" fmla="*/ 4707319 w 283803"/>
              <a:gd name="T51" fmla="*/ 2665284 h 283804"/>
              <a:gd name="T52" fmla="*/ 4875242 w 283803"/>
              <a:gd name="T53" fmla="*/ 3482946 h 283804"/>
              <a:gd name="T54" fmla="*/ 4707319 w 283803"/>
              <a:gd name="T55" fmla="*/ 2665284 h 283804"/>
              <a:gd name="T56" fmla="*/ 4085923 w 283803"/>
              <a:gd name="T57" fmla="*/ 3161744 h 283804"/>
              <a:gd name="T58" fmla="*/ 3268217 w 283803"/>
              <a:gd name="T59" fmla="*/ 2986506 h 283804"/>
              <a:gd name="T60" fmla="*/ 1801446 w 283803"/>
              <a:gd name="T61" fmla="*/ 2490779 h 283804"/>
              <a:gd name="T62" fmla="*/ 689030 w 283803"/>
              <a:gd name="T63" fmla="*/ 2411450 h 283804"/>
              <a:gd name="T64" fmla="*/ 5363377 w 283803"/>
              <a:gd name="T65" fmla="*/ 4918481 h 283804"/>
              <a:gd name="T66" fmla="*/ 688885 w 283803"/>
              <a:gd name="T67" fmla="*/ 1840326 h 283804"/>
              <a:gd name="T68" fmla="*/ 688885 w 283803"/>
              <a:gd name="T69" fmla="*/ 2023052 h 283804"/>
              <a:gd name="T70" fmla="*/ 5236785 w 283803"/>
              <a:gd name="T71" fmla="*/ 1750009 h 283804"/>
              <a:gd name="T72" fmla="*/ 5099711 w 283803"/>
              <a:gd name="T73" fmla="*/ 1867151 h 283804"/>
              <a:gd name="T74" fmla="*/ 4303116 w 283803"/>
              <a:gd name="T75" fmla="*/ 1750009 h 283804"/>
              <a:gd name="T76" fmla="*/ 4185983 w 283803"/>
              <a:gd name="T77" fmla="*/ 1867151 h 283804"/>
              <a:gd name="T78" fmla="*/ 4783683 w 283803"/>
              <a:gd name="T79" fmla="*/ 1804787 h 283804"/>
              <a:gd name="T80" fmla="*/ 3062757 w 283803"/>
              <a:gd name="T81" fmla="*/ 1428904 h 283804"/>
              <a:gd name="T82" fmla="*/ 5507180 w 283803"/>
              <a:gd name="T83" fmla="*/ 1572520 h 283804"/>
              <a:gd name="T84" fmla="*/ 2285493 w 283803"/>
              <a:gd name="T85" fmla="*/ 1237459 h 283804"/>
              <a:gd name="T86" fmla="*/ 1618251 w 283803"/>
              <a:gd name="T87" fmla="*/ 1328815 h 283804"/>
              <a:gd name="T88" fmla="*/ 1357067 w 283803"/>
              <a:gd name="T89" fmla="*/ 1328815 h 283804"/>
              <a:gd name="T90" fmla="*/ 690756 w 283803"/>
              <a:gd name="T91" fmla="*/ 1237459 h 283804"/>
              <a:gd name="T92" fmla="*/ 2954886 w 283803"/>
              <a:gd name="T93" fmla="*/ 682082 h 283804"/>
              <a:gd name="T94" fmla="*/ 546440 w 283803"/>
              <a:gd name="T95" fmla="*/ 172340 h 283804"/>
              <a:gd name="T96" fmla="*/ 3982993 w 283803"/>
              <a:gd name="T97" fmla="*/ 5492937 h 283804"/>
              <a:gd name="T98" fmla="*/ 2753573 w 283803"/>
              <a:gd name="T99" fmla="*/ 4782063 h 283804"/>
              <a:gd name="T100" fmla="*/ 4356853 w 283803"/>
              <a:gd name="T101" fmla="*/ 538492 h 283804"/>
              <a:gd name="T102" fmla="*/ 2954886 w 283803"/>
              <a:gd name="T103" fmla="*/ 854425 h 283804"/>
              <a:gd name="T104" fmla="*/ 546440 w 283803"/>
              <a:gd name="T105" fmla="*/ 172340 h 283804"/>
              <a:gd name="T106" fmla="*/ 4529394 w 283803"/>
              <a:gd name="T107" fmla="*/ 1256587 h 283804"/>
              <a:gd name="T108" fmla="*/ 5363377 w 283803"/>
              <a:gd name="T109" fmla="*/ 5097997 h 283804"/>
              <a:gd name="T110" fmla="*/ 546440 w 283803"/>
              <a:gd name="T111" fmla="*/ 5672411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3803" h="283804">
                <a:moveTo>
                  <a:pt x="34471" y="246063"/>
                </a:moveTo>
                <a:lnTo>
                  <a:pt x="85819" y="246063"/>
                </a:lnTo>
                <a:cubicBezTo>
                  <a:pt x="88333" y="246063"/>
                  <a:pt x="90128" y="248261"/>
                  <a:pt x="90128" y="250826"/>
                </a:cubicBezTo>
                <a:cubicBezTo>
                  <a:pt x="90128" y="253024"/>
                  <a:pt x="88333" y="255222"/>
                  <a:pt x="85819" y="255222"/>
                </a:cubicBezTo>
                <a:lnTo>
                  <a:pt x="34471" y="255222"/>
                </a:lnTo>
                <a:cubicBezTo>
                  <a:pt x="31958" y="255222"/>
                  <a:pt x="30162" y="253024"/>
                  <a:pt x="30162" y="250826"/>
                </a:cubicBezTo>
                <a:cubicBezTo>
                  <a:pt x="30162" y="248261"/>
                  <a:pt x="31958" y="246063"/>
                  <a:pt x="34471" y="246063"/>
                </a:cubicBezTo>
                <a:close/>
                <a:moveTo>
                  <a:pt x="82536" y="217488"/>
                </a:moveTo>
                <a:lnTo>
                  <a:pt x="114314" y="217488"/>
                </a:lnTo>
                <a:cubicBezTo>
                  <a:pt x="116505" y="217488"/>
                  <a:pt x="118697" y="219774"/>
                  <a:pt x="118697" y="222060"/>
                </a:cubicBezTo>
                <a:cubicBezTo>
                  <a:pt x="118697" y="224346"/>
                  <a:pt x="116505" y="226632"/>
                  <a:pt x="114314" y="226632"/>
                </a:cubicBezTo>
                <a:lnTo>
                  <a:pt x="82536" y="226632"/>
                </a:lnTo>
                <a:cubicBezTo>
                  <a:pt x="79979" y="226632"/>
                  <a:pt x="77787" y="224346"/>
                  <a:pt x="77787" y="222060"/>
                </a:cubicBezTo>
                <a:cubicBezTo>
                  <a:pt x="77787" y="219774"/>
                  <a:pt x="79979" y="217488"/>
                  <a:pt x="82536" y="217488"/>
                </a:cubicBezTo>
                <a:close/>
                <a:moveTo>
                  <a:pt x="34483" y="217488"/>
                </a:moveTo>
                <a:lnTo>
                  <a:pt x="60047" y="217488"/>
                </a:lnTo>
                <a:cubicBezTo>
                  <a:pt x="62567" y="217488"/>
                  <a:pt x="64727" y="219774"/>
                  <a:pt x="64727" y="222060"/>
                </a:cubicBezTo>
                <a:cubicBezTo>
                  <a:pt x="64727" y="224346"/>
                  <a:pt x="62567" y="226632"/>
                  <a:pt x="60047" y="226632"/>
                </a:cubicBezTo>
                <a:lnTo>
                  <a:pt x="34483" y="226632"/>
                </a:lnTo>
                <a:cubicBezTo>
                  <a:pt x="31963" y="226632"/>
                  <a:pt x="30162" y="224346"/>
                  <a:pt x="30162" y="222060"/>
                </a:cubicBezTo>
                <a:cubicBezTo>
                  <a:pt x="30162" y="219774"/>
                  <a:pt x="31963" y="217488"/>
                  <a:pt x="34483" y="217488"/>
                </a:cubicBezTo>
                <a:close/>
                <a:moveTo>
                  <a:pt x="235512" y="198650"/>
                </a:moveTo>
                <a:cubicBezTo>
                  <a:pt x="231129" y="198650"/>
                  <a:pt x="228207" y="202194"/>
                  <a:pt x="228207" y="205737"/>
                </a:cubicBezTo>
                <a:lnTo>
                  <a:pt x="228207" y="214242"/>
                </a:lnTo>
                <a:cubicBezTo>
                  <a:pt x="228207" y="218494"/>
                  <a:pt x="231129" y="221329"/>
                  <a:pt x="235512" y="221329"/>
                </a:cubicBezTo>
                <a:lnTo>
                  <a:pt x="243913" y="221329"/>
                </a:lnTo>
                <a:cubicBezTo>
                  <a:pt x="247931" y="221329"/>
                  <a:pt x="251219" y="218494"/>
                  <a:pt x="251219" y="214242"/>
                </a:cubicBezTo>
                <a:lnTo>
                  <a:pt x="251219" y="205737"/>
                </a:lnTo>
                <a:cubicBezTo>
                  <a:pt x="251219" y="202194"/>
                  <a:pt x="247931" y="198650"/>
                  <a:pt x="243913" y="198650"/>
                </a:cubicBezTo>
                <a:lnTo>
                  <a:pt x="235512" y="198650"/>
                </a:lnTo>
                <a:close/>
                <a:moveTo>
                  <a:pt x="179584" y="198650"/>
                </a:moveTo>
                <a:cubicBezTo>
                  <a:pt x="175566" y="198650"/>
                  <a:pt x="172279" y="202194"/>
                  <a:pt x="172279" y="205737"/>
                </a:cubicBezTo>
                <a:lnTo>
                  <a:pt x="172279" y="214242"/>
                </a:lnTo>
                <a:cubicBezTo>
                  <a:pt x="172279" y="218494"/>
                  <a:pt x="175566" y="221329"/>
                  <a:pt x="179584" y="221329"/>
                </a:cubicBezTo>
                <a:lnTo>
                  <a:pt x="188350" y="221329"/>
                </a:lnTo>
                <a:cubicBezTo>
                  <a:pt x="192368" y="221329"/>
                  <a:pt x="195656" y="218494"/>
                  <a:pt x="195656" y="214242"/>
                </a:cubicBezTo>
                <a:lnTo>
                  <a:pt x="195656" y="205737"/>
                </a:lnTo>
                <a:cubicBezTo>
                  <a:pt x="195656" y="202194"/>
                  <a:pt x="192368" y="198650"/>
                  <a:pt x="188350" y="198650"/>
                </a:cubicBezTo>
                <a:lnTo>
                  <a:pt x="179584" y="198650"/>
                </a:lnTo>
                <a:close/>
                <a:moveTo>
                  <a:pt x="235512" y="190500"/>
                </a:moveTo>
                <a:lnTo>
                  <a:pt x="243913" y="190500"/>
                </a:lnTo>
                <a:cubicBezTo>
                  <a:pt x="253045" y="190500"/>
                  <a:pt x="259985" y="197233"/>
                  <a:pt x="259985" y="205737"/>
                </a:cubicBezTo>
                <a:lnTo>
                  <a:pt x="259985" y="214242"/>
                </a:lnTo>
                <a:cubicBezTo>
                  <a:pt x="259985" y="222746"/>
                  <a:pt x="253045" y="229834"/>
                  <a:pt x="243913" y="229834"/>
                </a:cubicBezTo>
                <a:lnTo>
                  <a:pt x="235512" y="229834"/>
                </a:lnTo>
                <a:cubicBezTo>
                  <a:pt x="226381" y="229834"/>
                  <a:pt x="219075" y="222746"/>
                  <a:pt x="219075" y="214242"/>
                </a:cubicBezTo>
                <a:lnTo>
                  <a:pt x="219075" y="205737"/>
                </a:lnTo>
                <a:cubicBezTo>
                  <a:pt x="219075" y="197233"/>
                  <a:pt x="226381" y="190500"/>
                  <a:pt x="235512" y="190500"/>
                </a:cubicBezTo>
                <a:close/>
                <a:moveTo>
                  <a:pt x="179584" y="190500"/>
                </a:moveTo>
                <a:lnTo>
                  <a:pt x="188350" y="190500"/>
                </a:lnTo>
                <a:cubicBezTo>
                  <a:pt x="197117" y="190500"/>
                  <a:pt x="204422" y="197233"/>
                  <a:pt x="204422" y="205737"/>
                </a:cubicBezTo>
                <a:lnTo>
                  <a:pt x="204422" y="214242"/>
                </a:lnTo>
                <a:cubicBezTo>
                  <a:pt x="204422" y="222746"/>
                  <a:pt x="197117" y="229834"/>
                  <a:pt x="188350" y="229834"/>
                </a:cubicBezTo>
                <a:lnTo>
                  <a:pt x="179584" y="229834"/>
                </a:lnTo>
                <a:cubicBezTo>
                  <a:pt x="170818" y="229834"/>
                  <a:pt x="163512" y="222746"/>
                  <a:pt x="163512" y="214242"/>
                </a:cubicBezTo>
                <a:lnTo>
                  <a:pt x="163512" y="205737"/>
                </a:lnTo>
                <a:cubicBezTo>
                  <a:pt x="163512" y="197233"/>
                  <a:pt x="170818" y="190500"/>
                  <a:pt x="179584" y="190500"/>
                </a:cubicBezTo>
                <a:close/>
                <a:moveTo>
                  <a:pt x="60134" y="173038"/>
                </a:moveTo>
                <a:cubicBezTo>
                  <a:pt x="62801" y="173038"/>
                  <a:pt x="64706" y="175236"/>
                  <a:pt x="64706" y="177434"/>
                </a:cubicBezTo>
                <a:lnTo>
                  <a:pt x="64706" y="197217"/>
                </a:lnTo>
                <a:cubicBezTo>
                  <a:pt x="64706" y="199415"/>
                  <a:pt x="62801" y="201247"/>
                  <a:pt x="60134" y="201247"/>
                </a:cubicBezTo>
                <a:cubicBezTo>
                  <a:pt x="57467" y="201247"/>
                  <a:pt x="55562" y="199415"/>
                  <a:pt x="55562" y="197217"/>
                </a:cubicBezTo>
                <a:lnTo>
                  <a:pt x="55562" y="177434"/>
                </a:lnTo>
                <a:cubicBezTo>
                  <a:pt x="55562" y="175236"/>
                  <a:pt x="57467" y="173038"/>
                  <a:pt x="60134" y="173038"/>
                </a:cubicBezTo>
                <a:close/>
                <a:moveTo>
                  <a:pt x="34734" y="161925"/>
                </a:moveTo>
                <a:cubicBezTo>
                  <a:pt x="37020" y="161925"/>
                  <a:pt x="39306" y="163689"/>
                  <a:pt x="39306" y="166158"/>
                </a:cubicBezTo>
                <a:lnTo>
                  <a:pt x="39306" y="195792"/>
                </a:lnTo>
                <a:cubicBezTo>
                  <a:pt x="39306" y="197908"/>
                  <a:pt x="37020" y="199672"/>
                  <a:pt x="34734" y="199672"/>
                </a:cubicBezTo>
                <a:cubicBezTo>
                  <a:pt x="32067" y="199672"/>
                  <a:pt x="30162" y="197908"/>
                  <a:pt x="30162" y="195792"/>
                </a:cubicBezTo>
                <a:lnTo>
                  <a:pt x="30162" y="166158"/>
                </a:lnTo>
                <a:cubicBezTo>
                  <a:pt x="30162" y="163689"/>
                  <a:pt x="32067" y="161925"/>
                  <a:pt x="34734" y="161925"/>
                </a:cubicBezTo>
                <a:close/>
                <a:moveTo>
                  <a:pt x="86741" y="157163"/>
                </a:moveTo>
                <a:cubicBezTo>
                  <a:pt x="89408" y="157163"/>
                  <a:pt x="91694" y="158970"/>
                  <a:pt x="91694" y="161500"/>
                </a:cubicBezTo>
                <a:lnTo>
                  <a:pt x="91694" y="197276"/>
                </a:lnTo>
                <a:cubicBezTo>
                  <a:pt x="91694" y="199445"/>
                  <a:pt x="89408" y="201252"/>
                  <a:pt x="86741" y="201252"/>
                </a:cubicBezTo>
                <a:cubicBezTo>
                  <a:pt x="84455" y="201252"/>
                  <a:pt x="82550" y="199445"/>
                  <a:pt x="82550" y="197276"/>
                </a:cubicBezTo>
                <a:lnTo>
                  <a:pt x="82550" y="161500"/>
                </a:lnTo>
                <a:cubicBezTo>
                  <a:pt x="82550" y="158970"/>
                  <a:pt x="84455" y="157163"/>
                  <a:pt x="86741" y="157163"/>
                </a:cubicBezTo>
                <a:close/>
                <a:moveTo>
                  <a:pt x="114109" y="146050"/>
                </a:moveTo>
                <a:cubicBezTo>
                  <a:pt x="116395" y="146050"/>
                  <a:pt x="118681" y="147866"/>
                  <a:pt x="118681" y="150045"/>
                </a:cubicBezTo>
                <a:lnTo>
                  <a:pt x="118681" y="197255"/>
                </a:lnTo>
                <a:cubicBezTo>
                  <a:pt x="118681" y="199434"/>
                  <a:pt x="116395" y="201250"/>
                  <a:pt x="114109" y="201250"/>
                </a:cubicBezTo>
                <a:cubicBezTo>
                  <a:pt x="111823" y="201250"/>
                  <a:pt x="109537" y="199434"/>
                  <a:pt x="109537" y="197255"/>
                </a:cubicBezTo>
                <a:lnTo>
                  <a:pt x="109537" y="150045"/>
                </a:lnTo>
                <a:cubicBezTo>
                  <a:pt x="109537" y="147866"/>
                  <a:pt x="111823" y="146050"/>
                  <a:pt x="114109" y="146050"/>
                </a:cubicBezTo>
                <a:close/>
                <a:moveTo>
                  <a:pt x="235512" y="142116"/>
                </a:moveTo>
                <a:cubicBezTo>
                  <a:pt x="231129" y="142116"/>
                  <a:pt x="228207" y="145404"/>
                  <a:pt x="228207" y="149422"/>
                </a:cubicBezTo>
                <a:lnTo>
                  <a:pt x="228207" y="158188"/>
                </a:lnTo>
                <a:cubicBezTo>
                  <a:pt x="228207" y="162206"/>
                  <a:pt x="231129" y="165493"/>
                  <a:pt x="235512" y="165493"/>
                </a:cubicBezTo>
                <a:lnTo>
                  <a:pt x="243913" y="165493"/>
                </a:lnTo>
                <a:cubicBezTo>
                  <a:pt x="247931" y="165493"/>
                  <a:pt x="251219" y="162206"/>
                  <a:pt x="251219" y="158188"/>
                </a:cubicBezTo>
                <a:lnTo>
                  <a:pt x="251219" y="149422"/>
                </a:lnTo>
                <a:cubicBezTo>
                  <a:pt x="251219" y="145404"/>
                  <a:pt x="247931" y="142116"/>
                  <a:pt x="243913" y="142116"/>
                </a:cubicBezTo>
                <a:lnTo>
                  <a:pt x="235512" y="142116"/>
                </a:lnTo>
                <a:close/>
                <a:moveTo>
                  <a:pt x="179584" y="142116"/>
                </a:moveTo>
                <a:cubicBezTo>
                  <a:pt x="175566" y="142116"/>
                  <a:pt x="172279" y="145404"/>
                  <a:pt x="172279" y="149422"/>
                </a:cubicBezTo>
                <a:lnTo>
                  <a:pt x="172279" y="158188"/>
                </a:lnTo>
                <a:cubicBezTo>
                  <a:pt x="172279" y="162206"/>
                  <a:pt x="175566" y="165493"/>
                  <a:pt x="179584" y="165493"/>
                </a:cubicBezTo>
                <a:lnTo>
                  <a:pt x="188350" y="165493"/>
                </a:lnTo>
                <a:cubicBezTo>
                  <a:pt x="192368" y="165493"/>
                  <a:pt x="195656" y="162206"/>
                  <a:pt x="195656" y="158188"/>
                </a:cubicBezTo>
                <a:lnTo>
                  <a:pt x="195656" y="149422"/>
                </a:lnTo>
                <a:cubicBezTo>
                  <a:pt x="195656" y="145404"/>
                  <a:pt x="192368" y="142116"/>
                  <a:pt x="188350" y="142116"/>
                </a:cubicBezTo>
                <a:lnTo>
                  <a:pt x="179584" y="142116"/>
                </a:lnTo>
                <a:close/>
                <a:moveTo>
                  <a:pt x="235512" y="133350"/>
                </a:moveTo>
                <a:lnTo>
                  <a:pt x="243913" y="133350"/>
                </a:lnTo>
                <a:cubicBezTo>
                  <a:pt x="253045" y="133350"/>
                  <a:pt x="259985" y="140655"/>
                  <a:pt x="259985" y="149422"/>
                </a:cubicBezTo>
                <a:lnTo>
                  <a:pt x="259985" y="158188"/>
                </a:lnTo>
                <a:cubicBezTo>
                  <a:pt x="259985" y="166954"/>
                  <a:pt x="253045" y="174260"/>
                  <a:pt x="243913" y="174260"/>
                </a:cubicBezTo>
                <a:lnTo>
                  <a:pt x="235512" y="174260"/>
                </a:lnTo>
                <a:cubicBezTo>
                  <a:pt x="226381" y="174260"/>
                  <a:pt x="219075" y="166954"/>
                  <a:pt x="219075" y="158188"/>
                </a:cubicBezTo>
                <a:lnTo>
                  <a:pt x="219075" y="149422"/>
                </a:lnTo>
                <a:cubicBezTo>
                  <a:pt x="219075" y="140655"/>
                  <a:pt x="226381" y="133350"/>
                  <a:pt x="235512" y="133350"/>
                </a:cubicBezTo>
                <a:close/>
                <a:moveTo>
                  <a:pt x="179584" y="133350"/>
                </a:moveTo>
                <a:lnTo>
                  <a:pt x="188350" y="133350"/>
                </a:lnTo>
                <a:cubicBezTo>
                  <a:pt x="197117" y="133350"/>
                  <a:pt x="204422" y="140655"/>
                  <a:pt x="204422" y="149422"/>
                </a:cubicBezTo>
                <a:lnTo>
                  <a:pt x="204422" y="158188"/>
                </a:lnTo>
                <a:cubicBezTo>
                  <a:pt x="204422" y="166954"/>
                  <a:pt x="197117" y="174260"/>
                  <a:pt x="188350" y="174260"/>
                </a:cubicBezTo>
                <a:lnTo>
                  <a:pt x="179584" y="174260"/>
                </a:lnTo>
                <a:cubicBezTo>
                  <a:pt x="170818" y="174260"/>
                  <a:pt x="163512" y="166954"/>
                  <a:pt x="163512" y="158188"/>
                </a:cubicBezTo>
                <a:lnTo>
                  <a:pt x="163512" y="149422"/>
                </a:lnTo>
                <a:cubicBezTo>
                  <a:pt x="163512" y="140655"/>
                  <a:pt x="170818" y="133350"/>
                  <a:pt x="179584" y="133350"/>
                </a:cubicBezTo>
                <a:close/>
                <a:moveTo>
                  <a:pt x="34471" y="120650"/>
                </a:moveTo>
                <a:lnTo>
                  <a:pt x="85819" y="120650"/>
                </a:lnTo>
                <a:cubicBezTo>
                  <a:pt x="88333" y="120650"/>
                  <a:pt x="90128" y="122304"/>
                  <a:pt x="90128" y="124619"/>
                </a:cubicBezTo>
                <a:cubicBezTo>
                  <a:pt x="90128" y="126603"/>
                  <a:pt x="88333" y="128257"/>
                  <a:pt x="85819" y="128257"/>
                </a:cubicBezTo>
                <a:lnTo>
                  <a:pt x="34471" y="128257"/>
                </a:lnTo>
                <a:cubicBezTo>
                  <a:pt x="31958" y="128257"/>
                  <a:pt x="30162" y="126603"/>
                  <a:pt x="30162" y="124619"/>
                </a:cubicBezTo>
                <a:cubicBezTo>
                  <a:pt x="30162" y="122304"/>
                  <a:pt x="31958" y="120650"/>
                  <a:pt x="34471" y="120650"/>
                </a:cubicBezTo>
                <a:close/>
                <a:moveTo>
                  <a:pt x="146398" y="117473"/>
                </a:moveTo>
                <a:lnTo>
                  <a:pt x="146398" y="239257"/>
                </a:lnTo>
                <a:cubicBezTo>
                  <a:pt x="146398" y="243209"/>
                  <a:pt x="149635" y="246083"/>
                  <a:pt x="153232" y="246083"/>
                </a:cubicBezTo>
                <a:lnTo>
                  <a:pt x="268335" y="246083"/>
                </a:lnTo>
                <a:cubicBezTo>
                  <a:pt x="272292" y="246083"/>
                  <a:pt x="275529" y="243209"/>
                  <a:pt x="275529" y="239257"/>
                </a:cubicBezTo>
                <a:lnTo>
                  <a:pt x="275529" y="117473"/>
                </a:lnTo>
                <a:lnTo>
                  <a:pt x="146398" y="117473"/>
                </a:lnTo>
                <a:close/>
                <a:moveTo>
                  <a:pt x="34464" y="92075"/>
                </a:moveTo>
                <a:lnTo>
                  <a:pt x="114402" y="92075"/>
                </a:lnTo>
                <a:cubicBezTo>
                  <a:pt x="116553" y="92075"/>
                  <a:pt x="118704" y="93980"/>
                  <a:pt x="118704" y="96647"/>
                </a:cubicBezTo>
                <a:cubicBezTo>
                  <a:pt x="118704" y="98933"/>
                  <a:pt x="116553" y="101219"/>
                  <a:pt x="114402" y="101219"/>
                </a:cubicBezTo>
                <a:lnTo>
                  <a:pt x="34464" y="101219"/>
                </a:lnTo>
                <a:cubicBezTo>
                  <a:pt x="31955" y="101219"/>
                  <a:pt x="30162" y="98933"/>
                  <a:pt x="30162" y="96647"/>
                </a:cubicBezTo>
                <a:cubicBezTo>
                  <a:pt x="30162" y="93980"/>
                  <a:pt x="31955" y="92075"/>
                  <a:pt x="34464" y="92075"/>
                </a:cubicBezTo>
                <a:close/>
                <a:moveTo>
                  <a:pt x="255143" y="87557"/>
                </a:moveTo>
                <a:cubicBezTo>
                  <a:pt x="257048" y="85725"/>
                  <a:pt x="260096" y="85725"/>
                  <a:pt x="262001" y="87557"/>
                </a:cubicBezTo>
                <a:cubicBezTo>
                  <a:pt x="262763" y="88289"/>
                  <a:pt x="263144" y="89388"/>
                  <a:pt x="263144" y="90487"/>
                </a:cubicBezTo>
                <a:cubicBezTo>
                  <a:pt x="263144" y="91586"/>
                  <a:pt x="262763" y="92686"/>
                  <a:pt x="262001" y="93418"/>
                </a:cubicBezTo>
                <a:cubicBezTo>
                  <a:pt x="260858" y="94517"/>
                  <a:pt x="259715" y="94884"/>
                  <a:pt x="258572" y="94884"/>
                </a:cubicBezTo>
                <a:cubicBezTo>
                  <a:pt x="257429" y="94884"/>
                  <a:pt x="256286" y="94517"/>
                  <a:pt x="255143" y="93418"/>
                </a:cubicBezTo>
                <a:cubicBezTo>
                  <a:pt x="254381" y="92686"/>
                  <a:pt x="254000" y="91586"/>
                  <a:pt x="254000" y="90487"/>
                </a:cubicBezTo>
                <a:cubicBezTo>
                  <a:pt x="254000" y="89388"/>
                  <a:pt x="254381" y="88289"/>
                  <a:pt x="255143" y="87557"/>
                </a:cubicBezTo>
                <a:close/>
                <a:moveTo>
                  <a:pt x="209428" y="87557"/>
                </a:moveTo>
                <a:cubicBezTo>
                  <a:pt x="210893" y="85725"/>
                  <a:pt x="213824" y="85725"/>
                  <a:pt x="215289" y="87557"/>
                </a:cubicBezTo>
                <a:cubicBezTo>
                  <a:pt x="216388" y="88289"/>
                  <a:pt x="217121" y="89388"/>
                  <a:pt x="217121" y="90487"/>
                </a:cubicBezTo>
                <a:cubicBezTo>
                  <a:pt x="217121" y="91586"/>
                  <a:pt x="216388" y="92686"/>
                  <a:pt x="215656" y="93418"/>
                </a:cubicBezTo>
                <a:cubicBezTo>
                  <a:pt x="214923" y="94517"/>
                  <a:pt x="213457" y="94884"/>
                  <a:pt x="212358" y="94884"/>
                </a:cubicBezTo>
                <a:cubicBezTo>
                  <a:pt x="211259" y="94884"/>
                  <a:pt x="210160" y="94517"/>
                  <a:pt x="209428" y="93418"/>
                </a:cubicBezTo>
                <a:cubicBezTo>
                  <a:pt x="208695" y="92686"/>
                  <a:pt x="207962" y="91586"/>
                  <a:pt x="207962" y="90487"/>
                </a:cubicBezTo>
                <a:cubicBezTo>
                  <a:pt x="207962" y="89388"/>
                  <a:pt x="208695" y="88289"/>
                  <a:pt x="209428" y="87557"/>
                </a:cubicBezTo>
                <a:close/>
                <a:moveTo>
                  <a:pt x="234759" y="85725"/>
                </a:moveTo>
                <a:cubicBezTo>
                  <a:pt x="237426" y="85725"/>
                  <a:pt x="239331" y="88011"/>
                  <a:pt x="239331" y="90297"/>
                </a:cubicBezTo>
                <a:cubicBezTo>
                  <a:pt x="239331" y="92583"/>
                  <a:pt x="237426" y="94869"/>
                  <a:pt x="234759" y="94869"/>
                </a:cubicBezTo>
                <a:cubicBezTo>
                  <a:pt x="232092" y="94869"/>
                  <a:pt x="230187" y="92583"/>
                  <a:pt x="230187" y="90297"/>
                </a:cubicBezTo>
                <a:cubicBezTo>
                  <a:pt x="230187" y="88011"/>
                  <a:pt x="232092" y="85725"/>
                  <a:pt x="234759" y="85725"/>
                </a:cubicBezTo>
                <a:close/>
                <a:moveTo>
                  <a:pt x="153232" y="71490"/>
                </a:moveTo>
                <a:cubicBezTo>
                  <a:pt x="149635" y="71490"/>
                  <a:pt x="146398" y="74723"/>
                  <a:pt x="146398" y="78675"/>
                </a:cubicBezTo>
                <a:lnTo>
                  <a:pt x="146398" y="108851"/>
                </a:lnTo>
                <a:lnTo>
                  <a:pt x="275529" y="108851"/>
                </a:lnTo>
                <a:lnTo>
                  <a:pt x="275529" y="78675"/>
                </a:lnTo>
                <a:cubicBezTo>
                  <a:pt x="275529" y="74723"/>
                  <a:pt x="272292" y="71490"/>
                  <a:pt x="268335" y="71490"/>
                </a:cubicBezTo>
                <a:lnTo>
                  <a:pt x="153232" y="71490"/>
                </a:lnTo>
                <a:close/>
                <a:moveTo>
                  <a:pt x="85317" y="61913"/>
                </a:moveTo>
                <a:lnTo>
                  <a:pt x="114345" y="61913"/>
                </a:lnTo>
                <a:cubicBezTo>
                  <a:pt x="116522" y="61913"/>
                  <a:pt x="118699" y="63818"/>
                  <a:pt x="118699" y="66485"/>
                </a:cubicBezTo>
                <a:cubicBezTo>
                  <a:pt x="118699" y="69152"/>
                  <a:pt x="116522" y="71057"/>
                  <a:pt x="114345" y="71057"/>
                </a:cubicBezTo>
                <a:lnTo>
                  <a:pt x="85317" y="71057"/>
                </a:lnTo>
                <a:cubicBezTo>
                  <a:pt x="83139" y="71057"/>
                  <a:pt x="80962" y="69152"/>
                  <a:pt x="80962" y="66485"/>
                </a:cubicBezTo>
                <a:cubicBezTo>
                  <a:pt x="80962" y="63818"/>
                  <a:pt x="83139" y="61913"/>
                  <a:pt x="85317" y="61913"/>
                </a:cubicBezTo>
                <a:close/>
                <a:moveTo>
                  <a:pt x="34558" y="61913"/>
                </a:moveTo>
                <a:lnTo>
                  <a:pt x="63500" y="61913"/>
                </a:lnTo>
                <a:cubicBezTo>
                  <a:pt x="66064" y="61913"/>
                  <a:pt x="67896" y="63818"/>
                  <a:pt x="67896" y="66485"/>
                </a:cubicBezTo>
                <a:cubicBezTo>
                  <a:pt x="67896" y="69152"/>
                  <a:pt x="66064" y="71057"/>
                  <a:pt x="63500" y="71057"/>
                </a:cubicBezTo>
                <a:lnTo>
                  <a:pt x="34558" y="71057"/>
                </a:lnTo>
                <a:cubicBezTo>
                  <a:pt x="31994" y="71057"/>
                  <a:pt x="30162" y="69152"/>
                  <a:pt x="30162" y="66485"/>
                </a:cubicBezTo>
                <a:cubicBezTo>
                  <a:pt x="30162" y="63818"/>
                  <a:pt x="31994" y="61913"/>
                  <a:pt x="34558" y="61913"/>
                </a:cubicBezTo>
                <a:close/>
                <a:moveTo>
                  <a:pt x="65825" y="8622"/>
                </a:moveTo>
                <a:lnTo>
                  <a:pt x="65825" y="21555"/>
                </a:lnTo>
                <a:cubicBezTo>
                  <a:pt x="65825" y="28380"/>
                  <a:pt x="71580" y="34128"/>
                  <a:pt x="78774" y="34128"/>
                </a:cubicBezTo>
                <a:lnTo>
                  <a:pt x="147836" y="34128"/>
                </a:lnTo>
                <a:cubicBezTo>
                  <a:pt x="155030" y="34128"/>
                  <a:pt x="160426" y="28380"/>
                  <a:pt x="160426" y="21555"/>
                </a:cubicBezTo>
                <a:lnTo>
                  <a:pt x="160426" y="8622"/>
                </a:lnTo>
                <a:lnTo>
                  <a:pt x="65825" y="8622"/>
                </a:lnTo>
                <a:close/>
                <a:moveTo>
                  <a:pt x="27337" y="8622"/>
                </a:moveTo>
                <a:cubicBezTo>
                  <a:pt x="16906" y="8622"/>
                  <a:pt x="8633" y="16525"/>
                  <a:pt x="8633" y="26943"/>
                </a:cubicBezTo>
                <a:lnTo>
                  <a:pt x="8633" y="256501"/>
                </a:lnTo>
                <a:cubicBezTo>
                  <a:pt x="8633" y="266919"/>
                  <a:pt x="16906" y="274823"/>
                  <a:pt x="27337" y="274823"/>
                </a:cubicBezTo>
                <a:lnTo>
                  <a:pt x="199273" y="274823"/>
                </a:lnTo>
                <a:cubicBezTo>
                  <a:pt x="209705" y="274823"/>
                  <a:pt x="217978" y="266919"/>
                  <a:pt x="217978" y="256501"/>
                </a:cubicBezTo>
                <a:lnTo>
                  <a:pt x="217978" y="255064"/>
                </a:lnTo>
                <a:lnTo>
                  <a:pt x="153232" y="255064"/>
                </a:lnTo>
                <a:cubicBezTo>
                  <a:pt x="144599" y="255064"/>
                  <a:pt x="137765" y="247879"/>
                  <a:pt x="137765" y="239257"/>
                </a:cubicBezTo>
                <a:lnTo>
                  <a:pt x="137765" y="78675"/>
                </a:lnTo>
                <a:cubicBezTo>
                  <a:pt x="137765" y="70053"/>
                  <a:pt x="144599" y="62868"/>
                  <a:pt x="153232" y="62868"/>
                </a:cubicBezTo>
                <a:lnTo>
                  <a:pt x="217978" y="62868"/>
                </a:lnTo>
                <a:lnTo>
                  <a:pt x="217978" y="26943"/>
                </a:lnTo>
                <a:cubicBezTo>
                  <a:pt x="217978" y="16525"/>
                  <a:pt x="209705" y="8622"/>
                  <a:pt x="199273" y="8622"/>
                </a:cubicBezTo>
                <a:lnTo>
                  <a:pt x="169418" y="8622"/>
                </a:lnTo>
                <a:lnTo>
                  <a:pt x="169418" y="21555"/>
                </a:lnTo>
                <a:cubicBezTo>
                  <a:pt x="169418" y="33410"/>
                  <a:pt x="159347" y="42750"/>
                  <a:pt x="147836" y="42750"/>
                </a:cubicBezTo>
                <a:lnTo>
                  <a:pt x="78774" y="42750"/>
                </a:lnTo>
                <a:cubicBezTo>
                  <a:pt x="66904" y="42750"/>
                  <a:pt x="57192" y="33410"/>
                  <a:pt x="57192" y="21555"/>
                </a:cubicBezTo>
                <a:lnTo>
                  <a:pt x="57192" y="8622"/>
                </a:lnTo>
                <a:lnTo>
                  <a:pt x="27337" y="8622"/>
                </a:lnTo>
                <a:close/>
                <a:moveTo>
                  <a:pt x="27337" y="0"/>
                </a:moveTo>
                <a:lnTo>
                  <a:pt x="199273" y="0"/>
                </a:lnTo>
                <a:cubicBezTo>
                  <a:pt x="214381" y="0"/>
                  <a:pt x="226610" y="12214"/>
                  <a:pt x="226610" y="26943"/>
                </a:cubicBezTo>
                <a:lnTo>
                  <a:pt x="226610" y="62868"/>
                </a:lnTo>
                <a:lnTo>
                  <a:pt x="268335" y="62868"/>
                </a:lnTo>
                <a:cubicBezTo>
                  <a:pt x="276968" y="62868"/>
                  <a:pt x="283803" y="70053"/>
                  <a:pt x="283803" y="78675"/>
                </a:cubicBezTo>
                <a:lnTo>
                  <a:pt x="283803" y="239257"/>
                </a:lnTo>
                <a:cubicBezTo>
                  <a:pt x="283803" y="247879"/>
                  <a:pt x="276968" y="255064"/>
                  <a:pt x="268335" y="255064"/>
                </a:cubicBezTo>
                <a:lnTo>
                  <a:pt x="226610" y="255064"/>
                </a:lnTo>
                <a:lnTo>
                  <a:pt x="226610" y="256501"/>
                </a:lnTo>
                <a:cubicBezTo>
                  <a:pt x="226610" y="271230"/>
                  <a:pt x="214381" y="283804"/>
                  <a:pt x="199273" y="283804"/>
                </a:cubicBezTo>
                <a:lnTo>
                  <a:pt x="27337" y="283804"/>
                </a:lnTo>
                <a:cubicBezTo>
                  <a:pt x="12230" y="283804"/>
                  <a:pt x="0" y="271230"/>
                  <a:pt x="0" y="256501"/>
                </a:cubicBezTo>
                <a:lnTo>
                  <a:pt x="0" y="26943"/>
                </a:lnTo>
                <a:cubicBezTo>
                  <a:pt x="0" y="12214"/>
                  <a:pt x="12230" y="0"/>
                  <a:pt x="27337" y="0"/>
                </a:cubicBezTo>
                <a:close/>
              </a:path>
            </a:pathLst>
          </a:custGeom>
          <a:solidFill>
            <a:schemeClr val="bg1"/>
          </a:solidFill>
          <a:ln>
            <a:noFill/>
          </a:ln>
          <a:effectLst/>
        </p:spPr>
        <p:txBody>
          <a:bodyPr anchor="ctr"/>
          <a:lstStyle/>
          <a:p>
            <a:endParaRPr lang="en-US" sz="900"/>
          </a:p>
        </p:txBody>
      </p:sp>
      <p:sp>
        <p:nvSpPr>
          <p:cNvPr id="18" name="Freeform 1042">
            <a:extLst>
              <a:ext uri="{FF2B5EF4-FFF2-40B4-BE49-F238E27FC236}">
                <a16:creationId xmlns:a16="http://schemas.microsoft.com/office/drawing/2014/main" id="{81614E40-089F-B3A4-9BF6-19F2105F0D3F}"/>
              </a:ext>
            </a:extLst>
          </p:cNvPr>
          <p:cNvSpPr>
            <a:spLocks noChangeAspect="1" noChangeArrowheads="1"/>
          </p:cNvSpPr>
          <p:nvPr/>
        </p:nvSpPr>
        <p:spPr bwMode="auto">
          <a:xfrm>
            <a:off x="6402855" y="5101850"/>
            <a:ext cx="527985" cy="526365"/>
          </a:xfrm>
          <a:custGeom>
            <a:avLst/>
            <a:gdLst>
              <a:gd name="T0" fmla="*/ 3133397 w 285397"/>
              <a:gd name="T1" fmla="*/ 5013279 h 283804"/>
              <a:gd name="T2" fmla="*/ 1727268 w 285397"/>
              <a:gd name="T3" fmla="*/ 5013279 h 283804"/>
              <a:gd name="T4" fmla="*/ 1383863 w 285397"/>
              <a:gd name="T5" fmla="*/ 4918076 h 283804"/>
              <a:gd name="T6" fmla="*/ 681815 w 285397"/>
              <a:gd name="T7" fmla="*/ 5101162 h 283804"/>
              <a:gd name="T8" fmla="*/ 2595179 w 285397"/>
              <a:gd name="T9" fmla="*/ 3499961 h 283804"/>
              <a:gd name="T10" fmla="*/ 3558767 w 285397"/>
              <a:gd name="T11" fmla="*/ 3499961 h 283804"/>
              <a:gd name="T12" fmla="*/ 1453160 w 285397"/>
              <a:gd name="T13" fmla="*/ 4357227 h 283804"/>
              <a:gd name="T14" fmla="*/ 1453160 w 285397"/>
              <a:gd name="T15" fmla="*/ 3499961 h 283804"/>
              <a:gd name="T16" fmla="*/ 1281869 w 285397"/>
              <a:gd name="T17" fmla="*/ 4357227 h 283804"/>
              <a:gd name="T18" fmla="*/ 2595179 w 285397"/>
              <a:gd name="T19" fmla="*/ 2570664 h 283804"/>
              <a:gd name="T20" fmla="*/ 3558767 w 285397"/>
              <a:gd name="T21" fmla="*/ 2570664 h 283804"/>
              <a:gd name="T22" fmla="*/ 1453160 w 285397"/>
              <a:gd name="T23" fmla="*/ 3319899 h 283804"/>
              <a:gd name="T24" fmla="*/ 1453160 w 285397"/>
              <a:gd name="T25" fmla="*/ 2570664 h 283804"/>
              <a:gd name="T26" fmla="*/ 1281869 w 285397"/>
              <a:gd name="T27" fmla="*/ 3319899 h 283804"/>
              <a:gd name="T28" fmla="*/ 2595179 w 285397"/>
              <a:gd name="T29" fmla="*/ 1886309 h 283804"/>
              <a:gd name="T30" fmla="*/ 3558767 w 285397"/>
              <a:gd name="T31" fmla="*/ 1886309 h 283804"/>
              <a:gd name="T32" fmla="*/ 1453160 w 285397"/>
              <a:gd name="T33" fmla="*/ 2404985 h 283804"/>
              <a:gd name="T34" fmla="*/ 1453160 w 285397"/>
              <a:gd name="T35" fmla="*/ 1886309 h 283804"/>
              <a:gd name="T36" fmla="*/ 1281869 w 285397"/>
              <a:gd name="T37" fmla="*/ 2404985 h 283804"/>
              <a:gd name="T38" fmla="*/ 682370 w 285397"/>
              <a:gd name="T39" fmla="*/ 1713421 h 283804"/>
              <a:gd name="T40" fmla="*/ 3730058 w 285397"/>
              <a:gd name="T41" fmla="*/ 4443678 h 283804"/>
              <a:gd name="T42" fmla="*/ 596654 w 285397"/>
              <a:gd name="T43" fmla="*/ 4443678 h 283804"/>
              <a:gd name="T44" fmla="*/ 1969773 w 285397"/>
              <a:gd name="T45" fmla="*/ 1142254 h 283804"/>
              <a:gd name="T46" fmla="*/ 2475498 w 285397"/>
              <a:gd name="T47" fmla="*/ 1325318 h 283804"/>
              <a:gd name="T48" fmla="*/ 1969773 w 285397"/>
              <a:gd name="T49" fmla="*/ 1142254 h 283804"/>
              <a:gd name="T50" fmla="*/ 1625925 w 285397"/>
              <a:gd name="T51" fmla="*/ 1230122 h 283804"/>
              <a:gd name="T52" fmla="*/ 596654 w 285397"/>
              <a:gd name="T53" fmla="*/ 1230122 h 283804"/>
              <a:gd name="T54" fmla="*/ 2476583 w 285397"/>
              <a:gd name="T55" fmla="*/ 571104 h 283804"/>
              <a:gd name="T56" fmla="*/ 1553527 w 285397"/>
              <a:gd name="T57" fmla="*/ 754217 h 283804"/>
              <a:gd name="T58" fmla="*/ 684339 w 285397"/>
              <a:gd name="T59" fmla="*/ 571104 h 283804"/>
              <a:gd name="T60" fmla="*/ 1129867 w 285397"/>
              <a:gd name="T61" fmla="*/ 754217 h 283804"/>
              <a:gd name="T62" fmla="*/ 684339 w 285397"/>
              <a:gd name="T63" fmla="*/ 571104 h 283804"/>
              <a:gd name="T64" fmla="*/ 3972115 w 285397"/>
              <a:gd name="T65" fmla="*/ 1141659 h 283804"/>
              <a:gd name="T66" fmla="*/ 170879 w 285397"/>
              <a:gd name="T67" fmla="*/ 5492937 h 283804"/>
              <a:gd name="T68" fmla="*/ 3039603 w 285397"/>
              <a:gd name="T69" fmla="*/ 1321191 h 283804"/>
              <a:gd name="T70" fmla="*/ 170879 w 285397"/>
              <a:gd name="T71" fmla="*/ 172340 h 283804"/>
              <a:gd name="T72" fmla="*/ 5645909 w 285397"/>
              <a:gd name="T73" fmla="*/ 78987 h 283804"/>
              <a:gd name="T74" fmla="*/ 5227204 w 285397"/>
              <a:gd name="T75" fmla="*/ 5672411 h 283804"/>
              <a:gd name="T76" fmla="*/ 5478455 w 285397"/>
              <a:gd name="T77" fmla="*/ 5492937 h 283804"/>
              <a:gd name="T78" fmla="*/ 5150423 w 285397"/>
              <a:gd name="T79" fmla="*/ 78987 h 283804"/>
              <a:gd name="T80" fmla="*/ 4869793 w 285397"/>
              <a:gd name="T81" fmla="*/ 0 h 283804"/>
              <a:gd name="T82" fmla="*/ 4869793 w 285397"/>
              <a:gd name="T83" fmla="*/ 5672411 h 283804"/>
              <a:gd name="T84" fmla="*/ 4529416 w 285397"/>
              <a:gd name="T85" fmla="*/ 5492937 h 283804"/>
              <a:gd name="T86" fmla="*/ 3508236 w 285397"/>
              <a:gd name="T87" fmla="*/ 172340 h 283804"/>
              <a:gd name="T88" fmla="*/ 85376 w 285397"/>
              <a:gd name="T89" fmla="*/ 0 h 283804"/>
              <a:gd name="T90" fmla="*/ 4235477 w 285397"/>
              <a:gd name="T91" fmla="*/ 1170352 h 283804"/>
              <a:gd name="T92" fmla="*/ 4178551 w 285397"/>
              <a:gd name="T93" fmla="*/ 5672411 h 283804"/>
              <a:gd name="T94" fmla="*/ 0 w 285397"/>
              <a:gd name="T95" fmla="*/ 78987 h 283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7" h="283804">
                <a:moveTo>
                  <a:pt x="91620" y="246063"/>
                </a:moveTo>
                <a:lnTo>
                  <a:pt x="153724" y="246063"/>
                </a:lnTo>
                <a:cubicBezTo>
                  <a:pt x="156237" y="246063"/>
                  <a:pt x="158391" y="248261"/>
                  <a:pt x="158391" y="250826"/>
                </a:cubicBezTo>
                <a:cubicBezTo>
                  <a:pt x="158391" y="253024"/>
                  <a:pt x="156237" y="255222"/>
                  <a:pt x="153724" y="255222"/>
                </a:cubicBezTo>
                <a:lnTo>
                  <a:pt x="91620" y="255222"/>
                </a:lnTo>
                <a:cubicBezTo>
                  <a:pt x="89466" y="255222"/>
                  <a:pt x="87312" y="253024"/>
                  <a:pt x="87312" y="250826"/>
                </a:cubicBezTo>
                <a:cubicBezTo>
                  <a:pt x="87312" y="248261"/>
                  <a:pt x="89466" y="246063"/>
                  <a:pt x="91620" y="246063"/>
                </a:cubicBezTo>
                <a:close/>
                <a:moveTo>
                  <a:pt x="34464" y="246063"/>
                </a:moveTo>
                <a:lnTo>
                  <a:pt x="69952" y="246063"/>
                </a:lnTo>
                <a:cubicBezTo>
                  <a:pt x="72103" y="246063"/>
                  <a:pt x="74254" y="248261"/>
                  <a:pt x="74254" y="250826"/>
                </a:cubicBezTo>
                <a:cubicBezTo>
                  <a:pt x="74254" y="253024"/>
                  <a:pt x="72103" y="255222"/>
                  <a:pt x="69952" y="255222"/>
                </a:cubicBezTo>
                <a:lnTo>
                  <a:pt x="34464" y="255222"/>
                </a:lnTo>
                <a:cubicBezTo>
                  <a:pt x="31954" y="255222"/>
                  <a:pt x="30162" y="253024"/>
                  <a:pt x="30162" y="250826"/>
                </a:cubicBezTo>
                <a:cubicBezTo>
                  <a:pt x="30162" y="248261"/>
                  <a:pt x="31954" y="246063"/>
                  <a:pt x="34464" y="246063"/>
                </a:cubicBezTo>
                <a:close/>
                <a:moveTo>
                  <a:pt x="131185" y="175111"/>
                </a:moveTo>
                <a:lnTo>
                  <a:pt x="131185" y="218002"/>
                </a:lnTo>
                <a:lnTo>
                  <a:pt x="179892" y="218002"/>
                </a:lnTo>
                <a:lnTo>
                  <a:pt x="179892" y="175111"/>
                </a:lnTo>
                <a:lnTo>
                  <a:pt x="131185" y="175111"/>
                </a:lnTo>
                <a:close/>
                <a:moveTo>
                  <a:pt x="73457" y="175111"/>
                </a:moveTo>
                <a:lnTo>
                  <a:pt x="73457" y="218002"/>
                </a:lnTo>
                <a:lnTo>
                  <a:pt x="122165" y="218002"/>
                </a:lnTo>
                <a:lnTo>
                  <a:pt x="122165" y="175111"/>
                </a:lnTo>
                <a:lnTo>
                  <a:pt x="73457" y="175111"/>
                </a:lnTo>
                <a:close/>
                <a:moveTo>
                  <a:pt x="38821" y="175111"/>
                </a:moveTo>
                <a:lnTo>
                  <a:pt x="38821" y="218002"/>
                </a:lnTo>
                <a:lnTo>
                  <a:pt x="64798" y="218002"/>
                </a:lnTo>
                <a:lnTo>
                  <a:pt x="64798" y="175111"/>
                </a:lnTo>
                <a:lnTo>
                  <a:pt x="38821" y="175111"/>
                </a:lnTo>
                <a:close/>
                <a:moveTo>
                  <a:pt x="131185" y="128616"/>
                </a:moveTo>
                <a:lnTo>
                  <a:pt x="131185" y="166101"/>
                </a:lnTo>
                <a:lnTo>
                  <a:pt x="179892" y="166101"/>
                </a:lnTo>
                <a:lnTo>
                  <a:pt x="179892" y="128616"/>
                </a:lnTo>
                <a:lnTo>
                  <a:pt x="131185" y="128616"/>
                </a:lnTo>
                <a:close/>
                <a:moveTo>
                  <a:pt x="73457" y="128616"/>
                </a:moveTo>
                <a:lnTo>
                  <a:pt x="73457" y="166101"/>
                </a:lnTo>
                <a:lnTo>
                  <a:pt x="122165" y="166101"/>
                </a:lnTo>
                <a:lnTo>
                  <a:pt x="122165" y="128616"/>
                </a:lnTo>
                <a:lnTo>
                  <a:pt x="73457" y="128616"/>
                </a:lnTo>
                <a:close/>
                <a:moveTo>
                  <a:pt x="38821" y="128616"/>
                </a:moveTo>
                <a:lnTo>
                  <a:pt x="38821" y="166101"/>
                </a:lnTo>
                <a:lnTo>
                  <a:pt x="64798" y="166101"/>
                </a:lnTo>
                <a:lnTo>
                  <a:pt x="64798" y="128616"/>
                </a:lnTo>
                <a:lnTo>
                  <a:pt x="38821" y="128616"/>
                </a:lnTo>
                <a:close/>
                <a:moveTo>
                  <a:pt x="131185" y="94375"/>
                </a:moveTo>
                <a:lnTo>
                  <a:pt x="131185" y="120326"/>
                </a:lnTo>
                <a:lnTo>
                  <a:pt x="179892" y="120326"/>
                </a:lnTo>
                <a:lnTo>
                  <a:pt x="179892" y="94375"/>
                </a:lnTo>
                <a:lnTo>
                  <a:pt x="131185" y="94375"/>
                </a:lnTo>
                <a:close/>
                <a:moveTo>
                  <a:pt x="73457" y="94375"/>
                </a:moveTo>
                <a:lnTo>
                  <a:pt x="73457" y="120326"/>
                </a:lnTo>
                <a:lnTo>
                  <a:pt x="122165" y="120326"/>
                </a:lnTo>
                <a:lnTo>
                  <a:pt x="122165" y="94375"/>
                </a:lnTo>
                <a:lnTo>
                  <a:pt x="73457" y="94375"/>
                </a:lnTo>
                <a:close/>
                <a:moveTo>
                  <a:pt x="38821" y="94375"/>
                </a:moveTo>
                <a:lnTo>
                  <a:pt x="38821" y="120326"/>
                </a:lnTo>
                <a:lnTo>
                  <a:pt x="64798" y="120326"/>
                </a:lnTo>
                <a:lnTo>
                  <a:pt x="64798" y="94375"/>
                </a:lnTo>
                <a:lnTo>
                  <a:pt x="38821" y="94375"/>
                </a:lnTo>
                <a:close/>
                <a:moveTo>
                  <a:pt x="34492" y="85725"/>
                </a:moveTo>
                <a:lnTo>
                  <a:pt x="184222" y="85725"/>
                </a:lnTo>
                <a:cubicBezTo>
                  <a:pt x="186747" y="85725"/>
                  <a:pt x="188551" y="87888"/>
                  <a:pt x="188551" y="90050"/>
                </a:cubicBezTo>
                <a:lnTo>
                  <a:pt x="188551" y="222327"/>
                </a:lnTo>
                <a:cubicBezTo>
                  <a:pt x="188551" y="224490"/>
                  <a:pt x="186747" y="226653"/>
                  <a:pt x="184222" y="226653"/>
                </a:cubicBezTo>
                <a:lnTo>
                  <a:pt x="34492" y="226653"/>
                </a:lnTo>
                <a:cubicBezTo>
                  <a:pt x="31966" y="226653"/>
                  <a:pt x="30162" y="224490"/>
                  <a:pt x="30162" y="222327"/>
                </a:cubicBezTo>
                <a:lnTo>
                  <a:pt x="30162" y="90050"/>
                </a:lnTo>
                <a:cubicBezTo>
                  <a:pt x="30162" y="87888"/>
                  <a:pt x="31966" y="85725"/>
                  <a:pt x="34492" y="85725"/>
                </a:cubicBezTo>
                <a:close/>
                <a:moveTo>
                  <a:pt x="99571" y="57150"/>
                </a:moveTo>
                <a:lnTo>
                  <a:pt x="125134" y="57150"/>
                </a:lnTo>
                <a:cubicBezTo>
                  <a:pt x="127655" y="57150"/>
                  <a:pt x="129815" y="59348"/>
                  <a:pt x="129815" y="61546"/>
                </a:cubicBezTo>
                <a:cubicBezTo>
                  <a:pt x="129815" y="63744"/>
                  <a:pt x="127655" y="66309"/>
                  <a:pt x="125134" y="66309"/>
                </a:cubicBezTo>
                <a:lnTo>
                  <a:pt x="99571" y="66309"/>
                </a:lnTo>
                <a:cubicBezTo>
                  <a:pt x="97410" y="66309"/>
                  <a:pt x="95250" y="63744"/>
                  <a:pt x="95250" y="61546"/>
                </a:cubicBezTo>
                <a:cubicBezTo>
                  <a:pt x="95250" y="59348"/>
                  <a:pt x="97410" y="57150"/>
                  <a:pt x="99571" y="57150"/>
                </a:cubicBezTo>
                <a:close/>
                <a:moveTo>
                  <a:pt x="34498" y="57150"/>
                </a:moveTo>
                <a:lnTo>
                  <a:pt x="78214" y="57150"/>
                </a:lnTo>
                <a:cubicBezTo>
                  <a:pt x="80382" y="57150"/>
                  <a:pt x="82189" y="59348"/>
                  <a:pt x="82189" y="61546"/>
                </a:cubicBezTo>
                <a:cubicBezTo>
                  <a:pt x="82189" y="63744"/>
                  <a:pt x="80382" y="66309"/>
                  <a:pt x="78214" y="66309"/>
                </a:cubicBezTo>
                <a:lnTo>
                  <a:pt x="34498" y="66309"/>
                </a:lnTo>
                <a:cubicBezTo>
                  <a:pt x="31968" y="66309"/>
                  <a:pt x="30162" y="63744"/>
                  <a:pt x="30162" y="61546"/>
                </a:cubicBezTo>
                <a:cubicBezTo>
                  <a:pt x="30162" y="59348"/>
                  <a:pt x="31968" y="57150"/>
                  <a:pt x="34498" y="57150"/>
                </a:cubicBezTo>
                <a:close/>
                <a:moveTo>
                  <a:pt x="78530" y="28575"/>
                </a:moveTo>
                <a:lnTo>
                  <a:pt x="125189" y="28575"/>
                </a:lnTo>
                <a:cubicBezTo>
                  <a:pt x="127682" y="28575"/>
                  <a:pt x="129819" y="30773"/>
                  <a:pt x="129819" y="32971"/>
                </a:cubicBezTo>
                <a:cubicBezTo>
                  <a:pt x="129819" y="35536"/>
                  <a:pt x="127682" y="37734"/>
                  <a:pt x="125189" y="37734"/>
                </a:cubicBezTo>
                <a:lnTo>
                  <a:pt x="78530" y="37734"/>
                </a:lnTo>
                <a:cubicBezTo>
                  <a:pt x="76393" y="37734"/>
                  <a:pt x="74612" y="35536"/>
                  <a:pt x="74612" y="32971"/>
                </a:cubicBezTo>
                <a:cubicBezTo>
                  <a:pt x="74612" y="30773"/>
                  <a:pt x="76393" y="28575"/>
                  <a:pt x="78530" y="28575"/>
                </a:cubicBezTo>
                <a:close/>
                <a:moveTo>
                  <a:pt x="34592" y="28575"/>
                </a:moveTo>
                <a:lnTo>
                  <a:pt x="57113" y="28575"/>
                </a:lnTo>
                <a:cubicBezTo>
                  <a:pt x="59697" y="28575"/>
                  <a:pt x="61543" y="30773"/>
                  <a:pt x="61543" y="32971"/>
                </a:cubicBezTo>
                <a:cubicBezTo>
                  <a:pt x="61543" y="35536"/>
                  <a:pt x="59697" y="37734"/>
                  <a:pt x="57113" y="37734"/>
                </a:cubicBezTo>
                <a:lnTo>
                  <a:pt x="34592" y="37734"/>
                </a:lnTo>
                <a:cubicBezTo>
                  <a:pt x="32008" y="37734"/>
                  <a:pt x="30162" y="35536"/>
                  <a:pt x="30162" y="32971"/>
                </a:cubicBezTo>
                <a:cubicBezTo>
                  <a:pt x="30162" y="30773"/>
                  <a:pt x="32008" y="28575"/>
                  <a:pt x="34592" y="28575"/>
                </a:cubicBezTo>
                <a:close/>
                <a:moveTo>
                  <a:pt x="158327" y="14729"/>
                </a:moveTo>
                <a:lnTo>
                  <a:pt x="158327" y="57120"/>
                </a:lnTo>
                <a:lnTo>
                  <a:pt x="200787" y="57120"/>
                </a:lnTo>
                <a:lnTo>
                  <a:pt x="158327" y="14729"/>
                </a:lnTo>
                <a:close/>
                <a:moveTo>
                  <a:pt x="8636" y="8622"/>
                </a:moveTo>
                <a:lnTo>
                  <a:pt x="8636" y="274823"/>
                </a:lnTo>
                <a:lnTo>
                  <a:pt x="206904" y="274823"/>
                </a:lnTo>
                <a:lnTo>
                  <a:pt x="206904" y="66101"/>
                </a:lnTo>
                <a:lnTo>
                  <a:pt x="153649" y="66101"/>
                </a:lnTo>
                <a:cubicBezTo>
                  <a:pt x="151490" y="66101"/>
                  <a:pt x="149331" y="63586"/>
                  <a:pt x="149331" y="61431"/>
                </a:cubicBezTo>
                <a:lnTo>
                  <a:pt x="149331" y="8622"/>
                </a:lnTo>
                <a:lnTo>
                  <a:pt x="8636" y="8622"/>
                </a:lnTo>
                <a:close/>
                <a:moveTo>
                  <a:pt x="264231" y="0"/>
                </a:moveTo>
                <a:lnTo>
                  <a:pt x="281164" y="0"/>
                </a:lnTo>
                <a:cubicBezTo>
                  <a:pt x="283633" y="0"/>
                  <a:pt x="285397" y="1796"/>
                  <a:pt x="285397" y="3952"/>
                </a:cubicBezTo>
                <a:lnTo>
                  <a:pt x="285397" y="279134"/>
                </a:lnTo>
                <a:cubicBezTo>
                  <a:pt x="285397" y="281648"/>
                  <a:pt x="283633" y="283804"/>
                  <a:pt x="281164" y="283804"/>
                </a:cubicBezTo>
                <a:lnTo>
                  <a:pt x="264231" y="283804"/>
                </a:lnTo>
                <a:cubicBezTo>
                  <a:pt x="262114" y="283804"/>
                  <a:pt x="260350" y="281648"/>
                  <a:pt x="260350" y="279134"/>
                </a:cubicBezTo>
                <a:cubicBezTo>
                  <a:pt x="260350" y="276978"/>
                  <a:pt x="262114" y="274823"/>
                  <a:pt x="264231" y="274823"/>
                </a:cubicBezTo>
                <a:lnTo>
                  <a:pt x="276931" y="274823"/>
                </a:lnTo>
                <a:lnTo>
                  <a:pt x="276931" y="8622"/>
                </a:lnTo>
                <a:lnTo>
                  <a:pt x="264231" y="8622"/>
                </a:lnTo>
                <a:cubicBezTo>
                  <a:pt x="262114" y="8622"/>
                  <a:pt x="260350" y="6466"/>
                  <a:pt x="260350" y="3952"/>
                </a:cubicBezTo>
                <a:cubicBezTo>
                  <a:pt x="260350" y="1796"/>
                  <a:pt x="262114" y="0"/>
                  <a:pt x="264231" y="0"/>
                </a:cubicBezTo>
                <a:close/>
                <a:moveTo>
                  <a:pt x="177339" y="0"/>
                </a:moveTo>
                <a:lnTo>
                  <a:pt x="246165" y="0"/>
                </a:lnTo>
                <a:cubicBezTo>
                  <a:pt x="248316" y="0"/>
                  <a:pt x="250467" y="1796"/>
                  <a:pt x="250467" y="3952"/>
                </a:cubicBezTo>
                <a:lnTo>
                  <a:pt x="250467" y="279134"/>
                </a:lnTo>
                <a:cubicBezTo>
                  <a:pt x="250467" y="281648"/>
                  <a:pt x="248316" y="283804"/>
                  <a:pt x="246165" y="283804"/>
                </a:cubicBezTo>
                <a:lnTo>
                  <a:pt x="228958" y="283804"/>
                </a:lnTo>
                <a:cubicBezTo>
                  <a:pt x="226449" y="283804"/>
                  <a:pt x="224657" y="281648"/>
                  <a:pt x="224657" y="279134"/>
                </a:cubicBezTo>
                <a:cubicBezTo>
                  <a:pt x="224657" y="276978"/>
                  <a:pt x="226449" y="274823"/>
                  <a:pt x="228958" y="274823"/>
                </a:cubicBezTo>
                <a:lnTo>
                  <a:pt x="241505" y="274823"/>
                </a:lnTo>
                <a:lnTo>
                  <a:pt x="241505" y="8622"/>
                </a:lnTo>
                <a:lnTo>
                  <a:pt x="177339" y="8622"/>
                </a:lnTo>
                <a:cubicBezTo>
                  <a:pt x="175188" y="8622"/>
                  <a:pt x="173037" y="6466"/>
                  <a:pt x="173037" y="3952"/>
                </a:cubicBezTo>
                <a:cubicBezTo>
                  <a:pt x="173037" y="1796"/>
                  <a:pt x="175188" y="0"/>
                  <a:pt x="177339" y="0"/>
                </a:cubicBezTo>
                <a:close/>
                <a:moveTo>
                  <a:pt x="4318" y="0"/>
                </a:moveTo>
                <a:lnTo>
                  <a:pt x="153649" y="0"/>
                </a:lnTo>
                <a:cubicBezTo>
                  <a:pt x="155088" y="0"/>
                  <a:pt x="156168" y="359"/>
                  <a:pt x="156887" y="1078"/>
                </a:cubicBezTo>
                <a:lnTo>
                  <a:pt x="214101" y="58557"/>
                </a:lnTo>
                <a:cubicBezTo>
                  <a:pt x="214820" y="59275"/>
                  <a:pt x="215540" y="60353"/>
                  <a:pt x="215540" y="61431"/>
                </a:cubicBezTo>
                <a:lnTo>
                  <a:pt x="215540" y="279134"/>
                </a:lnTo>
                <a:cubicBezTo>
                  <a:pt x="215540" y="281648"/>
                  <a:pt x="213741" y="283804"/>
                  <a:pt x="211222" y="283804"/>
                </a:cubicBezTo>
                <a:lnTo>
                  <a:pt x="4318" y="283804"/>
                </a:lnTo>
                <a:cubicBezTo>
                  <a:pt x="2159" y="283804"/>
                  <a:pt x="0" y="281648"/>
                  <a:pt x="0" y="279134"/>
                </a:cubicBezTo>
                <a:lnTo>
                  <a:pt x="0" y="3952"/>
                </a:lnTo>
                <a:cubicBezTo>
                  <a:pt x="0" y="1796"/>
                  <a:pt x="2159" y="0"/>
                  <a:pt x="4318" y="0"/>
                </a:cubicBezTo>
                <a:close/>
              </a:path>
            </a:pathLst>
          </a:custGeom>
          <a:solidFill>
            <a:schemeClr val="bg1"/>
          </a:solidFill>
          <a:ln>
            <a:noFill/>
          </a:ln>
          <a:effectLst/>
        </p:spPr>
        <p:txBody>
          <a:bodyPr anchor="ctr"/>
          <a:lstStyle/>
          <a:p>
            <a:endParaRPr lang="en-US" sz="900"/>
          </a:p>
        </p:txBody>
      </p:sp>
      <p:sp>
        <p:nvSpPr>
          <p:cNvPr id="19" name="Freeform 954">
            <a:extLst>
              <a:ext uri="{FF2B5EF4-FFF2-40B4-BE49-F238E27FC236}">
                <a16:creationId xmlns:a16="http://schemas.microsoft.com/office/drawing/2014/main" id="{56FD081D-10FE-B9F2-ABB3-F0B13E14FEE7}"/>
              </a:ext>
            </a:extLst>
          </p:cNvPr>
          <p:cNvSpPr>
            <a:spLocks noChangeAspect="1" noChangeArrowheads="1"/>
          </p:cNvSpPr>
          <p:nvPr/>
        </p:nvSpPr>
        <p:spPr bwMode="auto">
          <a:xfrm>
            <a:off x="7357851" y="3862094"/>
            <a:ext cx="526365" cy="526365"/>
          </a:xfrm>
          <a:custGeom>
            <a:avLst/>
            <a:gdLst>
              <a:gd name="T0" fmla="*/ 1349872 w 283805"/>
              <a:gd name="T1" fmla="*/ 4638523 h 283804"/>
              <a:gd name="T2" fmla="*/ 2434076 w 283805"/>
              <a:gd name="T3" fmla="*/ 3547067 h 283804"/>
              <a:gd name="T4" fmla="*/ 2635111 w 283805"/>
              <a:gd name="T5" fmla="*/ 3748148 h 283804"/>
              <a:gd name="T6" fmla="*/ 5586427 w 283805"/>
              <a:gd name="T7" fmla="*/ 2728752 h 283804"/>
              <a:gd name="T8" fmla="*/ 3417465 w 283805"/>
              <a:gd name="T9" fmla="*/ 2880822 h 283804"/>
              <a:gd name="T10" fmla="*/ 3288529 w 283805"/>
              <a:gd name="T11" fmla="*/ 1658643 h 283804"/>
              <a:gd name="T12" fmla="*/ 3496755 w 283805"/>
              <a:gd name="T13" fmla="*/ 1859728 h 283804"/>
              <a:gd name="T14" fmla="*/ 2540077 w 283805"/>
              <a:gd name="T15" fmla="*/ 1491334 h 283804"/>
              <a:gd name="T16" fmla="*/ 879533 w 283805"/>
              <a:gd name="T17" fmla="*/ 1674053 h 283804"/>
              <a:gd name="T18" fmla="*/ 1792835 w 283805"/>
              <a:gd name="T19" fmla="*/ 920133 h 283804"/>
              <a:gd name="T20" fmla="*/ 3237656 w 283805"/>
              <a:gd name="T21" fmla="*/ 1072194 h 283804"/>
              <a:gd name="T22" fmla="*/ 1792835 w 283805"/>
              <a:gd name="T23" fmla="*/ 920133 h 283804"/>
              <a:gd name="T24" fmla="*/ 1420702 w 283805"/>
              <a:gd name="T25" fmla="*/ 992898 h 283804"/>
              <a:gd name="T26" fmla="*/ 793207 w 283805"/>
              <a:gd name="T27" fmla="*/ 992898 h 283804"/>
              <a:gd name="T28" fmla="*/ 4121394 w 283805"/>
              <a:gd name="T29" fmla="*/ 710837 h 283804"/>
              <a:gd name="T30" fmla="*/ 4322452 w 283805"/>
              <a:gd name="T31" fmla="*/ 509757 h 283804"/>
              <a:gd name="T32" fmla="*/ 3324456 w 283805"/>
              <a:gd name="T33" fmla="*/ 396614 h 283804"/>
              <a:gd name="T34" fmla="*/ 2443145 w 283805"/>
              <a:gd name="T35" fmla="*/ 396614 h 283804"/>
              <a:gd name="T36" fmla="*/ 2063236 w 283805"/>
              <a:gd name="T37" fmla="*/ 317279 h 283804"/>
              <a:gd name="T38" fmla="*/ 880353 w 283805"/>
              <a:gd name="T39" fmla="*/ 469364 h 283804"/>
              <a:gd name="T40" fmla="*/ 430757 w 283805"/>
              <a:gd name="T41" fmla="*/ 0 h 283804"/>
              <a:gd name="T42" fmla="*/ 983654 w 283805"/>
              <a:gd name="T43" fmla="*/ 4351274 h 283804"/>
              <a:gd name="T44" fmla="*/ 2089438 w 283805"/>
              <a:gd name="T45" fmla="*/ 3870200 h 283804"/>
              <a:gd name="T46" fmla="*/ 2505878 w 283805"/>
              <a:gd name="T47" fmla="*/ 3389107 h 283804"/>
              <a:gd name="T48" fmla="*/ 804198 w 283805"/>
              <a:gd name="T49" fmla="*/ 2836250 h 283804"/>
              <a:gd name="T50" fmla="*/ 3065936 w 283805"/>
              <a:gd name="T51" fmla="*/ 2154138 h 283804"/>
              <a:gd name="T52" fmla="*/ 3468017 w 283805"/>
              <a:gd name="T53" fmla="*/ 1529404 h 283804"/>
              <a:gd name="T54" fmla="*/ 4322452 w 283805"/>
              <a:gd name="T55" fmla="*/ 337413 h 283804"/>
              <a:gd name="T56" fmla="*/ 5212782 w 283805"/>
              <a:gd name="T57" fmla="*/ 495392 h 283804"/>
              <a:gd name="T58" fmla="*/ 5212782 w 283805"/>
              <a:gd name="T59" fmla="*/ 797046 h 283804"/>
              <a:gd name="T60" fmla="*/ 4150139 w 283805"/>
              <a:gd name="T61" fmla="*/ 1033999 h 283804"/>
              <a:gd name="T62" fmla="*/ 3288529 w 283805"/>
              <a:gd name="T63" fmla="*/ 2225885 h 283804"/>
              <a:gd name="T64" fmla="*/ 2807428 w 283805"/>
              <a:gd name="T65" fmla="*/ 3748148 h 283804"/>
              <a:gd name="T66" fmla="*/ 1694501 w 283805"/>
              <a:gd name="T67" fmla="*/ 4315364 h 283804"/>
              <a:gd name="T68" fmla="*/ 983654 w 283805"/>
              <a:gd name="T69" fmla="*/ 4523611 h 283804"/>
              <a:gd name="T70" fmla="*/ 5586156 w 283805"/>
              <a:gd name="T71" fmla="*/ 5155479 h 283804"/>
              <a:gd name="T72" fmla="*/ 5327671 w 283805"/>
              <a:gd name="T73" fmla="*/ 5327803 h 283804"/>
              <a:gd name="T74" fmla="*/ 5155333 w 283805"/>
              <a:gd name="T75" fmla="*/ 5586312 h 283804"/>
              <a:gd name="T76" fmla="*/ 4523491 w 283805"/>
              <a:gd name="T77" fmla="*/ 5586312 h 283804"/>
              <a:gd name="T78" fmla="*/ 4351175 w 283805"/>
              <a:gd name="T79" fmla="*/ 5327803 h 283804"/>
              <a:gd name="T80" fmla="*/ 3640346 w 283805"/>
              <a:gd name="T81" fmla="*/ 5672457 h 283804"/>
              <a:gd name="T82" fmla="*/ 2922319 w 283805"/>
              <a:gd name="T83" fmla="*/ 5327803 h 283804"/>
              <a:gd name="T84" fmla="*/ 2750003 w 283805"/>
              <a:gd name="T85" fmla="*/ 5586312 h 283804"/>
              <a:gd name="T86" fmla="*/ 2118163 w 283805"/>
              <a:gd name="T87" fmla="*/ 5586312 h 283804"/>
              <a:gd name="T88" fmla="*/ 1945821 w 283805"/>
              <a:gd name="T89" fmla="*/ 5327803 h 283804"/>
              <a:gd name="T90" fmla="*/ 1234963 w 283805"/>
              <a:gd name="T91" fmla="*/ 5672457 h 283804"/>
              <a:gd name="T92" fmla="*/ 516991 w 283805"/>
              <a:gd name="T93" fmla="*/ 5327803 h 283804"/>
              <a:gd name="T94" fmla="*/ 344669 w 283805"/>
              <a:gd name="T95" fmla="*/ 5586312 h 283804"/>
              <a:gd name="T96" fmla="*/ 0 w 283805"/>
              <a:gd name="T97" fmla="*/ 5241644 h 283804"/>
              <a:gd name="T98" fmla="*/ 344669 w 283805"/>
              <a:gd name="T99" fmla="*/ 4523611 h 283804"/>
              <a:gd name="T100" fmla="*/ 86112 w 283805"/>
              <a:gd name="T101" fmla="*/ 4351274 h 283804"/>
              <a:gd name="T102" fmla="*/ 86112 w 283805"/>
              <a:gd name="T103" fmla="*/ 3726583 h 283804"/>
              <a:gd name="T104" fmla="*/ 344669 w 283805"/>
              <a:gd name="T105" fmla="*/ 3547067 h 283804"/>
              <a:gd name="T106" fmla="*/ 0 w 283805"/>
              <a:gd name="T107" fmla="*/ 2836250 h 283804"/>
              <a:gd name="T108" fmla="*/ 344669 w 283805"/>
              <a:gd name="T109" fmla="*/ 2118192 h 283804"/>
              <a:gd name="T110" fmla="*/ 86112 w 283805"/>
              <a:gd name="T111" fmla="*/ 1945873 h 283804"/>
              <a:gd name="T112" fmla="*/ 86112 w 283805"/>
              <a:gd name="T113" fmla="*/ 1313958 h 283804"/>
              <a:gd name="T114" fmla="*/ 344669 w 283805"/>
              <a:gd name="T115" fmla="*/ 1141670 h 283804"/>
              <a:gd name="T116" fmla="*/ 0 w 283805"/>
              <a:gd name="T117" fmla="*/ 430788 h 283804"/>
              <a:gd name="T118" fmla="*/ 344669 w 283805"/>
              <a:gd name="T119" fmla="*/ 86116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a:effectLst/>
        </p:spPr>
        <p:txBody>
          <a:bodyPr anchor="ctr"/>
          <a:lstStyle/>
          <a:p>
            <a:endParaRPr lang="en-US" sz="900"/>
          </a:p>
        </p:txBody>
      </p:sp>
      <p:sp>
        <p:nvSpPr>
          <p:cNvPr id="20" name="Freeform 1044">
            <a:extLst>
              <a:ext uri="{FF2B5EF4-FFF2-40B4-BE49-F238E27FC236}">
                <a16:creationId xmlns:a16="http://schemas.microsoft.com/office/drawing/2014/main" id="{6D104F14-E5CB-B864-ABB4-66AAA8127390}"/>
              </a:ext>
            </a:extLst>
          </p:cNvPr>
          <p:cNvSpPr>
            <a:spLocks noChangeAspect="1" noChangeArrowheads="1"/>
          </p:cNvSpPr>
          <p:nvPr/>
        </p:nvSpPr>
        <p:spPr bwMode="auto">
          <a:xfrm>
            <a:off x="5334032" y="2167444"/>
            <a:ext cx="526365" cy="526365"/>
          </a:xfrm>
          <a:custGeom>
            <a:avLst/>
            <a:gdLst>
              <a:gd name="T0" fmla="*/ 3070224 w 283803"/>
              <a:gd name="T1" fmla="*/ 5298901 h 283804"/>
              <a:gd name="T2" fmla="*/ 2910288 w 283803"/>
              <a:gd name="T3" fmla="*/ 5364794 h 283804"/>
              <a:gd name="T4" fmla="*/ 1289064 w 283803"/>
              <a:gd name="T5" fmla="*/ 5232988 h 283804"/>
              <a:gd name="T6" fmla="*/ 1401414 w 283803"/>
              <a:gd name="T7" fmla="*/ 5364794 h 283804"/>
              <a:gd name="T8" fmla="*/ 1269230 w 283803"/>
              <a:gd name="T9" fmla="*/ 5298901 h 283804"/>
              <a:gd name="T10" fmla="*/ 2276965 w 283803"/>
              <a:gd name="T11" fmla="*/ 5295071 h 283804"/>
              <a:gd name="T12" fmla="*/ 2185575 w 283803"/>
              <a:gd name="T13" fmla="*/ 5203680 h 283804"/>
              <a:gd name="T14" fmla="*/ 316316 w 283803"/>
              <a:gd name="T15" fmla="*/ 5500132 h 283804"/>
              <a:gd name="T16" fmla="*/ 4126783 w 283803"/>
              <a:gd name="T17" fmla="*/ 5098039 h 283804"/>
              <a:gd name="T18" fmla="*/ 2411789 w 283803"/>
              <a:gd name="T19" fmla="*/ 4346985 h 283804"/>
              <a:gd name="T20" fmla="*/ 1769302 w 283803"/>
              <a:gd name="T21" fmla="*/ 4529759 h 283804"/>
              <a:gd name="T22" fmla="*/ 631436 w 283803"/>
              <a:gd name="T23" fmla="*/ 4346985 h 283804"/>
              <a:gd name="T24" fmla="*/ 1304114 w 283803"/>
              <a:gd name="T25" fmla="*/ 4529759 h 283804"/>
              <a:gd name="T26" fmla="*/ 631436 w 283803"/>
              <a:gd name="T27" fmla="*/ 4346985 h 283804"/>
              <a:gd name="T28" fmla="*/ 3875164 w 283803"/>
              <a:gd name="T29" fmla="*/ 4466193 h 283804"/>
              <a:gd name="T30" fmla="*/ 3875164 w 283803"/>
              <a:gd name="T31" fmla="*/ 3776869 h 283804"/>
              <a:gd name="T32" fmla="*/ 1229851 w 283803"/>
              <a:gd name="T33" fmla="*/ 3133337 h 283804"/>
              <a:gd name="T34" fmla="*/ 1047105 w 283803"/>
              <a:gd name="T35" fmla="*/ 3998641 h 283804"/>
              <a:gd name="T36" fmla="*/ 638423 w 283803"/>
              <a:gd name="T37" fmla="*/ 2792209 h 283804"/>
              <a:gd name="T38" fmla="*/ 638423 w 283803"/>
              <a:gd name="T39" fmla="*/ 4054197 h 283804"/>
              <a:gd name="T40" fmla="*/ 638423 w 283803"/>
              <a:gd name="T41" fmla="*/ 2792209 h 283804"/>
              <a:gd name="T42" fmla="*/ 1737549 w 283803"/>
              <a:gd name="T43" fmla="*/ 3968614 h 283804"/>
              <a:gd name="T44" fmla="*/ 1554794 w 283803"/>
              <a:gd name="T45" fmla="*/ 2433677 h 283804"/>
              <a:gd name="T46" fmla="*/ 4766673 w 283803"/>
              <a:gd name="T47" fmla="*/ 2534671 h 283804"/>
              <a:gd name="T48" fmla="*/ 5018305 w 283803"/>
              <a:gd name="T49" fmla="*/ 3992273 h 283804"/>
              <a:gd name="T50" fmla="*/ 3879885 w 283803"/>
              <a:gd name="T51" fmla="*/ 2157645 h 283804"/>
              <a:gd name="T52" fmla="*/ 4191793 w 283803"/>
              <a:gd name="T53" fmla="*/ 2483554 h 283804"/>
              <a:gd name="T54" fmla="*/ 3879885 w 283803"/>
              <a:gd name="T55" fmla="*/ 2454603 h 283804"/>
              <a:gd name="T56" fmla="*/ 4213061 w 283803"/>
              <a:gd name="T57" fmla="*/ 3048483 h 283804"/>
              <a:gd name="T58" fmla="*/ 3879885 w 283803"/>
              <a:gd name="T59" fmla="*/ 3483038 h 283804"/>
              <a:gd name="T60" fmla="*/ 3575071 w 283803"/>
              <a:gd name="T61" fmla="*/ 3164381 h 283804"/>
              <a:gd name="T62" fmla="*/ 3886982 w 283803"/>
              <a:gd name="T63" fmla="*/ 3186083 h 283804"/>
              <a:gd name="T64" fmla="*/ 3553785 w 283803"/>
              <a:gd name="T65" fmla="*/ 2592183 h 283804"/>
              <a:gd name="T66" fmla="*/ 3879885 w 283803"/>
              <a:gd name="T67" fmla="*/ 2157645 h 283804"/>
              <a:gd name="T68" fmla="*/ 3875164 w 283803"/>
              <a:gd name="T69" fmla="*/ 3604529 h 283804"/>
              <a:gd name="T70" fmla="*/ 633563 w 283803"/>
              <a:gd name="T71" fmla="*/ 1713430 h 283804"/>
              <a:gd name="T72" fmla="*/ 2031745 w 283803"/>
              <a:gd name="T73" fmla="*/ 1896145 h 283804"/>
              <a:gd name="T74" fmla="*/ 633563 w 283803"/>
              <a:gd name="T75" fmla="*/ 1713430 h 283804"/>
              <a:gd name="T76" fmla="*/ 4701949 w 283803"/>
              <a:gd name="T77" fmla="*/ 2383833 h 283804"/>
              <a:gd name="T78" fmla="*/ 3781715 w 283803"/>
              <a:gd name="T79" fmla="*/ 1206307 h 283804"/>
              <a:gd name="T80" fmla="*/ 3091510 w 283803"/>
              <a:gd name="T81" fmla="*/ 3367588 h 283804"/>
              <a:gd name="T82" fmla="*/ 3781715 w 283803"/>
              <a:gd name="T83" fmla="*/ 1206307 h 283804"/>
              <a:gd name="T84" fmla="*/ 2531206 w 283803"/>
              <a:gd name="T85" fmla="*/ 1233625 h 283804"/>
              <a:gd name="T86" fmla="*/ 1491337 w 283803"/>
              <a:gd name="T87" fmla="*/ 1233625 h 283804"/>
              <a:gd name="T88" fmla="*/ 1143934 w 283803"/>
              <a:gd name="T89" fmla="*/ 1142259 h 283804"/>
              <a:gd name="T90" fmla="*/ 632943 w 283803"/>
              <a:gd name="T91" fmla="*/ 1325033 h 283804"/>
              <a:gd name="T92" fmla="*/ 172566 w 283803"/>
              <a:gd name="T93" fmla="*/ 739583 h 283804"/>
              <a:gd name="T94" fmla="*/ 4126783 w 283803"/>
              <a:gd name="T95" fmla="*/ 4616966 h 283804"/>
              <a:gd name="T96" fmla="*/ 3875164 w 283803"/>
              <a:gd name="T97" fmla="*/ 1026779 h 283804"/>
              <a:gd name="T98" fmla="*/ 172566 w 283803"/>
              <a:gd name="T99" fmla="*/ 739583 h 283804"/>
              <a:gd name="T100" fmla="*/ 2185575 w 283803"/>
              <a:gd name="T101" fmla="*/ 437625 h 283804"/>
              <a:gd name="T102" fmla="*/ 316316 w 283803"/>
              <a:gd name="T103" fmla="*/ 172344 h 283804"/>
              <a:gd name="T104" fmla="*/ 4126783 w 283803"/>
              <a:gd name="T105" fmla="*/ 574385 h 283804"/>
              <a:gd name="T106" fmla="*/ 316316 w 283803"/>
              <a:gd name="T107" fmla="*/ 172344 h 283804"/>
              <a:gd name="T108" fmla="*/ 4299326 w 283803"/>
              <a:gd name="T109" fmla="*/ 308800 h 283804"/>
              <a:gd name="T110" fmla="*/ 4299326 w 283803"/>
              <a:gd name="T111" fmla="*/ 4581083 h 283804"/>
              <a:gd name="T112" fmla="*/ 316316 w 283803"/>
              <a:gd name="T113" fmla="*/ 5672457 h 283804"/>
              <a:gd name="T114" fmla="*/ 316316 w 283803"/>
              <a:gd name="T115" fmla="*/ 0 h 2838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3803" h="283804">
                <a:moveTo>
                  <a:pt x="145605" y="261816"/>
                </a:moveTo>
                <a:cubicBezTo>
                  <a:pt x="147510" y="260350"/>
                  <a:pt x="150558" y="260350"/>
                  <a:pt x="152463" y="261816"/>
                </a:cubicBezTo>
                <a:cubicBezTo>
                  <a:pt x="152844" y="262915"/>
                  <a:pt x="153606" y="264014"/>
                  <a:pt x="153606" y="265113"/>
                </a:cubicBezTo>
                <a:cubicBezTo>
                  <a:pt x="153606" y="265845"/>
                  <a:pt x="152844" y="267311"/>
                  <a:pt x="152463" y="268410"/>
                </a:cubicBezTo>
                <a:cubicBezTo>
                  <a:pt x="151320" y="268776"/>
                  <a:pt x="149796" y="269509"/>
                  <a:pt x="149034" y="269509"/>
                </a:cubicBezTo>
                <a:cubicBezTo>
                  <a:pt x="147891" y="269509"/>
                  <a:pt x="146748" y="268776"/>
                  <a:pt x="145605" y="268410"/>
                </a:cubicBezTo>
                <a:cubicBezTo>
                  <a:pt x="144843" y="267311"/>
                  <a:pt x="144462" y="265845"/>
                  <a:pt x="144462" y="265113"/>
                </a:cubicBezTo>
                <a:cubicBezTo>
                  <a:pt x="144462" y="264014"/>
                  <a:pt x="144843" y="262915"/>
                  <a:pt x="145605" y="261816"/>
                </a:cubicBezTo>
                <a:close/>
                <a:moveTo>
                  <a:pt x="64492" y="261816"/>
                </a:moveTo>
                <a:cubicBezTo>
                  <a:pt x="65815" y="260350"/>
                  <a:pt x="68461" y="260350"/>
                  <a:pt x="70114" y="261816"/>
                </a:cubicBezTo>
                <a:cubicBezTo>
                  <a:pt x="70776" y="262915"/>
                  <a:pt x="71107" y="264014"/>
                  <a:pt x="71107" y="265113"/>
                </a:cubicBezTo>
                <a:cubicBezTo>
                  <a:pt x="71107" y="265845"/>
                  <a:pt x="70776" y="267311"/>
                  <a:pt x="70114" y="268410"/>
                </a:cubicBezTo>
                <a:cubicBezTo>
                  <a:pt x="69122" y="268776"/>
                  <a:pt x="68130" y="269509"/>
                  <a:pt x="67469" y="269509"/>
                </a:cubicBezTo>
                <a:cubicBezTo>
                  <a:pt x="66146" y="269509"/>
                  <a:pt x="65154" y="268776"/>
                  <a:pt x="64492" y="268410"/>
                </a:cubicBezTo>
                <a:cubicBezTo>
                  <a:pt x="63831" y="267311"/>
                  <a:pt x="63500" y="266212"/>
                  <a:pt x="63500" y="265113"/>
                </a:cubicBezTo>
                <a:cubicBezTo>
                  <a:pt x="63500" y="264014"/>
                  <a:pt x="63831" y="262915"/>
                  <a:pt x="64492" y="261816"/>
                </a:cubicBezTo>
                <a:close/>
                <a:moveTo>
                  <a:pt x="109347" y="260350"/>
                </a:moveTo>
                <a:cubicBezTo>
                  <a:pt x="112014" y="260350"/>
                  <a:pt x="113919" y="262255"/>
                  <a:pt x="113919" y="264922"/>
                </a:cubicBezTo>
                <a:cubicBezTo>
                  <a:pt x="113919" y="267208"/>
                  <a:pt x="112014" y="269494"/>
                  <a:pt x="109347" y="269494"/>
                </a:cubicBezTo>
                <a:cubicBezTo>
                  <a:pt x="106680" y="269494"/>
                  <a:pt x="104775" y="267208"/>
                  <a:pt x="104775" y="264922"/>
                </a:cubicBezTo>
                <a:cubicBezTo>
                  <a:pt x="104775" y="262255"/>
                  <a:pt x="106680" y="260350"/>
                  <a:pt x="109347" y="260350"/>
                </a:cubicBezTo>
                <a:close/>
                <a:moveTo>
                  <a:pt x="8633" y="255064"/>
                </a:moveTo>
                <a:lnTo>
                  <a:pt x="8633" y="267997"/>
                </a:lnTo>
                <a:cubicBezTo>
                  <a:pt x="8633" y="271949"/>
                  <a:pt x="11870" y="275182"/>
                  <a:pt x="15826" y="275182"/>
                </a:cubicBezTo>
                <a:lnTo>
                  <a:pt x="199273" y="275182"/>
                </a:lnTo>
                <a:cubicBezTo>
                  <a:pt x="203230" y="275182"/>
                  <a:pt x="206467" y="271949"/>
                  <a:pt x="206467" y="267997"/>
                </a:cubicBezTo>
                <a:lnTo>
                  <a:pt x="206467" y="255064"/>
                </a:lnTo>
                <a:lnTo>
                  <a:pt x="8633" y="255064"/>
                </a:lnTo>
                <a:close/>
                <a:moveTo>
                  <a:pt x="88520" y="217488"/>
                </a:moveTo>
                <a:lnTo>
                  <a:pt x="120664" y="217488"/>
                </a:lnTo>
                <a:cubicBezTo>
                  <a:pt x="123221" y="217488"/>
                  <a:pt x="125047" y="219393"/>
                  <a:pt x="125047" y="222060"/>
                </a:cubicBezTo>
                <a:cubicBezTo>
                  <a:pt x="125047" y="224727"/>
                  <a:pt x="123221" y="226632"/>
                  <a:pt x="120664" y="226632"/>
                </a:cubicBezTo>
                <a:lnTo>
                  <a:pt x="88520" y="226632"/>
                </a:lnTo>
                <a:cubicBezTo>
                  <a:pt x="86329" y="226632"/>
                  <a:pt x="84137" y="224727"/>
                  <a:pt x="84137" y="222060"/>
                </a:cubicBezTo>
                <a:cubicBezTo>
                  <a:pt x="84137" y="219393"/>
                  <a:pt x="86329" y="217488"/>
                  <a:pt x="88520" y="217488"/>
                </a:cubicBezTo>
                <a:close/>
                <a:moveTo>
                  <a:pt x="31592" y="217488"/>
                </a:moveTo>
                <a:lnTo>
                  <a:pt x="65245" y="217488"/>
                </a:lnTo>
                <a:cubicBezTo>
                  <a:pt x="67725" y="217488"/>
                  <a:pt x="69496" y="219393"/>
                  <a:pt x="69496" y="222060"/>
                </a:cubicBezTo>
                <a:cubicBezTo>
                  <a:pt x="69496" y="224727"/>
                  <a:pt x="67725" y="226632"/>
                  <a:pt x="65245" y="226632"/>
                </a:cubicBezTo>
                <a:lnTo>
                  <a:pt x="31592" y="226632"/>
                </a:lnTo>
                <a:cubicBezTo>
                  <a:pt x="29113" y="226632"/>
                  <a:pt x="26987" y="224727"/>
                  <a:pt x="26987" y="222060"/>
                </a:cubicBezTo>
                <a:cubicBezTo>
                  <a:pt x="26987" y="219393"/>
                  <a:pt x="29113" y="217488"/>
                  <a:pt x="31592" y="217488"/>
                </a:cubicBezTo>
                <a:close/>
                <a:moveTo>
                  <a:pt x="160066" y="174953"/>
                </a:moveTo>
                <a:lnTo>
                  <a:pt x="133448" y="196866"/>
                </a:lnTo>
                <a:cubicBezTo>
                  <a:pt x="148556" y="213392"/>
                  <a:pt x="169778" y="223451"/>
                  <a:pt x="193878" y="223451"/>
                </a:cubicBezTo>
                <a:cubicBezTo>
                  <a:pt x="212942" y="223451"/>
                  <a:pt x="230927" y="216625"/>
                  <a:pt x="244955" y="205488"/>
                </a:cubicBezTo>
                <a:lnTo>
                  <a:pt x="221934" y="179623"/>
                </a:lnTo>
                <a:cubicBezTo>
                  <a:pt x="214021" y="185730"/>
                  <a:pt x="204309" y="188963"/>
                  <a:pt x="193878" y="188963"/>
                </a:cubicBezTo>
                <a:cubicBezTo>
                  <a:pt x="180569" y="188963"/>
                  <a:pt x="168699" y="183934"/>
                  <a:pt x="160066" y="174953"/>
                </a:cubicBezTo>
                <a:close/>
                <a:moveTo>
                  <a:pt x="56959" y="152400"/>
                </a:moveTo>
                <a:cubicBezTo>
                  <a:pt x="59245" y="152400"/>
                  <a:pt x="61531" y="154219"/>
                  <a:pt x="61531" y="156766"/>
                </a:cubicBezTo>
                <a:lnTo>
                  <a:pt x="61531" y="200059"/>
                </a:lnTo>
                <a:cubicBezTo>
                  <a:pt x="61531" y="202605"/>
                  <a:pt x="59245" y="204424"/>
                  <a:pt x="56959" y="204424"/>
                </a:cubicBezTo>
                <a:cubicBezTo>
                  <a:pt x="54292" y="204424"/>
                  <a:pt x="52387" y="202605"/>
                  <a:pt x="52387" y="200059"/>
                </a:cubicBezTo>
                <a:lnTo>
                  <a:pt x="52387" y="156766"/>
                </a:lnTo>
                <a:cubicBezTo>
                  <a:pt x="52387" y="154219"/>
                  <a:pt x="54292" y="152400"/>
                  <a:pt x="56959" y="152400"/>
                </a:cubicBezTo>
                <a:close/>
                <a:moveTo>
                  <a:pt x="31940" y="139700"/>
                </a:moveTo>
                <a:cubicBezTo>
                  <a:pt x="34226" y="139700"/>
                  <a:pt x="36131" y="141504"/>
                  <a:pt x="36131" y="144030"/>
                </a:cubicBezTo>
                <a:lnTo>
                  <a:pt x="36131" y="198510"/>
                </a:lnTo>
                <a:cubicBezTo>
                  <a:pt x="36131" y="201035"/>
                  <a:pt x="34226" y="202839"/>
                  <a:pt x="31940" y="202839"/>
                </a:cubicBezTo>
                <a:cubicBezTo>
                  <a:pt x="29273" y="202839"/>
                  <a:pt x="26987" y="201035"/>
                  <a:pt x="26987" y="198510"/>
                </a:cubicBezTo>
                <a:lnTo>
                  <a:pt x="26987" y="144030"/>
                </a:lnTo>
                <a:cubicBezTo>
                  <a:pt x="26987" y="141504"/>
                  <a:pt x="29273" y="139700"/>
                  <a:pt x="31940" y="139700"/>
                </a:cubicBezTo>
                <a:close/>
                <a:moveTo>
                  <a:pt x="82359" y="117475"/>
                </a:moveTo>
                <a:cubicBezTo>
                  <a:pt x="85026" y="117475"/>
                  <a:pt x="86931" y="119261"/>
                  <a:pt x="86931" y="121761"/>
                </a:cubicBezTo>
                <a:lnTo>
                  <a:pt x="86931" y="198557"/>
                </a:lnTo>
                <a:cubicBezTo>
                  <a:pt x="86931" y="201057"/>
                  <a:pt x="85026" y="202843"/>
                  <a:pt x="82359" y="202843"/>
                </a:cubicBezTo>
                <a:cubicBezTo>
                  <a:pt x="80073" y="202843"/>
                  <a:pt x="77787" y="201057"/>
                  <a:pt x="77787" y="198557"/>
                </a:cubicBezTo>
                <a:lnTo>
                  <a:pt x="77787" y="121761"/>
                </a:lnTo>
                <a:cubicBezTo>
                  <a:pt x="77787" y="119261"/>
                  <a:pt x="80073" y="117475"/>
                  <a:pt x="82359" y="117475"/>
                </a:cubicBezTo>
                <a:close/>
                <a:moveTo>
                  <a:pt x="270134" y="113162"/>
                </a:moveTo>
                <a:lnTo>
                  <a:pt x="238481" y="126814"/>
                </a:lnTo>
                <a:cubicBezTo>
                  <a:pt x="240279" y="131484"/>
                  <a:pt x="240998" y="136873"/>
                  <a:pt x="240998" y="141902"/>
                </a:cubicBezTo>
                <a:cubicBezTo>
                  <a:pt x="240998" y="154116"/>
                  <a:pt x="236322" y="165612"/>
                  <a:pt x="228049" y="173875"/>
                </a:cubicBezTo>
                <a:lnTo>
                  <a:pt x="251070" y="199740"/>
                </a:lnTo>
                <a:cubicBezTo>
                  <a:pt x="266177" y="184652"/>
                  <a:pt x="275529" y="164175"/>
                  <a:pt x="275529" y="141902"/>
                </a:cubicBezTo>
                <a:cubicBezTo>
                  <a:pt x="275529" y="131843"/>
                  <a:pt x="273731" y="122143"/>
                  <a:pt x="270134" y="113162"/>
                </a:cubicBezTo>
                <a:close/>
                <a:moveTo>
                  <a:pt x="194114" y="107950"/>
                </a:moveTo>
                <a:cubicBezTo>
                  <a:pt x="196597" y="107950"/>
                  <a:pt x="198725" y="109762"/>
                  <a:pt x="198725" y="112298"/>
                </a:cubicBezTo>
                <a:lnTo>
                  <a:pt x="198725" y="114835"/>
                </a:lnTo>
                <a:cubicBezTo>
                  <a:pt x="203335" y="115922"/>
                  <a:pt x="207591" y="119546"/>
                  <a:pt x="209719" y="124256"/>
                </a:cubicBezTo>
                <a:cubicBezTo>
                  <a:pt x="210428" y="126068"/>
                  <a:pt x="209364" y="128967"/>
                  <a:pt x="207236" y="129692"/>
                </a:cubicBezTo>
                <a:cubicBezTo>
                  <a:pt x="205108" y="130779"/>
                  <a:pt x="202626" y="129692"/>
                  <a:pt x="201562" y="127518"/>
                </a:cubicBezTo>
                <a:cubicBezTo>
                  <a:pt x="200498" y="124981"/>
                  <a:pt x="197661" y="122807"/>
                  <a:pt x="194114" y="122807"/>
                </a:cubicBezTo>
                <a:cubicBezTo>
                  <a:pt x="189858" y="122807"/>
                  <a:pt x="186312" y="126068"/>
                  <a:pt x="186312" y="129692"/>
                </a:cubicBezTo>
                <a:cubicBezTo>
                  <a:pt x="186312" y="134403"/>
                  <a:pt x="188794" y="136939"/>
                  <a:pt x="194114" y="136939"/>
                </a:cubicBezTo>
                <a:cubicBezTo>
                  <a:pt x="204399" y="136939"/>
                  <a:pt x="210783" y="143099"/>
                  <a:pt x="210783" y="152521"/>
                </a:cubicBezTo>
                <a:cubicBezTo>
                  <a:pt x="210783" y="159768"/>
                  <a:pt x="205463" y="165928"/>
                  <a:pt x="198725" y="167378"/>
                </a:cubicBezTo>
                <a:lnTo>
                  <a:pt x="198725" y="169914"/>
                </a:lnTo>
                <a:cubicBezTo>
                  <a:pt x="198725" y="172451"/>
                  <a:pt x="196597" y="174263"/>
                  <a:pt x="194114" y="174263"/>
                </a:cubicBezTo>
                <a:cubicBezTo>
                  <a:pt x="191986" y="174263"/>
                  <a:pt x="189858" y="172451"/>
                  <a:pt x="189858" y="169914"/>
                </a:cubicBezTo>
                <a:lnTo>
                  <a:pt x="189858" y="167378"/>
                </a:lnTo>
                <a:cubicBezTo>
                  <a:pt x="184893" y="166291"/>
                  <a:pt x="180992" y="163029"/>
                  <a:pt x="178864" y="158319"/>
                </a:cubicBezTo>
                <a:cubicBezTo>
                  <a:pt x="178155" y="156144"/>
                  <a:pt x="179219" y="153608"/>
                  <a:pt x="181347" y="152521"/>
                </a:cubicBezTo>
                <a:cubicBezTo>
                  <a:pt x="183475" y="151434"/>
                  <a:pt x="185957" y="152521"/>
                  <a:pt x="187021" y="154695"/>
                </a:cubicBezTo>
                <a:cubicBezTo>
                  <a:pt x="188085" y="157956"/>
                  <a:pt x="190922" y="159406"/>
                  <a:pt x="194469" y="159406"/>
                </a:cubicBezTo>
                <a:cubicBezTo>
                  <a:pt x="198725" y="159406"/>
                  <a:pt x="202271" y="156507"/>
                  <a:pt x="202271" y="152521"/>
                </a:cubicBezTo>
                <a:cubicBezTo>
                  <a:pt x="202271" y="147810"/>
                  <a:pt x="199434" y="145274"/>
                  <a:pt x="194114" y="145274"/>
                </a:cubicBezTo>
                <a:cubicBezTo>
                  <a:pt x="184184" y="145274"/>
                  <a:pt x="177800" y="139476"/>
                  <a:pt x="177800" y="129692"/>
                </a:cubicBezTo>
                <a:cubicBezTo>
                  <a:pt x="177800" y="122445"/>
                  <a:pt x="182765" y="116284"/>
                  <a:pt x="189858" y="114835"/>
                </a:cubicBezTo>
                <a:lnTo>
                  <a:pt x="189858" y="112298"/>
                </a:lnTo>
                <a:cubicBezTo>
                  <a:pt x="189858" y="109762"/>
                  <a:pt x="191986" y="107950"/>
                  <a:pt x="194114" y="107950"/>
                </a:cubicBezTo>
                <a:close/>
                <a:moveTo>
                  <a:pt x="193878" y="103103"/>
                </a:moveTo>
                <a:cubicBezTo>
                  <a:pt x="172296" y="103103"/>
                  <a:pt x="155030" y="120347"/>
                  <a:pt x="155030" y="141902"/>
                </a:cubicBezTo>
                <a:cubicBezTo>
                  <a:pt x="155030" y="163097"/>
                  <a:pt x="172296" y="180341"/>
                  <a:pt x="193878" y="180341"/>
                </a:cubicBezTo>
                <a:cubicBezTo>
                  <a:pt x="215100" y="180341"/>
                  <a:pt x="232366" y="163097"/>
                  <a:pt x="232366" y="141902"/>
                </a:cubicBezTo>
                <a:cubicBezTo>
                  <a:pt x="232366" y="120347"/>
                  <a:pt x="215100" y="103103"/>
                  <a:pt x="193878" y="103103"/>
                </a:cubicBezTo>
                <a:close/>
                <a:moveTo>
                  <a:pt x="31699" y="85725"/>
                </a:moveTo>
                <a:lnTo>
                  <a:pt x="101650" y="85725"/>
                </a:lnTo>
                <a:cubicBezTo>
                  <a:pt x="103825" y="85725"/>
                  <a:pt x="106000" y="87630"/>
                  <a:pt x="106000" y="90297"/>
                </a:cubicBezTo>
                <a:cubicBezTo>
                  <a:pt x="106000" y="92964"/>
                  <a:pt x="103825" y="94869"/>
                  <a:pt x="101650" y="94869"/>
                </a:cubicBezTo>
                <a:lnTo>
                  <a:pt x="31699" y="94869"/>
                </a:lnTo>
                <a:cubicBezTo>
                  <a:pt x="29162" y="94869"/>
                  <a:pt x="26987" y="92964"/>
                  <a:pt x="26987" y="90297"/>
                </a:cubicBezTo>
                <a:cubicBezTo>
                  <a:pt x="26987" y="87630"/>
                  <a:pt x="29162" y="85725"/>
                  <a:pt x="31699" y="85725"/>
                </a:cubicBezTo>
                <a:close/>
                <a:moveTo>
                  <a:pt x="198194" y="60353"/>
                </a:moveTo>
                <a:lnTo>
                  <a:pt x="198194" y="94841"/>
                </a:lnTo>
                <a:cubicBezTo>
                  <a:pt x="214021" y="96278"/>
                  <a:pt x="227690" y="105618"/>
                  <a:pt x="235243" y="119269"/>
                </a:cubicBezTo>
                <a:lnTo>
                  <a:pt x="266897" y="105618"/>
                </a:lnTo>
                <a:cubicBezTo>
                  <a:pt x="253948" y="79752"/>
                  <a:pt x="228049" y="62149"/>
                  <a:pt x="198194" y="60353"/>
                </a:cubicBezTo>
                <a:close/>
                <a:moveTo>
                  <a:pt x="189202" y="60353"/>
                </a:moveTo>
                <a:cubicBezTo>
                  <a:pt x="146398" y="62509"/>
                  <a:pt x="111867" y="98433"/>
                  <a:pt x="111867" y="141902"/>
                </a:cubicBezTo>
                <a:cubicBezTo>
                  <a:pt x="111867" y="159864"/>
                  <a:pt x="117981" y="176749"/>
                  <a:pt x="128053" y="190400"/>
                </a:cubicBezTo>
                <a:lnTo>
                  <a:pt x="154671" y="168486"/>
                </a:lnTo>
                <a:cubicBezTo>
                  <a:pt x="149275" y="160942"/>
                  <a:pt x="146398" y="151602"/>
                  <a:pt x="146398" y="141902"/>
                </a:cubicBezTo>
                <a:cubicBezTo>
                  <a:pt x="146398" y="117114"/>
                  <a:pt x="165462" y="96996"/>
                  <a:pt x="189202" y="94841"/>
                </a:cubicBezTo>
                <a:lnTo>
                  <a:pt x="189202" y="60353"/>
                </a:lnTo>
                <a:close/>
                <a:moveTo>
                  <a:pt x="78948" y="57150"/>
                </a:moveTo>
                <a:lnTo>
                  <a:pt x="122303" y="57150"/>
                </a:lnTo>
                <a:cubicBezTo>
                  <a:pt x="124471" y="57150"/>
                  <a:pt x="126639" y="59436"/>
                  <a:pt x="126639" y="61722"/>
                </a:cubicBezTo>
                <a:cubicBezTo>
                  <a:pt x="126639" y="64389"/>
                  <a:pt x="124471" y="66294"/>
                  <a:pt x="122303" y="66294"/>
                </a:cubicBezTo>
                <a:lnTo>
                  <a:pt x="78948" y="66294"/>
                </a:lnTo>
                <a:cubicBezTo>
                  <a:pt x="76419" y="66294"/>
                  <a:pt x="74612" y="64389"/>
                  <a:pt x="74612" y="61722"/>
                </a:cubicBezTo>
                <a:cubicBezTo>
                  <a:pt x="74612" y="59436"/>
                  <a:pt x="76419" y="57150"/>
                  <a:pt x="78948" y="57150"/>
                </a:cubicBezTo>
                <a:close/>
                <a:moveTo>
                  <a:pt x="31668" y="57150"/>
                </a:moveTo>
                <a:lnTo>
                  <a:pt x="57232" y="57150"/>
                </a:lnTo>
                <a:cubicBezTo>
                  <a:pt x="59392" y="57150"/>
                  <a:pt x="61552" y="59436"/>
                  <a:pt x="61552" y="61722"/>
                </a:cubicBezTo>
                <a:cubicBezTo>
                  <a:pt x="61552" y="64389"/>
                  <a:pt x="59392" y="66294"/>
                  <a:pt x="57232" y="66294"/>
                </a:cubicBezTo>
                <a:lnTo>
                  <a:pt x="31668" y="66294"/>
                </a:lnTo>
                <a:cubicBezTo>
                  <a:pt x="29148" y="66294"/>
                  <a:pt x="26987" y="64389"/>
                  <a:pt x="26987" y="61722"/>
                </a:cubicBezTo>
                <a:cubicBezTo>
                  <a:pt x="26987" y="59436"/>
                  <a:pt x="29148" y="57150"/>
                  <a:pt x="31668" y="57150"/>
                </a:cubicBezTo>
                <a:close/>
                <a:moveTo>
                  <a:pt x="8633" y="37002"/>
                </a:moveTo>
                <a:lnTo>
                  <a:pt x="8633" y="246442"/>
                </a:lnTo>
                <a:lnTo>
                  <a:pt x="206467" y="246442"/>
                </a:lnTo>
                <a:lnTo>
                  <a:pt x="206467" y="230995"/>
                </a:lnTo>
                <a:cubicBezTo>
                  <a:pt x="202511" y="231713"/>
                  <a:pt x="198194" y="232073"/>
                  <a:pt x="193878" y="232073"/>
                </a:cubicBezTo>
                <a:cubicBezTo>
                  <a:pt x="143880" y="232073"/>
                  <a:pt x="103234" y="191478"/>
                  <a:pt x="103234" y="141902"/>
                </a:cubicBezTo>
                <a:cubicBezTo>
                  <a:pt x="103234" y="91967"/>
                  <a:pt x="143880" y="51372"/>
                  <a:pt x="193878" y="51372"/>
                </a:cubicBezTo>
                <a:cubicBezTo>
                  <a:pt x="198194" y="51372"/>
                  <a:pt x="202511" y="51731"/>
                  <a:pt x="206467" y="52450"/>
                </a:cubicBezTo>
                <a:lnTo>
                  <a:pt x="206467" y="37002"/>
                </a:lnTo>
                <a:lnTo>
                  <a:pt x="8633" y="37002"/>
                </a:lnTo>
                <a:close/>
                <a:moveTo>
                  <a:pt x="109347" y="14288"/>
                </a:moveTo>
                <a:cubicBezTo>
                  <a:pt x="112014" y="14288"/>
                  <a:pt x="113919" y="15941"/>
                  <a:pt x="113919" y="18256"/>
                </a:cubicBezTo>
                <a:cubicBezTo>
                  <a:pt x="113919" y="20241"/>
                  <a:pt x="112014" y="21894"/>
                  <a:pt x="109347" y="21894"/>
                </a:cubicBezTo>
                <a:cubicBezTo>
                  <a:pt x="106680" y="21894"/>
                  <a:pt x="104775" y="20241"/>
                  <a:pt x="104775" y="18256"/>
                </a:cubicBezTo>
                <a:cubicBezTo>
                  <a:pt x="104775" y="15941"/>
                  <a:pt x="106680" y="14288"/>
                  <a:pt x="109347" y="14288"/>
                </a:cubicBezTo>
                <a:close/>
                <a:moveTo>
                  <a:pt x="15826" y="8622"/>
                </a:moveTo>
                <a:cubicBezTo>
                  <a:pt x="11870" y="8622"/>
                  <a:pt x="8633" y="11855"/>
                  <a:pt x="8633" y="15447"/>
                </a:cubicBezTo>
                <a:lnTo>
                  <a:pt x="8633" y="28740"/>
                </a:lnTo>
                <a:lnTo>
                  <a:pt x="206467" y="28740"/>
                </a:lnTo>
                <a:lnTo>
                  <a:pt x="206467" y="15447"/>
                </a:lnTo>
                <a:cubicBezTo>
                  <a:pt x="206467" y="11855"/>
                  <a:pt x="203230" y="8622"/>
                  <a:pt x="199273" y="8622"/>
                </a:cubicBezTo>
                <a:lnTo>
                  <a:pt x="15826" y="8622"/>
                </a:lnTo>
                <a:close/>
                <a:moveTo>
                  <a:pt x="15826" y="0"/>
                </a:moveTo>
                <a:lnTo>
                  <a:pt x="199273" y="0"/>
                </a:lnTo>
                <a:cubicBezTo>
                  <a:pt x="208266" y="0"/>
                  <a:pt x="215100" y="6826"/>
                  <a:pt x="215100" y="15447"/>
                </a:cubicBezTo>
                <a:lnTo>
                  <a:pt x="215100" y="54246"/>
                </a:lnTo>
                <a:cubicBezTo>
                  <a:pt x="254667" y="63946"/>
                  <a:pt x="283803" y="99511"/>
                  <a:pt x="283803" y="141902"/>
                </a:cubicBezTo>
                <a:cubicBezTo>
                  <a:pt x="283803" y="184293"/>
                  <a:pt x="254667" y="219499"/>
                  <a:pt x="215100" y="229199"/>
                </a:cubicBezTo>
                <a:lnTo>
                  <a:pt x="215100" y="267997"/>
                </a:lnTo>
                <a:cubicBezTo>
                  <a:pt x="215100" y="276619"/>
                  <a:pt x="208266" y="283804"/>
                  <a:pt x="199273" y="283804"/>
                </a:cubicBezTo>
                <a:lnTo>
                  <a:pt x="15826" y="283804"/>
                </a:lnTo>
                <a:cubicBezTo>
                  <a:pt x="6834" y="283804"/>
                  <a:pt x="0" y="276619"/>
                  <a:pt x="0" y="267997"/>
                </a:cubicBezTo>
                <a:lnTo>
                  <a:pt x="0" y="15447"/>
                </a:lnTo>
                <a:cubicBezTo>
                  <a:pt x="0" y="6826"/>
                  <a:pt x="6834" y="0"/>
                  <a:pt x="15826" y="0"/>
                </a:cubicBezTo>
                <a:close/>
              </a:path>
            </a:pathLst>
          </a:custGeom>
          <a:solidFill>
            <a:schemeClr val="bg1"/>
          </a:solidFill>
          <a:ln>
            <a:noFill/>
          </a:ln>
          <a:effectLst/>
        </p:spPr>
        <p:txBody>
          <a:bodyPr anchor="ctr"/>
          <a:lstStyle/>
          <a:p>
            <a:endParaRPr lang="en-US" sz="900"/>
          </a:p>
        </p:txBody>
      </p:sp>
      <p:sp>
        <p:nvSpPr>
          <p:cNvPr id="21" name="Freeform 1043">
            <a:extLst>
              <a:ext uri="{FF2B5EF4-FFF2-40B4-BE49-F238E27FC236}">
                <a16:creationId xmlns:a16="http://schemas.microsoft.com/office/drawing/2014/main" id="{0CEF8F03-1EDA-3D9D-808F-840716DD5D68}"/>
              </a:ext>
            </a:extLst>
          </p:cNvPr>
          <p:cNvSpPr>
            <a:spLocks noChangeAspect="1" noChangeArrowheads="1"/>
          </p:cNvSpPr>
          <p:nvPr/>
        </p:nvSpPr>
        <p:spPr bwMode="auto">
          <a:xfrm>
            <a:off x="4318860" y="3307459"/>
            <a:ext cx="527985" cy="526365"/>
          </a:xfrm>
          <a:custGeom>
            <a:avLst/>
            <a:gdLst>
              <a:gd name="T0" fmla="*/ 402722 w 285392"/>
              <a:gd name="T1" fmla="*/ 5500295 h 283805"/>
              <a:gd name="T2" fmla="*/ 1356333 w 285392"/>
              <a:gd name="T3" fmla="*/ 4296670 h 283805"/>
              <a:gd name="T4" fmla="*/ 84725 w 285392"/>
              <a:gd name="T5" fmla="*/ 4124715 h 283805"/>
              <a:gd name="T6" fmla="*/ 1751951 w 285392"/>
              <a:gd name="T7" fmla="*/ 4210700 h 283805"/>
              <a:gd name="T8" fmla="*/ 1525887 w 285392"/>
              <a:gd name="T9" fmla="*/ 4296670 h 283805"/>
              <a:gd name="T10" fmla="*/ 1441134 w 285392"/>
              <a:gd name="T11" fmla="*/ 5672258 h 283805"/>
              <a:gd name="T12" fmla="*/ 226018 w 285392"/>
              <a:gd name="T13" fmla="*/ 5586288 h 283805"/>
              <a:gd name="T14" fmla="*/ 84725 w 285392"/>
              <a:gd name="T15" fmla="*/ 4296670 h 283805"/>
              <a:gd name="T16" fmla="*/ 84725 w 285392"/>
              <a:gd name="T17" fmla="*/ 4124715 h 283805"/>
              <a:gd name="T18" fmla="*/ 4292158 w 285392"/>
              <a:gd name="T19" fmla="*/ 5498908 h 283805"/>
              <a:gd name="T20" fmla="*/ 5249693 w 285392"/>
              <a:gd name="T21" fmla="*/ 3599966 h 283805"/>
              <a:gd name="T22" fmla="*/ 3980104 w 285392"/>
              <a:gd name="T23" fmla="*/ 3426695 h 283805"/>
              <a:gd name="T24" fmla="*/ 5646896 w 285392"/>
              <a:gd name="T25" fmla="*/ 3506121 h 283805"/>
              <a:gd name="T26" fmla="*/ 5419937 w 285392"/>
              <a:gd name="T27" fmla="*/ 3599966 h 283805"/>
              <a:gd name="T28" fmla="*/ 5334802 w 285392"/>
              <a:gd name="T29" fmla="*/ 5672202 h 283805"/>
              <a:gd name="T30" fmla="*/ 4121954 w 285392"/>
              <a:gd name="T31" fmla="*/ 5585578 h 283805"/>
              <a:gd name="T32" fmla="*/ 3980104 w 285392"/>
              <a:gd name="T33" fmla="*/ 3599966 h 283805"/>
              <a:gd name="T34" fmla="*/ 3980104 w 285392"/>
              <a:gd name="T35" fmla="*/ 3426695 h 283805"/>
              <a:gd name="T36" fmla="*/ 2337601 w 285392"/>
              <a:gd name="T37" fmla="*/ 5498613 h 283805"/>
              <a:gd name="T38" fmla="*/ 3302209 w 285392"/>
              <a:gd name="T39" fmla="*/ 2902258 h 283805"/>
              <a:gd name="T40" fmla="*/ 891655 w 285392"/>
              <a:gd name="T41" fmla="*/ 2891900 h 283805"/>
              <a:gd name="T42" fmla="*/ 891655 w 285392"/>
              <a:gd name="T43" fmla="*/ 3630011 h 283805"/>
              <a:gd name="T44" fmla="*/ 891655 w 285392"/>
              <a:gd name="T45" fmla="*/ 2891900 h 283805"/>
              <a:gd name="T46" fmla="*/ 3614301 w 285392"/>
              <a:gd name="T47" fmla="*/ 2728669 h 283805"/>
              <a:gd name="T48" fmla="*/ 3614301 w 285392"/>
              <a:gd name="T49" fmla="*/ 2894994 h 283805"/>
              <a:gd name="T50" fmla="*/ 3472453 w 285392"/>
              <a:gd name="T51" fmla="*/ 5585412 h 283805"/>
              <a:gd name="T52" fmla="*/ 2259579 w 285392"/>
              <a:gd name="T53" fmla="*/ 5672178 h 283805"/>
              <a:gd name="T54" fmla="*/ 2174469 w 285392"/>
              <a:gd name="T55" fmla="*/ 2894994 h 283805"/>
              <a:gd name="T56" fmla="*/ 1947484 w 285392"/>
              <a:gd name="T57" fmla="*/ 2815436 h 283805"/>
              <a:gd name="T58" fmla="*/ 891655 w 285392"/>
              <a:gd name="T59" fmla="*/ 2728669 h 283805"/>
              <a:gd name="T60" fmla="*/ 891655 w 285392"/>
              <a:gd name="T61" fmla="*/ 3800335 h 283805"/>
              <a:gd name="T62" fmla="*/ 891655 w 285392"/>
              <a:gd name="T63" fmla="*/ 2728669 h 283805"/>
              <a:gd name="T64" fmla="*/ 4286910 w 285392"/>
              <a:gd name="T65" fmla="*/ 2471236 h 283805"/>
              <a:gd name="T66" fmla="*/ 5254861 w 285392"/>
              <a:gd name="T67" fmla="*/ 2471236 h 283805"/>
              <a:gd name="T68" fmla="*/ 4774492 w 285392"/>
              <a:gd name="T69" fmla="*/ 1808533 h 283805"/>
              <a:gd name="T70" fmla="*/ 4774492 w 285392"/>
              <a:gd name="T71" fmla="*/ 3133935 h 283805"/>
              <a:gd name="T72" fmla="*/ 4774492 w 285392"/>
              <a:gd name="T73" fmla="*/ 1808533 h 283805"/>
              <a:gd name="T74" fmla="*/ 3605033 w 285392"/>
              <a:gd name="T75" fmla="*/ 1233606 h 283805"/>
              <a:gd name="T76" fmla="*/ 3423792 w 285392"/>
              <a:gd name="T77" fmla="*/ 1233606 h 283805"/>
              <a:gd name="T78" fmla="*/ 2163598 w 285392"/>
              <a:gd name="T79" fmla="*/ 1142201 h 283805"/>
              <a:gd name="T80" fmla="*/ 2163598 w 285392"/>
              <a:gd name="T81" fmla="*/ 1325007 h 283805"/>
              <a:gd name="T82" fmla="*/ 2163598 w 285392"/>
              <a:gd name="T83" fmla="*/ 1142201 h 283805"/>
              <a:gd name="T84" fmla="*/ 2908657 w 285392"/>
              <a:gd name="T85" fmla="*/ 467772 h 283805"/>
              <a:gd name="T86" fmla="*/ 3199816 w 285392"/>
              <a:gd name="T87" fmla="*/ 779362 h 283805"/>
              <a:gd name="T88" fmla="*/ 3043578 w 285392"/>
              <a:gd name="T89" fmla="*/ 851897 h 283805"/>
              <a:gd name="T90" fmla="*/ 2589079 w 285392"/>
              <a:gd name="T91" fmla="*/ 924353 h 283805"/>
              <a:gd name="T92" fmla="*/ 3228237 w 285392"/>
              <a:gd name="T93" fmla="*/ 1511514 h 283805"/>
              <a:gd name="T94" fmla="*/ 2908657 w 285392"/>
              <a:gd name="T95" fmla="*/ 1968136 h 283805"/>
              <a:gd name="T96" fmla="*/ 2738223 w 285392"/>
              <a:gd name="T97" fmla="*/ 1968136 h 283805"/>
              <a:gd name="T98" fmla="*/ 2447057 w 285392"/>
              <a:gd name="T99" fmla="*/ 1649175 h 283805"/>
              <a:gd name="T100" fmla="*/ 2603278 w 285392"/>
              <a:gd name="T101" fmla="*/ 1583947 h 283805"/>
              <a:gd name="T102" fmla="*/ 3057795 w 285392"/>
              <a:gd name="T103" fmla="*/ 1511514 h 283805"/>
              <a:gd name="T104" fmla="*/ 2418643 w 285392"/>
              <a:gd name="T105" fmla="*/ 924353 h 283805"/>
              <a:gd name="T106" fmla="*/ 2738223 w 285392"/>
              <a:gd name="T107" fmla="*/ 467772 h 283805"/>
              <a:gd name="T108" fmla="*/ 2823426 w 285392"/>
              <a:gd name="T109" fmla="*/ 172669 h 283805"/>
              <a:gd name="T110" fmla="*/ 2823426 w 285392"/>
              <a:gd name="T111" fmla="*/ 2294947 h 283805"/>
              <a:gd name="T112" fmla="*/ 2823426 w 285392"/>
              <a:gd name="T113" fmla="*/ 172669 h 283805"/>
              <a:gd name="T114" fmla="*/ 4044910 w 285392"/>
              <a:gd name="T115" fmla="*/ 1230236 h 283805"/>
              <a:gd name="T116" fmla="*/ 1601970 w 285392"/>
              <a:gd name="T117" fmla="*/ 1230236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ooter Placeholder 1">
            <a:extLst>
              <a:ext uri="{FF2B5EF4-FFF2-40B4-BE49-F238E27FC236}">
                <a16:creationId xmlns:a16="http://schemas.microsoft.com/office/drawing/2014/main" id="{0E29CB3A-DD40-3183-49A8-127C337832EB}"/>
              </a:ext>
            </a:extLst>
          </p:cNvPr>
          <p:cNvSpPr>
            <a:spLocks noGrp="1"/>
          </p:cNvSpPr>
          <p:nvPr>
            <p:ph type="ftr" sz="quarter" idx="3"/>
          </p:nvPr>
        </p:nvSpPr>
        <p:spPr/>
        <p:txBody>
          <a:bodyPr/>
          <a:lstStyle/>
          <a:p>
            <a:r>
              <a:rPr lang="en-US"/>
              <a:t>Source:_______</a:t>
            </a:r>
            <a:endParaRPr lang="en-US" dirty="0"/>
          </a:p>
        </p:txBody>
      </p:sp>
      <p:sp>
        <p:nvSpPr>
          <p:cNvPr id="24" name="Título 23">
            <a:extLst>
              <a:ext uri="{FF2B5EF4-FFF2-40B4-BE49-F238E27FC236}">
                <a16:creationId xmlns:a16="http://schemas.microsoft.com/office/drawing/2014/main" id="{0543BF6B-1323-0338-86C3-39A6C6D61107}"/>
              </a:ext>
            </a:extLst>
          </p:cNvPr>
          <p:cNvSpPr>
            <a:spLocks noGrp="1"/>
          </p:cNvSpPr>
          <p:nvPr>
            <p:ph type="title"/>
          </p:nvPr>
        </p:nvSpPr>
        <p:spPr/>
        <p:txBody>
          <a:bodyPr vert="horz"/>
          <a:lstStyle/>
          <a:p>
            <a:r>
              <a:rPr lang="en-US" dirty="0"/>
              <a:t>Template - Circle Infographic</a:t>
            </a:r>
          </a:p>
        </p:txBody>
      </p:sp>
    </p:spTree>
    <p:extLst>
      <p:ext uri="{BB962C8B-B14F-4D97-AF65-F5344CB8AC3E}">
        <p14:creationId xmlns:p14="http://schemas.microsoft.com/office/powerpoint/2010/main" val="95694625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to 22" hidden="1">
            <a:extLst>
              <a:ext uri="{FF2B5EF4-FFF2-40B4-BE49-F238E27FC236}">
                <a16:creationId xmlns:a16="http://schemas.microsoft.com/office/drawing/2014/main" id="{09382C0E-31B4-30BD-AB2E-997FFA674A0D}"/>
              </a:ext>
            </a:extLst>
          </p:cNvPr>
          <p:cNvGraphicFramePr>
            <a:graphicFrameLocks noChangeAspect="1"/>
          </p:cNvGraphicFramePr>
          <p:nvPr>
            <p:custDataLst>
              <p:tags r:id="rId1"/>
            </p:custDataLst>
            <p:extLst>
              <p:ext uri="{D42A27DB-BD31-4B8C-83A1-F6EECF244321}">
                <p14:modId xmlns:p14="http://schemas.microsoft.com/office/powerpoint/2010/main" val="18836466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Objeto 22" hidden="1">
                        <a:extLst>
                          <a:ext uri="{FF2B5EF4-FFF2-40B4-BE49-F238E27FC236}">
                            <a16:creationId xmlns:a16="http://schemas.microsoft.com/office/drawing/2014/main" id="{09382C0E-31B4-30BD-AB2E-997FFA674A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Marcador de texto 24">
            <a:extLst>
              <a:ext uri="{FF2B5EF4-FFF2-40B4-BE49-F238E27FC236}">
                <a16:creationId xmlns:a16="http://schemas.microsoft.com/office/drawing/2014/main" id="{A97EDA11-A44B-2D21-B009-1862F62BE982}"/>
              </a:ext>
            </a:extLst>
          </p:cNvPr>
          <p:cNvSpPr>
            <a:spLocks noGrp="1"/>
          </p:cNvSpPr>
          <p:nvPr>
            <p:ph type="body" sz="quarter" idx="14"/>
          </p:nvPr>
        </p:nvSpPr>
        <p:spPr/>
        <p:txBody>
          <a:bodyPr/>
          <a:lstStyle/>
          <a:p>
            <a:r>
              <a:rPr lang="en-US" dirty="0"/>
              <a:t>Subtitle</a:t>
            </a:r>
          </a:p>
        </p:txBody>
      </p:sp>
      <p:grpSp>
        <p:nvGrpSpPr>
          <p:cNvPr id="38" name="Grupo 37">
            <a:extLst>
              <a:ext uri="{FF2B5EF4-FFF2-40B4-BE49-F238E27FC236}">
                <a16:creationId xmlns:a16="http://schemas.microsoft.com/office/drawing/2014/main" id="{BFB2B197-C769-1FA4-C32D-971527B96F09}"/>
              </a:ext>
            </a:extLst>
          </p:cNvPr>
          <p:cNvGrpSpPr/>
          <p:nvPr/>
        </p:nvGrpSpPr>
        <p:grpSpPr>
          <a:xfrm>
            <a:off x="8542721" y="2980909"/>
            <a:ext cx="3277804" cy="1745328"/>
            <a:chOff x="7707320" y="2980909"/>
            <a:chExt cx="4113205" cy="1745328"/>
          </a:xfrm>
        </p:grpSpPr>
        <p:cxnSp>
          <p:nvCxnSpPr>
            <p:cNvPr id="27" name="Conector recto 26">
              <a:extLst>
                <a:ext uri="{FF2B5EF4-FFF2-40B4-BE49-F238E27FC236}">
                  <a16:creationId xmlns:a16="http://schemas.microsoft.com/office/drawing/2014/main" id="{CDF72D01-0AA0-AC4F-DD67-F20ECE37A9F5}"/>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93D0C0F7-4F6B-EB50-D0BC-E29C9009EB06}"/>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upo 36">
            <a:extLst>
              <a:ext uri="{FF2B5EF4-FFF2-40B4-BE49-F238E27FC236}">
                <a16:creationId xmlns:a16="http://schemas.microsoft.com/office/drawing/2014/main" id="{A828CC7F-19EA-1E63-81C1-36AE85F697E8}"/>
              </a:ext>
            </a:extLst>
          </p:cNvPr>
          <p:cNvGrpSpPr/>
          <p:nvPr/>
        </p:nvGrpSpPr>
        <p:grpSpPr>
          <a:xfrm>
            <a:off x="384175" y="2980909"/>
            <a:ext cx="3287772" cy="1745328"/>
            <a:chOff x="384174" y="2980909"/>
            <a:chExt cx="4113205" cy="1745328"/>
          </a:xfrm>
        </p:grpSpPr>
        <p:cxnSp>
          <p:nvCxnSpPr>
            <p:cNvPr id="29" name="Conector recto 28">
              <a:extLst>
                <a:ext uri="{FF2B5EF4-FFF2-40B4-BE49-F238E27FC236}">
                  <a16:creationId xmlns:a16="http://schemas.microsoft.com/office/drawing/2014/main" id="{1C378964-7347-BA70-8705-EB119F1A3A7E}"/>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CD6CB03-BF9B-2B60-C11B-4F29EB25F604}"/>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1" name="TextBox 25">
            <a:extLst>
              <a:ext uri="{FF2B5EF4-FFF2-40B4-BE49-F238E27FC236}">
                <a16:creationId xmlns:a16="http://schemas.microsoft.com/office/drawing/2014/main" id="{D1B0F98F-828F-EB2E-1537-2AB1A1C2CDA0}"/>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2" name="TextBox 25">
            <a:extLst>
              <a:ext uri="{FF2B5EF4-FFF2-40B4-BE49-F238E27FC236}">
                <a16:creationId xmlns:a16="http://schemas.microsoft.com/office/drawing/2014/main" id="{247BBEC1-481E-DBBA-529F-3ABD05279BA0}"/>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A6A77421-F85B-F920-38CB-9E84D4053BA1}"/>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C1E73F7B-E33B-76E8-719C-A27520904F36}"/>
              </a:ext>
            </a:extLst>
          </p:cNvPr>
          <p:cNvSpPr txBox="1"/>
          <p:nvPr/>
        </p:nvSpPr>
        <p:spPr>
          <a:xfrm>
            <a:off x="8542721" y="3543303"/>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DBCF3C1D-318B-03C1-595C-81D1A15BFE1F}"/>
              </a:ext>
            </a:extLst>
          </p:cNvPr>
          <p:cNvSpPr txBox="1"/>
          <p:nvPr/>
        </p:nvSpPr>
        <p:spPr>
          <a:xfrm>
            <a:off x="8528833" y="2099791"/>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2CC6BAC0-BD1F-B68C-D1D9-E6045FC82530}"/>
              </a:ext>
            </a:extLst>
          </p:cNvPr>
          <p:cNvSpPr txBox="1"/>
          <p:nvPr/>
        </p:nvSpPr>
        <p:spPr>
          <a:xfrm>
            <a:off x="8542721" y="5140244"/>
            <a:ext cx="327801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2" name="Freeform 15">
            <a:extLst>
              <a:ext uri="{FF2B5EF4-FFF2-40B4-BE49-F238E27FC236}">
                <a16:creationId xmlns:a16="http://schemas.microsoft.com/office/drawing/2014/main" id="{68FD5000-627B-C37C-1A18-AD491457A572}"/>
              </a:ext>
            </a:extLst>
          </p:cNvPr>
          <p:cNvSpPr/>
          <p:nvPr/>
        </p:nvSpPr>
        <p:spPr>
          <a:xfrm rot="5400000">
            <a:off x="6119214" y="2824406"/>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Freeform 14">
            <a:extLst>
              <a:ext uri="{FF2B5EF4-FFF2-40B4-BE49-F238E27FC236}">
                <a16:creationId xmlns:a16="http://schemas.microsoft.com/office/drawing/2014/main" id="{00B6F0E8-901D-9C6D-BE15-5E054726C585}"/>
              </a:ext>
            </a:extLst>
          </p:cNvPr>
          <p:cNvSpPr/>
          <p:nvPr/>
        </p:nvSpPr>
        <p:spPr>
          <a:xfrm rot="5400000">
            <a:off x="6119215" y="1295424"/>
            <a:ext cx="1482554" cy="1482555"/>
          </a:xfrm>
          <a:custGeom>
            <a:avLst/>
            <a:gdLst>
              <a:gd name="connsiteX0" fmla="*/ 4610384 w 4610384"/>
              <a:gd name="connsiteY0" fmla="*/ 0 h 4610386"/>
              <a:gd name="connsiteX1" fmla="*/ 4610384 w 4610384"/>
              <a:gd name="connsiteY1" fmla="*/ 2610937 h 4610386"/>
              <a:gd name="connsiteX2" fmla="*/ 4470389 w 4610384"/>
              <a:gd name="connsiteY2" fmla="*/ 2618006 h 4610386"/>
              <a:gd name="connsiteX3" fmla="*/ 2618006 w 4610384"/>
              <a:gd name="connsiteY3" fmla="*/ 4470389 h 4610386"/>
              <a:gd name="connsiteX4" fmla="*/ 2610937 w 4610384"/>
              <a:gd name="connsiteY4" fmla="*/ 4610386 h 4610386"/>
              <a:gd name="connsiteX5" fmla="*/ 0 w 4610384"/>
              <a:gd name="connsiteY5" fmla="*/ 4610386 h 4610386"/>
              <a:gd name="connsiteX6" fmla="*/ 4270 w 4610384"/>
              <a:gd name="connsiteY6" fmla="*/ 4441516 h 4610386"/>
              <a:gd name="connsiteX7" fmla="*/ 4441516 w 4610384"/>
              <a:gd name="connsiteY7" fmla="*/ 4270 h 4610386"/>
              <a:gd name="connsiteX8" fmla="*/ 4610384 w 4610384"/>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6">
                <a:moveTo>
                  <a:pt x="4610384" y="0"/>
                </a:moveTo>
                <a:lnTo>
                  <a:pt x="4610384" y="2610937"/>
                </a:lnTo>
                <a:lnTo>
                  <a:pt x="4470389" y="2618006"/>
                </a:lnTo>
                <a:cubicBezTo>
                  <a:pt x="3493681" y="2717197"/>
                  <a:pt x="2717197" y="3493681"/>
                  <a:pt x="2618006" y="4470389"/>
                </a:cubicBezTo>
                <a:lnTo>
                  <a:pt x="2610937" y="4610386"/>
                </a:lnTo>
                <a:lnTo>
                  <a:pt x="0" y="4610386"/>
                </a:lnTo>
                <a:lnTo>
                  <a:pt x="4270" y="4441516"/>
                </a:lnTo>
                <a:cubicBezTo>
                  <a:pt x="125686" y="2046262"/>
                  <a:pt x="2046262" y="125686"/>
                  <a:pt x="4441516" y="4270"/>
                </a:cubicBezTo>
                <a:lnTo>
                  <a:pt x="4610384" y="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Freeform 10">
            <a:extLst>
              <a:ext uri="{FF2B5EF4-FFF2-40B4-BE49-F238E27FC236}">
                <a16:creationId xmlns:a16="http://schemas.microsoft.com/office/drawing/2014/main" id="{FA8DEB36-B5A5-BE25-E0C8-1EFD437CAA1B}"/>
              </a:ext>
            </a:extLst>
          </p:cNvPr>
          <p:cNvSpPr/>
          <p:nvPr/>
        </p:nvSpPr>
        <p:spPr>
          <a:xfrm rot="5400000">
            <a:off x="4590233" y="129542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Freeform 27">
            <a:extLst>
              <a:ext uri="{FF2B5EF4-FFF2-40B4-BE49-F238E27FC236}">
                <a16:creationId xmlns:a16="http://schemas.microsoft.com/office/drawing/2014/main" id="{45A2EC68-4D3F-3806-64FC-0FE5A0DAE3F4}"/>
              </a:ext>
            </a:extLst>
          </p:cNvPr>
          <p:cNvSpPr/>
          <p:nvPr/>
        </p:nvSpPr>
        <p:spPr>
          <a:xfrm rot="5400000">
            <a:off x="6119214" y="4994445"/>
            <a:ext cx="1482555" cy="1482555"/>
          </a:xfrm>
          <a:custGeom>
            <a:avLst/>
            <a:gdLst>
              <a:gd name="connsiteX0" fmla="*/ 0 w 4610387"/>
              <a:gd name="connsiteY0" fmla="*/ 0 h 4610386"/>
              <a:gd name="connsiteX1" fmla="*/ 168871 w 4610387"/>
              <a:gd name="connsiteY1" fmla="*/ 4270 h 4610386"/>
              <a:gd name="connsiteX2" fmla="*/ 4606117 w 4610387"/>
              <a:gd name="connsiteY2" fmla="*/ 4441516 h 4610386"/>
              <a:gd name="connsiteX3" fmla="*/ 4610387 w 4610387"/>
              <a:gd name="connsiteY3" fmla="*/ 4610386 h 4610386"/>
              <a:gd name="connsiteX4" fmla="*/ 1999450 w 4610387"/>
              <a:gd name="connsiteY4" fmla="*/ 4610386 h 4610386"/>
              <a:gd name="connsiteX5" fmla="*/ 1992381 w 4610387"/>
              <a:gd name="connsiteY5" fmla="*/ 4470389 h 4610386"/>
              <a:gd name="connsiteX6" fmla="*/ 139998 w 4610387"/>
              <a:gd name="connsiteY6" fmla="*/ 2618006 h 4610386"/>
              <a:gd name="connsiteX7" fmla="*/ 0 w 4610387"/>
              <a:gd name="connsiteY7" fmla="*/ 2610937 h 4610386"/>
              <a:gd name="connsiteX8" fmla="*/ 0 w 4610387"/>
              <a:gd name="connsiteY8" fmla="*/ 0 h 46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6">
                <a:moveTo>
                  <a:pt x="0" y="0"/>
                </a:moveTo>
                <a:lnTo>
                  <a:pt x="168871" y="4270"/>
                </a:lnTo>
                <a:cubicBezTo>
                  <a:pt x="2564125" y="125686"/>
                  <a:pt x="4484701" y="2046262"/>
                  <a:pt x="4606117" y="4441516"/>
                </a:cubicBezTo>
                <a:lnTo>
                  <a:pt x="4610387" y="4610386"/>
                </a:lnTo>
                <a:lnTo>
                  <a:pt x="1999450" y="4610386"/>
                </a:lnTo>
                <a:lnTo>
                  <a:pt x="1992381" y="4470389"/>
                </a:lnTo>
                <a:cubicBezTo>
                  <a:pt x="1893190" y="3493681"/>
                  <a:pt x="1116707" y="2717197"/>
                  <a:pt x="139998" y="2618006"/>
                </a:cubicBezTo>
                <a:lnTo>
                  <a:pt x="0" y="2610937"/>
                </a:lnTo>
                <a:lnTo>
                  <a:pt x="0" y="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Freeform 29">
            <a:extLst>
              <a:ext uri="{FF2B5EF4-FFF2-40B4-BE49-F238E27FC236}">
                <a16:creationId xmlns:a16="http://schemas.microsoft.com/office/drawing/2014/main" id="{6CB78D8A-56EA-A81E-20B5-E9F4387F35BF}"/>
              </a:ext>
            </a:extLst>
          </p:cNvPr>
          <p:cNvSpPr/>
          <p:nvPr/>
        </p:nvSpPr>
        <p:spPr>
          <a:xfrm rot="5400000">
            <a:off x="4590233" y="3465464"/>
            <a:ext cx="1482554" cy="1482554"/>
          </a:xfrm>
          <a:custGeom>
            <a:avLst/>
            <a:gdLst>
              <a:gd name="connsiteX0" fmla="*/ 0 w 4610384"/>
              <a:gd name="connsiteY0" fmla="*/ 0 h 4610385"/>
              <a:gd name="connsiteX1" fmla="*/ 2610937 w 4610384"/>
              <a:gd name="connsiteY1" fmla="*/ 0 h 4610385"/>
              <a:gd name="connsiteX2" fmla="*/ 2618006 w 4610384"/>
              <a:gd name="connsiteY2" fmla="*/ 139996 h 4610385"/>
              <a:gd name="connsiteX3" fmla="*/ 4470389 w 4610384"/>
              <a:gd name="connsiteY3" fmla="*/ 1992379 h 4610385"/>
              <a:gd name="connsiteX4" fmla="*/ 4610384 w 4610384"/>
              <a:gd name="connsiteY4" fmla="*/ 1999448 h 4610385"/>
              <a:gd name="connsiteX5" fmla="*/ 4610384 w 4610384"/>
              <a:gd name="connsiteY5" fmla="*/ 4610385 h 4610385"/>
              <a:gd name="connsiteX6" fmla="*/ 4441516 w 4610384"/>
              <a:gd name="connsiteY6" fmla="*/ 4606115 h 4610385"/>
              <a:gd name="connsiteX7" fmla="*/ 4270 w 4610384"/>
              <a:gd name="connsiteY7" fmla="*/ 168869 h 4610385"/>
              <a:gd name="connsiteX8" fmla="*/ 0 w 4610384"/>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4" h="4610385">
                <a:moveTo>
                  <a:pt x="0" y="0"/>
                </a:moveTo>
                <a:lnTo>
                  <a:pt x="2610937" y="0"/>
                </a:lnTo>
                <a:lnTo>
                  <a:pt x="2618006" y="139996"/>
                </a:lnTo>
                <a:cubicBezTo>
                  <a:pt x="2717197" y="1116705"/>
                  <a:pt x="3493681" y="1893188"/>
                  <a:pt x="4470389" y="1992379"/>
                </a:cubicBezTo>
                <a:lnTo>
                  <a:pt x="4610384" y="1999448"/>
                </a:lnTo>
                <a:lnTo>
                  <a:pt x="4610384" y="4610385"/>
                </a:lnTo>
                <a:lnTo>
                  <a:pt x="4441516" y="4606115"/>
                </a:lnTo>
                <a:cubicBezTo>
                  <a:pt x="2046262" y="4484699"/>
                  <a:pt x="125686" y="2564123"/>
                  <a:pt x="4270" y="168869"/>
                </a:cubicBezTo>
                <a:lnTo>
                  <a:pt x="0" y="0"/>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Freeform 30">
            <a:extLst>
              <a:ext uri="{FF2B5EF4-FFF2-40B4-BE49-F238E27FC236}">
                <a16:creationId xmlns:a16="http://schemas.microsoft.com/office/drawing/2014/main" id="{EF73C607-48B1-7377-4E5D-E6B5DE7E4AC1}"/>
              </a:ext>
            </a:extLst>
          </p:cNvPr>
          <p:cNvSpPr/>
          <p:nvPr/>
        </p:nvSpPr>
        <p:spPr>
          <a:xfrm rot="5400000">
            <a:off x="4590232" y="4994445"/>
            <a:ext cx="1482555" cy="1482554"/>
          </a:xfrm>
          <a:custGeom>
            <a:avLst/>
            <a:gdLst>
              <a:gd name="connsiteX0" fmla="*/ 1999450 w 4610387"/>
              <a:gd name="connsiteY0" fmla="*/ 0 h 4610385"/>
              <a:gd name="connsiteX1" fmla="*/ 4610387 w 4610387"/>
              <a:gd name="connsiteY1" fmla="*/ 0 h 4610385"/>
              <a:gd name="connsiteX2" fmla="*/ 4606117 w 4610387"/>
              <a:gd name="connsiteY2" fmla="*/ 168869 h 4610385"/>
              <a:gd name="connsiteX3" fmla="*/ 168871 w 4610387"/>
              <a:gd name="connsiteY3" fmla="*/ 4606115 h 4610385"/>
              <a:gd name="connsiteX4" fmla="*/ 0 w 4610387"/>
              <a:gd name="connsiteY4" fmla="*/ 4610385 h 4610385"/>
              <a:gd name="connsiteX5" fmla="*/ 0 w 4610387"/>
              <a:gd name="connsiteY5" fmla="*/ 1999448 h 4610385"/>
              <a:gd name="connsiteX6" fmla="*/ 139998 w 4610387"/>
              <a:gd name="connsiteY6" fmla="*/ 1992379 h 4610385"/>
              <a:gd name="connsiteX7" fmla="*/ 1992381 w 4610387"/>
              <a:gd name="connsiteY7" fmla="*/ 139996 h 4610385"/>
              <a:gd name="connsiteX8" fmla="*/ 1999450 w 4610387"/>
              <a:gd name="connsiteY8" fmla="*/ 0 h 461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387" h="4610385">
                <a:moveTo>
                  <a:pt x="1999450" y="0"/>
                </a:moveTo>
                <a:lnTo>
                  <a:pt x="4610387" y="0"/>
                </a:lnTo>
                <a:lnTo>
                  <a:pt x="4606117" y="168869"/>
                </a:lnTo>
                <a:cubicBezTo>
                  <a:pt x="4484701" y="2564123"/>
                  <a:pt x="2564125" y="4484699"/>
                  <a:pt x="168871" y="4606115"/>
                </a:cubicBezTo>
                <a:lnTo>
                  <a:pt x="0" y="4610385"/>
                </a:lnTo>
                <a:lnTo>
                  <a:pt x="0" y="1999448"/>
                </a:lnTo>
                <a:lnTo>
                  <a:pt x="139998" y="1992379"/>
                </a:lnTo>
                <a:cubicBezTo>
                  <a:pt x="1116707" y="1893188"/>
                  <a:pt x="1893190" y="1116705"/>
                  <a:pt x="1992381" y="139996"/>
                </a:cubicBezTo>
                <a:lnTo>
                  <a:pt x="1999450"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Freeform 976">
            <a:extLst>
              <a:ext uri="{FF2B5EF4-FFF2-40B4-BE49-F238E27FC236}">
                <a16:creationId xmlns:a16="http://schemas.microsoft.com/office/drawing/2014/main" id="{2A4B4DC0-BFCC-FDEE-B046-1DAD195D5252}"/>
              </a:ext>
            </a:extLst>
          </p:cNvPr>
          <p:cNvSpPr>
            <a:spLocks noChangeAspect="1" noChangeArrowheads="1"/>
          </p:cNvSpPr>
          <p:nvPr/>
        </p:nvSpPr>
        <p:spPr bwMode="auto">
          <a:xfrm>
            <a:off x="5139373" y="5540073"/>
            <a:ext cx="386615" cy="388957"/>
          </a:xfrm>
          <a:custGeom>
            <a:avLst/>
            <a:gdLst>
              <a:gd name="T0" fmla="*/ 2665413 w 288565"/>
              <a:gd name="T1" fmla="*/ 5564652 h 290375"/>
              <a:gd name="T2" fmla="*/ 5084255 w 288565"/>
              <a:gd name="T3" fmla="*/ 5173107 h 290375"/>
              <a:gd name="T4" fmla="*/ 2923043 w 288565"/>
              <a:gd name="T5" fmla="*/ 5173107 h 290375"/>
              <a:gd name="T6" fmla="*/ 4798003 w 288565"/>
              <a:gd name="T7" fmla="*/ 5002233 h 290375"/>
              <a:gd name="T8" fmla="*/ 3667290 w 288565"/>
              <a:gd name="T9" fmla="*/ 2930558 h 290375"/>
              <a:gd name="T10" fmla="*/ 4347172 w 288565"/>
              <a:gd name="T11" fmla="*/ 2930558 h 290375"/>
              <a:gd name="T12" fmla="*/ 2386458 w 288565"/>
              <a:gd name="T13" fmla="*/ 2629569 h 290375"/>
              <a:gd name="T14" fmla="*/ 2689951 w 288565"/>
              <a:gd name="T15" fmla="*/ 3120212 h 290375"/>
              <a:gd name="T16" fmla="*/ 2003488 w 288565"/>
              <a:gd name="T17" fmla="*/ 3155780 h 290375"/>
              <a:gd name="T18" fmla="*/ 2386458 w 288565"/>
              <a:gd name="T19" fmla="*/ 4250779 h 290375"/>
              <a:gd name="T20" fmla="*/ 2213041 w 288565"/>
              <a:gd name="T21" fmla="*/ 4364557 h 290375"/>
              <a:gd name="T22" fmla="*/ 1909549 w 288565"/>
              <a:gd name="T23" fmla="*/ 3873911 h 290375"/>
              <a:gd name="T24" fmla="*/ 2588788 w 288565"/>
              <a:gd name="T25" fmla="*/ 3838380 h 290375"/>
              <a:gd name="T26" fmla="*/ 2213041 w 288565"/>
              <a:gd name="T27" fmla="*/ 2743368 h 290375"/>
              <a:gd name="T28" fmla="*/ 3488401 w 288565"/>
              <a:gd name="T29" fmla="*/ 2076193 h 290375"/>
              <a:gd name="T30" fmla="*/ 4526059 w 288565"/>
              <a:gd name="T31" fmla="*/ 2076193 h 290375"/>
              <a:gd name="T32" fmla="*/ 4096667 w 288565"/>
              <a:gd name="T33" fmla="*/ 1563620 h 290375"/>
              <a:gd name="T34" fmla="*/ 4719294 w 288565"/>
              <a:gd name="T35" fmla="*/ 1940933 h 290375"/>
              <a:gd name="T36" fmla="*/ 4647722 w 288565"/>
              <a:gd name="T37" fmla="*/ 2759613 h 290375"/>
              <a:gd name="T38" fmla="*/ 4526059 w 288565"/>
              <a:gd name="T39" fmla="*/ 2930558 h 290375"/>
              <a:gd name="T40" fmla="*/ 4740758 w 288565"/>
              <a:gd name="T41" fmla="*/ 3414580 h 290375"/>
              <a:gd name="T42" fmla="*/ 5041305 w 288565"/>
              <a:gd name="T43" fmla="*/ 5002233 h 290375"/>
              <a:gd name="T44" fmla="*/ 5520813 w 288565"/>
              <a:gd name="T45" fmla="*/ 5564652 h 290375"/>
              <a:gd name="T46" fmla="*/ 5649590 w 288565"/>
              <a:gd name="T47" fmla="*/ 5735516 h 290375"/>
              <a:gd name="T48" fmla="*/ 2357709 w 288565"/>
              <a:gd name="T49" fmla="*/ 5564652 h 290375"/>
              <a:gd name="T50" fmla="*/ 2923043 w 288565"/>
              <a:gd name="T51" fmla="*/ 5002233 h 290375"/>
              <a:gd name="T52" fmla="*/ 3359581 w 288565"/>
              <a:gd name="T53" fmla="*/ 3500006 h 290375"/>
              <a:gd name="T54" fmla="*/ 3488401 w 288565"/>
              <a:gd name="T55" fmla="*/ 3329161 h 290375"/>
              <a:gd name="T56" fmla="*/ 3273697 w 288565"/>
              <a:gd name="T57" fmla="*/ 2845075 h 290375"/>
              <a:gd name="T58" fmla="*/ 3280848 w 288565"/>
              <a:gd name="T59" fmla="*/ 2019265 h 290375"/>
              <a:gd name="T60" fmla="*/ 3917770 w 288565"/>
              <a:gd name="T61" fmla="*/ 1905323 h 290375"/>
              <a:gd name="T62" fmla="*/ 1652320 w 288565"/>
              <a:gd name="T63" fmla="*/ 185772 h 290375"/>
              <a:gd name="T64" fmla="*/ 1773915 w 288565"/>
              <a:gd name="T65" fmla="*/ 1249759 h 290375"/>
              <a:gd name="T66" fmla="*/ 2024287 w 288565"/>
              <a:gd name="T67" fmla="*/ 703623 h 290375"/>
              <a:gd name="T68" fmla="*/ 2310396 w 288565"/>
              <a:gd name="T69" fmla="*/ 1455466 h 290375"/>
              <a:gd name="T70" fmla="*/ 2596513 w 288565"/>
              <a:gd name="T71" fmla="*/ 703623 h 290375"/>
              <a:gd name="T72" fmla="*/ 2846874 w 288565"/>
              <a:gd name="T73" fmla="*/ 1249759 h 290375"/>
              <a:gd name="T74" fmla="*/ 2961315 w 288565"/>
              <a:gd name="T75" fmla="*/ 185772 h 290375"/>
              <a:gd name="T76" fmla="*/ 1652320 w 288565"/>
              <a:gd name="T77" fmla="*/ 185772 h 290375"/>
              <a:gd name="T78" fmla="*/ 2482062 w 288565"/>
              <a:gd name="T79" fmla="*/ 178702 h 290375"/>
              <a:gd name="T80" fmla="*/ 3318958 w 288565"/>
              <a:gd name="T81" fmla="*/ 419879 h 290375"/>
              <a:gd name="T82" fmla="*/ 3333262 w 288565"/>
              <a:gd name="T83" fmla="*/ 1689577 h 290375"/>
              <a:gd name="T84" fmla="*/ 2310396 w 288565"/>
              <a:gd name="T85" fmla="*/ 1625684 h 290375"/>
              <a:gd name="T86" fmla="*/ 279007 w 288565"/>
              <a:gd name="T87" fmla="*/ 5023246 h 290375"/>
              <a:gd name="T88" fmla="*/ 1981363 w 288565"/>
              <a:gd name="T89" fmla="*/ 5526860 h 290375"/>
              <a:gd name="T90" fmla="*/ 1766759 w 288565"/>
              <a:gd name="T91" fmla="*/ 5704168 h 290375"/>
              <a:gd name="T92" fmla="*/ 0 w 288565"/>
              <a:gd name="T93" fmla="*/ 5477223 h 290375"/>
              <a:gd name="T94" fmla="*/ 1587950 w 288565"/>
              <a:gd name="T95" fmla="*/ 1263900 h 290375"/>
              <a:gd name="T96" fmla="*/ 1716688 w 288565"/>
              <a:gd name="T97" fmla="*/ 22748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sz="900"/>
          </a:p>
        </p:txBody>
      </p:sp>
      <p:sp>
        <p:nvSpPr>
          <p:cNvPr id="42" name="Freeform 975">
            <a:extLst>
              <a:ext uri="{FF2B5EF4-FFF2-40B4-BE49-F238E27FC236}">
                <a16:creationId xmlns:a16="http://schemas.microsoft.com/office/drawing/2014/main" id="{004686BA-0275-A661-AEAA-04767A30E1EA}"/>
              </a:ext>
            </a:extLst>
          </p:cNvPr>
          <p:cNvSpPr>
            <a:spLocks noChangeAspect="1" noChangeArrowheads="1"/>
          </p:cNvSpPr>
          <p:nvPr/>
        </p:nvSpPr>
        <p:spPr bwMode="auto">
          <a:xfrm>
            <a:off x="5137031" y="1844991"/>
            <a:ext cx="388957" cy="388957"/>
          </a:xfrm>
          <a:custGeom>
            <a:avLst/>
            <a:gdLst>
              <a:gd name="T0" fmla="*/ 3853139 w 290152"/>
              <a:gd name="T1" fmla="*/ 5082436 h 290152"/>
              <a:gd name="T2" fmla="*/ 438459 w 290152"/>
              <a:gd name="T3" fmla="*/ 4902739 h 290152"/>
              <a:gd name="T4" fmla="*/ 172546 w 290152"/>
              <a:gd name="T5" fmla="*/ 4377960 h 290152"/>
              <a:gd name="T6" fmla="*/ 1121409 w 290152"/>
              <a:gd name="T7" fmla="*/ 3608772 h 290152"/>
              <a:gd name="T8" fmla="*/ 4925810 w 290152"/>
              <a:gd name="T9" fmla="*/ 3471204 h 290152"/>
              <a:gd name="T10" fmla="*/ 4015803 w 290152"/>
              <a:gd name="T11" fmla="*/ 3383636 h 290152"/>
              <a:gd name="T12" fmla="*/ 2293199 w 290152"/>
              <a:gd name="T13" fmla="*/ 2911468 h 290152"/>
              <a:gd name="T14" fmla="*/ 5273713 w 290152"/>
              <a:gd name="T15" fmla="*/ 2873868 h 290152"/>
              <a:gd name="T16" fmla="*/ 4015201 w 290152"/>
              <a:gd name="T17" fmla="*/ 2782794 h 290152"/>
              <a:gd name="T18" fmla="*/ 1121409 w 290152"/>
              <a:gd name="T19" fmla="*/ 2817982 h 290152"/>
              <a:gd name="T20" fmla="*/ 3457762 w 290152"/>
              <a:gd name="T21" fmla="*/ 4205430 h 290152"/>
              <a:gd name="T22" fmla="*/ 1940940 w 290152"/>
              <a:gd name="T23" fmla="*/ 2070354 h 290152"/>
              <a:gd name="T24" fmla="*/ 529638 w 290152"/>
              <a:gd name="T25" fmla="*/ 1739260 h 290152"/>
              <a:gd name="T26" fmla="*/ 529638 w 290152"/>
              <a:gd name="T27" fmla="*/ 1921401 h 290152"/>
              <a:gd name="T28" fmla="*/ 3105494 w 290152"/>
              <a:gd name="T29" fmla="*/ 1524028 h 290152"/>
              <a:gd name="T30" fmla="*/ 1130466 w 290152"/>
              <a:gd name="T31" fmla="*/ 1170028 h 290152"/>
              <a:gd name="T32" fmla="*/ 1130466 w 290152"/>
              <a:gd name="T33" fmla="*/ 1352212 h 290152"/>
              <a:gd name="T34" fmla="*/ 634846 w 290152"/>
              <a:gd name="T35" fmla="*/ 1170028 h 290152"/>
              <a:gd name="T36" fmla="*/ 442752 w 290152"/>
              <a:gd name="T37" fmla="*/ 1261119 h 290152"/>
              <a:gd name="T38" fmla="*/ 3629403 w 290152"/>
              <a:gd name="T39" fmla="*/ 684339 h 290152"/>
              <a:gd name="T40" fmla="*/ 2267931 w 290152"/>
              <a:gd name="T41" fmla="*/ 600882 h 290152"/>
              <a:gd name="T42" fmla="*/ 1773579 w 290152"/>
              <a:gd name="T43" fmla="*/ 782977 h 290152"/>
              <a:gd name="T44" fmla="*/ 528080 w 290152"/>
              <a:gd name="T45" fmla="*/ 600882 h 290152"/>
              <a:gd name="T46" fmla="*/ 528080 w 290152"/>
              <a:gd name="T47" fmla="*/ 782977 h 290152"/>
              <a:gd name="T48" fmla="*/ 4675756 w 290152"/>
              <a:gd name="T49" fmla="*/ 655247 h 290152"/>
              <a:gd name="T50" fmla="*/ 4856784 w 290152"/>
              <a:gd name="T51" fmla="*/ 1099864 h 290152"/>
              <a:gd name="T52" fmla="*/ 5052345 w 290152"/>
              <a:gd name="T53" fmla="*/ 1874332 h 290152"/>
              <a:gd name="T54" fmla="*/ 4494707 w 290152"/>
              <a:gd name="T55" fmla="*/ 2404974 h 290152"/>
              <a:gd name="T56" fmla="*/ 4306438 w 290152"/>
              <a:gd name="T57" fmla="*/ 1967551 h 290152"/>
              <a:gd name="T58" fmla="*/ 4110902 w 290152"/>
              <a:gd name="T59" fmla="*/ 1185892 h 290152"/>
              <a:gd name="T60" fmla="*/ 438459 w 290152"/>
              <a:gd name="T61" fmla="*/ 172546 h 290152"/>
              <a:gd name="T62" fmla="*/ 948863 w 290152"/>
              <a:gd name="T63" fmla="*/ 2465758 h 290152"/>
              <a:gd name="T64" fmla="*/ 2113430 w 290152"/>
              <a:gd name="T65" fmla="*/ 1718120 h 290152"/>
              <a:gd name="T66" fmla="*/ 3285233 w 290152"/>
              <a:gd name="T67" fmla="*/ 1171750 h 290152"/>
              <a:gd name="T68" fmla="*/ 2465721 w 290152"/>
              <a:gd name="T69" fmla="*/ 2005664 h 290152"/>
              <a:gd name="T70" fmla="*/ 1279559 w 290152"/>
              <a:gd name="T71" fmla="*/ 2710148 h 290152"/>
              <a:gd name="T72" fmla="*/ 172546 w 290152"/>
              <a:gd name="T73" fmla="*/ 3062402 h 290152"/>
              <a:gd name="T74" fmla="*/ 682944 w 290152"/>
              <a:gd name="T75" fmla="*/ 3436253 h 290152"/>
              <a:gd name="T76" fmla="*/ 1768442 w 290152"/>
              <a:gd name="T77" fmla="*/ 4205430 h 290152"/>
              <a:gd name="T78" fmla="*/ 2465721 w 290152"/>
              <a:gd name="T79" fmla="*/ 2817982 h 290152"/>
              <a:gd name="T80" fmla="*/ 3026441 w 290152"/>
              <a:gd name="T81" fmla="*/ 2221331 h 290152"/>
              <a:gd name="T82" fmla="*/ 5607190 w 290152"/>
              <a:gd name="T83" fmla="*/ 4205430 h 290152"/>
              <a:gd name="T84" fmla="*/ 438459 w 290152"/>
              <a:gd name="T85" fmla="*/ 0 h 290152"/>
              <a:gd name="T86" fmla="*/ 5779691 w 290152"/>
              <a:gd name="T87" fmla="*/ 4636751 h 290152"/>
              <a:gd name="T88" fmla="*/ 4643888 w 290152"/>
              <a:gd name="T89" fmla="*/ 5607243 h 290152"/>
              <a:gd name="T90" fmla="*/ 1056716 w 290152"/>
              <a:gd name="T91" fmla="*/ 5693510 h 290152"/>
              <a:gd name="T92" fmla="*/ 438459 w 290152"/>
              <a:gd name="T93" fmla="*/ 5082436 h 290152"/>
              <a:gd name="T94" fmla="*/ 438459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sz="900"/>
          </a:p>
        </p:txBody>
      </p:sp>
      <p:sp>
        <p:nvSpPr>
          <p:cNvPr id="43" name="Freeform 974">
            <a:extLst>
              <a:ext uri="{FF2B5EF4-FFF2-40B4-BE49-F238E27FC236}">
                <a16:creationId xmlns:a16="http://schemas.microsoft.com/office/drawing/2014/main" id="{4F00F1A4-C011-A9B8-56CF-2E26BA08AA1F}"/>
              </a:ext>
            </a:extLst>
          </p:cNvPr>
          <p:cNvSpPr>
            <a:spLocks noChangeAspect="1" noChangeArrowheads="1"/>
          </p:cNvSpPr>
          <p:nvPr/>
        </p:nvSpPr>
        <p:spPr bwMode="auto">
          <a:xfrm>
            <a:off x="6668073" y="3372376"/>
            <a:ext cx="388957" cy="386615"/>
          </a:xfrm>
          <a:custGeom>
            <a:avLst/>
            <a:gdLst>
              <a:gd name="T0" fmla="*/ 2562819 w 290153"/>
              <a:gd name="T1" fmla="*/ 4648840 h 288566"/>
              <a:gd name="T2" fmla="*/ 4454966 w 290153"/>
              <a:gd name="T3" fmla="*/ 4710983 h 288566"/>
              <a:gd name="T4" fmla="*/ 4894049 w 290153"/>
              <a:gd name="T5" fmla="*/ 4445216 h 288566"/>
              <a:gd name="T6" fmla="*/ 954780 w 290153"/>
              <a:gd name="T7" fmla="*/ 3724807 h 288566"/>
              <a:gd name="T8" fmla="*/ 954780 w 290153"/>
              <a:gd name="T9" fmla="*/ 3724807 h 288566"/>
              <a:gd name="T10" fmla="*/ 4141849 w 290153"/>
              <a:gd name="T11" fmla="*/ 3765847 h 288566"/>
              <a:gd name="T12" fmla="*/ 3798577 w 290153"/>
              <a:gd name="T13" fmla="*/ 4008450 h 288566"/>
              <a:gd name="T14" fmla="*/ 3348029 w 290153"/>
              <a:gd name="T15" fmla="*/ 4308147 h 288566"/>
              <a:gd name="T16" fmla="*/ 3769948 w 290153"/>
              <a:gd name="T17" fmla="*/ 4664923 h 288566"/>
              <a:gd name="T18" fmla="*/ 3762827 w 290153"/>
              <a:gd name="T19" fmla="*/ 5314289 h 288566"/>
              <a:gd name="T20" fmla="*/ 4292034 w 290153"/>
              <a:gd name="T21" fmla="*/ 5207247 h 288566"/>
              <a:gd name="T22" fmla="*/ 4706794 w 290153"/>
              <a:gd name="T23" fmla="*/ 5135869 h 288566"/>
              <a:gd name="T24" fmla="*/ 5357574 w 290153"/>
              <a:gd name="T25" fmla="*/ 5143036 h 288566"/>
              <a:gd name="T26" fmla="*/ 5243133 w 290153"/>
              <a:gd name="T27" fmla="*/ 4607853 h 288566"/>
              <a:gd name="T28" fmla="*/ 5243133 w 290153"/>
              <a:gd name="T29" fmla="*/ 4251062 h 288566"/>
              <a:gd name="T30" fmla="*/ 5357574 w 290153"/>
              <a:gd name="T31" fmla="*/ 3723017 h 288566"/>
              <a:gd name="T32" fmla="*/ 4706794 w 290153"/>
              <a:gd name="T33" fmla="*/ 3730157 h 288566"/>
              <a:gd name="T34" fmla="*/ 4256246 w 290153"/>
              <a:gd name="T35" fmla="*/ 3145044 h 288566"/>
              <a:gd name="T36" fmla="*/ 4835512 w 290153"/>
              <a:gd name="T37" fmla="*/ 3587451 h 288566"/>
              <a:gd name="T38" fmla="*/ 5529181 w 290153"/>
              <a:gd name="T39" fmla="*/ 3772960 h 288566"/>
              <a:gd name="T40" fmla="*/ 5758046 w 290153"/>
              <a:gd name="T41" fmla="*/ 4215414 h 288566"/>
              <a:gd name="T42" fmla="*/ 5321824 w 290153"/>
              <a:gd name="T43" fmla="*/ 4771982 h 288566"/>
              <a:gd name="T44" fmla="*/ 5235976 w 290153"/>
              <a:gd name="T45" fmla="*/ 5492681 h 288566"/>
              <a:gd name="T46" fmla="*/ 4756852 w 290153"/>
              <a:gd name="T47" fmla="*/ 5649675 h 288566"/>
              <a:gd name="T48" fmla="*/ 4184752 w 290153"/>
              <a:gd name="T49" fmla="*/ 5649675 h 288566"/>
              <a:gd name="T50" fmla="*/ 3705595 w 290153"/>
              <a:gd name="T51" fmla="*/ 5492681 h 288566"/>
              <a:gd name="T52" fmla="*/ 3619787 w 290153"/>
              <a:gd name="T53" fmla="*/ 4771982 h 288566"/>
              <a:gd name="T54" fmla="*/ 3183553 w 290153"/>
              <a:gd name="T55" fmla="*/ 4215414 h 288566"/>
              <a:gd name="T56" fmla="*/ 3412402 w 290153"/>
              <a:gd name="T57" fmla="*/ 3772960 h 288566"/>
              <a:gd name="T58" fmla="*/ 4113220 w 290153"/>
              <a:gd name="T59" fmla="*/ 3587451 h 288566"/>
              <a:gd name="T60" fmla="*/ 179448 w 290153"/>
              <a:gd name="T61" fmla="*/ 2736288 h 288566"/>
              <a:gd name="T62" fmla="*/ 179448 w 290153"/>
              <a:gd name="T63" fmla="*/ 2736288 h 288566"/>
              <a:gd name="T64" fmla="*/ 3731294 w 290153"/>
              <a:gd name="T65" fmla="*/ 2643056 h 288566"/>
              <a:gd name="T66" fmla="*/ 1517792 w 290153"/>
              <a:gd name="T67" fmla="*/ 2737733 h 288566"/>
              <a:gd name="T68" fmla="*/ 4436542 w 290153"/>
              <a:gd name="T69" fmla="*/ 1719142 h 288566"/>
              <a:gd name="T70" fmla="*/ 466607 w 290153"/>
              <a:gd name="T71" fmla="*/ 1489914 h 288566"/>
              <a:gd name="T72" fmla="*/ 466607 w 290153"/>
              <a:gd name="T73" fmla="*/ 1489914 h 288566"/>
              <a:gd name="T74" fmla="*/ 3238397 w 290153"/>
              <a:gd name="T75" fmla="*/ 1947692 h 288566"/>
              <a:gd name="T76" fmla="*/ 2227447 w 290153"/>
              <a:gd name="T77" fmla="*/ 2148019 h 288566"/>
              <a:gd name="T78" fmla="*/ 2758031 w 290153"/>
              <a:gd name="T79" fmla="*/ 3850966 h 288566"/>
              <a:gd name="T80" fmla="*/ 2098389 w 290153"/>
              <a:gd name="T81" fmla="*/ 3314305 h 288566"/>
              <a:gd name="T82" fmla="*/ 3109347 w 290153"/>
              <a:gd name="T83" fmla="*/ 3113978 h 288566"/>
              <a:gd name="T84" fmla="*/ 2578762 w 290153"/>
              <a:gd name="T85" fmla="*/ 1411042 h 288566"/>
              <a:gd name="T86" fmla="*/ 4350374 w 290153"/>
              <a:gd name="T87" fmla="*/ 1568720 h 288566"/>
              <a:gd name="T88" fmla="*/ 552755 w 290153"/>
              <a:gd name="T89" fmla="*/ 1339488 h 288566"/>
              <a:gd name="T90" fmla="*/ 2742335 w 290153"/>
              <a:gd name="T91" fmla="*/ 179046 h 288566"/>
              <a:gd name="T92" fmla="*/ 2742335 w 290153"/>
              <a:gd name="T93" fmla="*/ 179046 h 288566"/>
              <a:gd name="T94" fmla="*/ 2562819 w 290153"/>
              <a:gd name="T95" fmla="*/ 644667 h 288566"/>
              <a:gd name="T96" fmla="*/ 5247725 w 290153"/>
              <a:gd name="T97" fmla="*/ 3194738 h 288566"/>
              <a:gd name="T98" fmla="*/ 4659047 w 290153"/>
              <a:gd name="T99" fmla="*/ 2736288 h 288566"/>
              <a:gd name="T100" fmla="*/ 4486783 w 290153"/>
              <a:gd name="T101" fmla="*/ 2643152 h 288566"/>
              <a:gd name="T102" fmla="*/ 2936148 w 290153"/>
              <a:gd name="T103" fmla="*/ 4462612 h 288566"/>
              <a:gd name="T104" fmla="*/ 2742335 w 290153"/>
              <a:gd name="T105" fmla="*/ 5114472 h 288566"/>
              <a:gd name="T106" fmla="*/ 2648991 w 290153"/>
              <a:gd name="T107" fmla="*/ 5293538 h 28856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3" h="288566">
                <a:moveTo>
                  <a:pt x="86497" y="222731"/>
                </a:moveTo>
                <a:lnTo>
                  <a:pt x="74604" y="242913"/>
                </a:lnTo>
                <a:cubicBezTo>
                  <a:pt x="90822" y="251563"/>
                  <a:pt x="109563" y="256609"/>
                  <a:pt x="128664" y="257330"/>
                </a:cubicBezTo>
                <a:lnTo>
                  <a:pt x="128664" y="233903"/>
                </a:lnTo>
                <a:cubicBezTo>
                  <a:pt x="113527" y="233182"/>
                  <a:pt x="99111" y="229218"/>
                  <a:pt x="86497" y="222731"/>
                </a:cubicBezTo>
                <a:close/>
                <a:moveTo>
                  <a:pt x="223657" y="210648"/>
                </a:moveTo>
                <a:cubicBezTo>
                  <a:pt x="216429" y="210648"/>
                  <a:pt x="210647" y="216430"/>
                  <a:pt x="210647" y="223657"/>
                </a:cubicBezTo>
                <a:cubicBezTo>
                  <a:pt x="210647" y="230885"/>
                  <a:pt x="216429" y="237029"/>
                  <a:pt x="223657" y="237029"/>
                </a:cubicBezTo>
                <a:cubicBezTo>
                  <a:pt x="230884" y="237029"/>
                  <a:pt x="237028" y="230885"/>
                  <a:pt x="237028" y="223657"/>
                </a:cubicBezTo>
                <a:cubicBezTo>
                  <a:pt x="237028" y="216430"/>
                  <a:pt x="230884" y="210648"/>
                  <a:pt x="223657" y="210648"/>
                </a:cubicBezTo>
                <a:close/>
                <a:moveTo>
                  <a:pt x="223657" y="201613"/>
                </a:moveTo>
                <a:cubicBezTo>
                  <a:pt x="235944" y="201613"/>
                  <a:pt x="245701" y="211732"/>
                  <a:pt x="245701" y="223657"/>
                </a:cubicBezTo>
                <a:cubicBezTo>
                  <a:pt x="245701" y="235944"/>
                  <a:pt x="235944" y="245702"/>
                  <a:pt x="223657" y="245702"/>
                </a:cubicBezTo>
                <a:cubicBezTo>
                  <a:pt x="211731" y="245702"/>
                  <a:pt x="201612" y="235944"/>
                  <a:pt x="201612" y="223657"/>
                </a:cubicBezTo>
                <a:cubicBezTo>
                  <a:pt x="201612" y="211732"/>
                  <a:pt x="211731" y="201613"/>
                  <a:pt x="223657" y="201613"/>
                </a:cubicBezTo>
                <a:close/>
                <a:moveTo>
                  <a:pt x="47934" y="187411"/>
                </a:moveTo>
                <a:lnTo>
                  <a:pt x="27751" y="198944"/>
                </a:lnTo>
                <a:cubicBezTo>
                  <a:pt x="37842" y="215162"/>
                  <a:pt x="51177" y="228497"/>
                  <a:pt x="67396" y="238589"/>
                </a:cubicBezTo>
                <a:lnTo>
                  <a:pt x="78929" y="218045"/>
                </a:lnTo>
                <a:cubicBezTo>
                  <a:pt x="66314" y="210477"/>
                  <a:pt x="56223" y="199664"/>
                  <a:pt x="47934" y="187411"/>
                </a:cubicBezTo>
                <a:close/>
                <a:moveTo>
                  <a:pt x="218348" y="166498"/>
                </a:moveTo>
                <a:lnTo>
                  <a:pt x="215476" y="184090"/>
                </a:lnTo>
                <a:cubicBezTo>
                  <a:pt x="215476" y="185885"/>
                  <a:pt x="214399" y="186962"/>
                  <a:pt x="212604" y="187680"/>
                </a:cubicBezTo>
                <a:cubicBezTo>
                  <a:pt x="211168" y="188039"/>
                  <a:pt x="209373" y="188757"/>
                  <a:pt x="207937" y="189475"/>
                </a:cubicBezTo>
                <a:cubicBezTo>
                  <a:pt x="206501" y="190193"/>
                  <a:pt x="204705" y="190193"/>
                  <a:pt x="203269" y="189475"/>
                </a:cubicBezTo>
                <a:lnTo>
                  <a:pt x="188908" y="178704"/>
                </a:lnTo>
                <a:cubicBezTo>
                  <a:pt x="185677" y="181218"/>
                  <a:pt x="182804" y="184090"/>
                  <a:pt x="180291" y="187321"/>
                </a:cubicBezTo>
                <a:lnTo>
                  <a:pt x="190703" y="201682"/>
                </a:lnTo>
                <a:cubicBezTo>
                  <a:pt x="191780" y="203118"/>
                  <a:pt x="191780" y="204913"/>
                  <a:pt x="191062" y="206349"/>
                </a:cubicBezTo>
                <a:cubicBezTo>
                  <a:pt x="190344" y="207786"/>
                  <a:pt x="189626" y="209581"/>
                  <a:pt x="189267" y="211017"/>
                </a:cubicBezTo>
                <a:cubicBezTo>
                  <a:pt x="188549" y="212812"/>
                  <a:pt x="187113" y="213889"/>
                  <a:pt x="185677" y="214248"/>
                </a:cubicBezTo>
                <a:lnTo>
                  <a:pt x="168084" y="216761"/>
                </a:lnTo>
                <a:cubicBezTo>
                  <a:pt x="167725" y="218915"/>
                  <a:pt x="167725" y="220710"/>
                  <a:pt x="167725" y="222865"/>
                </a:cubicBezTo>
                <a:cubicBezTo>
                  <a:pt x="167725" y="225019"/>
                  <a:pt x="167725" y="227173"/>
                  <a:pt x="168084" y="229327"/>
                </a:cubicBezTo>
                <a:lnTo>
                  <a:pt x="185677" y="231840"/>
                </a:lnTo>
                <a:cubicBezTo>
                  <a:pt x="187113" y="232199"/>
                  <a:pt x="188549" y="233276"/>
                  <a:pt x="189267" y="234712"/>
                </a:cubicBezTo>
                <a:cubicBezTo>
                  <a:pt x="189626" y="236508"/>
                  <a:pt x="190344" y="237944"/>
                  <a:pt x="191062" y="239739"/>
                </a:cubicBezTo>
                <a:cubicBezTo>
                  <a:pt x="191780" y="241175"/>
                  <a:pt x="191780" y="242970"/>
                  <a:pt x="190703" y="244047"/>
                </a:cubicBezTo>
                <a:lnTo>
                  <a:pt x="180291" y="258767"/>
                </a:lnTo>
                <a:cubicBezTo>
                  <a:pt x="182804" y="261998"/>
                  <a:pt x="185677" y="264870"/>
                  <a:pt x="188908" y="267384"/>
                </a:cubicBezTo>
                <a:lnTo>
                  <a:pt x="203269" y="256613"/>
                </a:lnTo>
                <a:cubicBezTo>
                  <a:pt x="204705" y="255895"/>
                  <a:pt x="206501" y="255536"/>
                  <a:pt x="207937" y="256613"/>
                </a:cubicBezTo>
                <a:cubicBezTo>
                  <a:pt x="209373" y="256972"/>
                  <a:pt x="210809" y="257690"/>
                  <a:pt x="212604" y="258408"/>
                </a:cubicBezTo>
                <a:cubicBezTo>
                  <a:pt x="214399" y="258767"/>
                  <a:pt x="215476" y="260203"/>
                  <a:pt x="215476" y="261998"/>
                </a:cubicBezTo>
                <a:lnTo>
                  <a:pt x="218348" y="279590"/>
                </a:lnTo>
                <a:cubicBezTo>
                  <a:pt x="222298" y="279950"/>
                  <a:pt x="226606" y="279950"/>
                  <a:pt x="230555" y="279590"/>
                </a:cubicBezTo>
                <a:lnTo>
                  <a:pt x="233427" y="261998"/>
                </a:lnTo>
                <a:cubicBezTo>
                  <a:pt x="233786" y="260203"/>
                  <a:pt x="234863" y="258767"/>
                  <a:pt x="236300" y="258408"/>
                </a:cubicBezTo>
                <a:cubicBezTo>
                  <a:pt x="237736" y="257690"/>
                  <a:pt x="239531" y="256972"/>
                  <a:pt x="241326" y="256254"/>
                </a:cubicBezTo>
                <a:cubicBezTo>
                  <a:pt x="242762" y="255536"/>
                  <a:pt x="244557" y="255895"/>
                  <a:pt x="245634" y="256613"/>
                </a:cubicBezTo>
                <a:lnTo>
                  <a:pt x="259995" y="267384"/>
                </a:lnTo>
                <a:cubicBezTo>
                  <a:pt x="263226" y="264870"/>
                  <a:pt x="266458" y="261998"/>
                  <a:pt x="268971" y="258767"/>
                </a:cubicBezTo>
                <a:lnTo>
                  <a:pt x="258200" y="244047"/>
                </a:lnTo>
                <a:cubicBezTo>
                  <a:pt x="257482" y="242970"/>
                  <a:pt x="257123" y="241175"/>
                  <a:pt x="257841" y="239739"/>
                </a:cubicBezTo>
                <a:cubicBezTo>
                  <a:pt x="258918" y="237944"/>
                  <a:pt x="259277" y="236508"/>
                  <a:pt x="259995" y="234712"/>
                </a:cubicBezTo>
                <a:cubicBezTo>
                  <a:pt x="260354" y="233276"/>
                  <a:pt x="261790" y="232199"/>
                  <a:pt x="263226" y="231840"/>
                </a:cubicBezTo>
                <a:lnTo>
                  <a:pt x="281178" y="229327"/>
                </a:lnTo>
                <a:cubicBezTo>
                  <a:pt x="281178" y="227173"/>
                  <a:pt x="281178" y="225019"/>
                  <a:pt x="281178" y="222865"/>
                </a:cubicBezTo>
                <a:cubicBezTo>
                  <a:pt x="281178" y="220710"/>
                  <a:pt x="281178" y="218915"/>
                  <a:pt x="281178" y="216761"/>
                </a:cubicBezTo>
                <a:lnTo>
                  <a:pt x="263226" y="213889"/>
                </a:lnTo>
                <a:cubicBezTo>
                  <a:pt x="261790" y="213889"/>
                  <a:pt x="260354" y="212812"/>
                  <a:pt x="259995" y="211017"/>
                </a:cubicBezTo>
                <a:cubicBezTo>
                  <a:pt x="259277" y="209581"/>
                  <a:pt x="258918" y="207786"/>
                  <a:pt x="257841" y="206349"/>
                </a:cubicBezTo>
                <a:cubicBezTo>
                  <a:pt x="257123" y="204913"/>
                  <a:pt x="257123" y="203118"/>
                  <a:pt x="258200" y="201682"/>
                </a:cubicBezTo>
                <a:lnTo>
                  <a:pt x="268971" y="187321"/>
                </a:lnTo>
                <a:cubicBezTo>
                  <a:pt x="266458" y="184090"/>
                  <a:pt x="263226" y="181218"/>
                  <a:pt x="259995" y="178704"/>
                </a:cubicBezTo>
                <a:lnTo>
                  <a:pt x="245634" y="189116"/>
                </a:lnTo>
                <a:cubicBezTo>
                  <a:pt x="244557" y="190193"/>
                  <a:pt x="242403" y="190193"/>
                  <a:pt x="240967" y="189475"/>
                </a:cubicBezTo>
                <a:cubicBezTo>
                  <a:pt x="239890" y="188757"/>
                  <a:pt x="238095" y="188039"/>
                  <a:pt x="236300" y="187680"/>
                </a:cubicBezTo>
                <a:cubicBezTo>
                  <a:pt x="234863" y="186962"/>
                  <a:pt x="233786" y="185885"/>
                  <a:pt x="233427" y="184090"/>
                </a:cubicBezTo>
                <a:lnTo>
                  <a:pt x="230555" y="166498"/>
                </a:lnTo>
                <a:cubicBezTo>
                  <a:pt x="226606" y="166138"/>
                  <a:pt x="222298" y="166138"/>
                  <a:pt x="218348" y="166498"/>
                </a:cubicBezTo>
                <a:close/>
                <a:moveTo>
                  <a:pt x="213681" y="158240"/>
                </a:moveTo>
                <a:cubicBezTo>
                  <a:pt x="220861" y="157163"/>
                  <a:pt x="228401" y="157163"/>
                  <a:pt x="235222" y="158240"/>
                </a:cubicBezTo>
                <a:cubicBezTo>
                  <a:pt x="237018" y="158599"/>
                  <a:pt x="238454" y="160035"/>
                  <a:pt x="238813" y="161830"/>
                </a:cubicBezTo>
                <a:lnTo>
                  <a:pt x="241685" y="180140"/>
                </a:lnTo>
                <a:cubicBezTo>
                  <a:pt x="242044" y="180140"/>
                  <a:pt x="242403" y="180499"/>
                  <a:pt x="242762" y="180499"/>
                </a:cubicBezTo>
                <a:lnTo>
                  <a:pt x="257841" y="169729"/>
                </a:lnTo>
                <a:cubicBezTo>
                  <a:pt x="259277" y="168652"/>
                  <a:pt x="261431" y="168652"/>
                  <a:pt x="262867" y="169729"/>
                </a:cubicBezTo>
                <a:cubicBezTo>
                  <a:pt x="268612" y="174037"/>
                  <a:pt x="273638" y="179063"/>
                  <a:pt x="277946" y="184449"/>
                </a:cubicBezTo>
                <a:cubicBezTo>
                  <a:pt x="279023" y="186244"/>
                  <a:pt x="279023" y="188039"/>
                  <a:pt x="277587" y="189834"/>
                </a:cubicBezTo>
                <a:lnTo>
                  <a:pt x="266817" y="204913"/>
                </a:lnTo>
                <a:lnTo>
                  <a:pt x="267176" y="205631"/>
                </a:lnTo>
                <a:lnTo>
                  <a:pt x="285845" y="208504"/>
                </a:lnTo>
                <a:cubicBezTo>
                  <a:pt x="287281" y="209222"/>
                  <a:pt x="288717" y="210299"/>
                  <a:pt x="289076" y="212094"/>
                </a:cubicBezTo>
                <a:cubicBezTo>
                  <a:pt x="289794" y="215684"/>
                  <a:pt x="290153" y="219274"/>
                  <a:pt x="290153" y="222865"/>
                </a:cubicBezTo>
                <a:cubicBezTo>
                  <a:pt x="290153" y="226455"/>
                  <a:pt x="289794" y="230045"/>
                  <a:pt x="289076" y="233635"/>
                </a:cubicBezTo>
                <a:cubicBezTo>
                  <a:pt x="288717" y="235430"/>
                  <a:pt x="287281" y="236867"/>
                  <a:pt x="285845" y="237226"/>
                </a:cubicBezTo>
                <a:lnTo>
                  <a:pt x="267176" y="240098"/>
                </a:lnTo>
                <a:cubicBezTo>
                  <a:pt x="267176" y="240457"/>
                  <a:pt x="266817" y="240816"/>
                  <a:pt x="266817" y="241175"/>
                </a:cubicBezTo>
                <a:lnTo>
                  <a:pt x="277587" y="256254"/>
                </a:lnTo>
                <a:cubicBezTo>
                  <a:pt x="279023" y="257690"/>
                  <a:pt x="279023" y="259844"/>
                  <a:pt x="277946" y="261280"/>
                </a:cubicBezTo>
                <a:cubicBezTo>
                  <a:pt x="273638" y="267025"/>
                  <a:pt x="268612" y="272051"/>
                  <a:pt x="262867" y="276359"/>
                </a:cubicBezTo>
                <a:cubicBezTo>
                  <a:pt x="261431" y="277436"/>
                  <a:pt x="259277" y="277436"/>
                  <a:pt x="257841" y="276359"/>
                </a:cubicBezTo>
                <a:lnTo>
                  <a:pt x="242762" y="265589"/>
                </a:lnTo>
                <a:cubicBezTo>
                  <a:pt x="242403" y="265589"/>
                  <a:pt x="242044" y="265589"/>
                  <a:pt x="241685" y="265948"/>
                </a:cubicBezTo>
                <a:lnTo>
                  <a:pt x="238813" y="284258"/>
                </a:lnTo>
                <a:cubicBezTo>
                  <a:pt x="238454" y="285694"/>
                  <a:pt x="237018" y="287489"/>
                  <a:pt x="235222" y="287848"/>
                </a:cubicBezTo>
                <a:cubicBezTo>
                  <a:pt x="231632" y="288207"/>
                  <a:pt x="228042" y="288566"/>
                  <a:pt x="224452" y="288566"/>
                </a:cubicBezTo>
                <a:cubicBezTo>
                  <a:pt x="220861" y="288566"/>
                  <a:pt x="217271" y="288207"/>
                  <a:pt x="213681" y="287848"/>
                </a:cubicBezTo>
                <a:cubicBezTo>
                  <a:pt x="211886" y="287489"/>
                  <a:pt x="210809" y="286053"/>
                  <a:pt x="210091" y="284258"/>
                </a:cubicBezTo>
                <a:lnTo>
                  <a:pt x="207219" y="265948"/>
                </a:lnTo>
                <a:cubicBezTo>
                  <a:pt x="207219" y="265589"/>
                  <a:pt x="206501" y="265589"/>
                  <a:pt x="206501" y="265589"/>
                </a:cubicBezTo>
                <a:lnTo>
                  <a:pt x="191062" y="276359"/>
                </a:lnTo>
                <a:cubicBezTo>
                  <a:pt x="189626" y="277436"/>
                  <a:pt x="187472" y="277436"/>
                  <a:pt x="186036" y="276359"/>
                </a:cubicBezTo>
                <a:cubicBezTo>
                  <a:pt x="180291" y="272051"/>
                  <a:pt x="175265" y="267025"/>
                  <a:pt x="171316" y="261280"/>
                </a:cubicBezTo>
                <a:cubicBezTo>
                  <a:pt x="170239" y="259844"/>
                  <a:pt x="170239" y="257690"/>
                  <a:pt x="171316" y="256254"/>
                </a:cubicBezTo>
                <a:lnTo>
                  <a:pt x="182086" y="241175"/>
                </a:lnTo>
                <a:cubicBezTo>
                  <a:pt x="182086" y="240816"/>
                  <a:pt x="181727" y="240457"/>
                  <a:pt x="181727" y="240098"/>
                </a:cubicBezTo>
                <a:lnTo>
                  <a:pt x="163417" y="237226"/>
                </a:lnTo>
                <a:cubicBezTo>
                  <a:pt x="161622" y="236867"/>
                  <a:pt x="160186" y="235430"/>
                  <a:pt x="159827" y="233635"/>
                </a:cubicBezTo>
                <a:cubicBezTo>
                  <a:pt x="159109" y="230045"/>
                  <a:pt x="158750" y="226455"/>
                  <a:pt x="158750" y="222865"/>
                </a:cubicBezTo>
                <a:cubicBezTo>
                  <a:pt x="158750" y="219274"/>
                  <a:pt x="159109" y="215684"/>
                  <a:pt x="159827" y="212094"/>
                </a:cubicBezTo>
                <a:cubicBezTo>
                  <a:pt x="160186" y="210658"/>
                  <a:pt x="161622" y="209222"/>
                  <a:pt x="163417" y="208504"/>
                </a:cubicBezTo>
                <a:lnTo>
                  <a:pt x="181727" y="205631"/>
                </a:lnTo>
                <a:lnTo>
                  <a:pt x="182086" y="204913"/>
                </a:lnTo>
                <a:lnTo>
                  <a:pt x="171316" y="189834"/>
                </a:lnTo>
                <a:cubicBezTo>
                  <a:pt x="170239" y="188398"/>
                  <a:pt x="170239" y="186244"/>
                  <a:pt x="171316" y="184808"/>
                </a:cubicBezTo>
                <a:cubicBezTo>
                  <a:pt x="175265" y="179063"/>
                  <a:pt x="180291" y="174037"/>
                  <a:pt x="186036" y="169729"/>
                </a:cubicBezTo>
                <a:cubicBezTo>
                  <a:pt x="187472" y="168652"/>
                  <a:pt x="189626" y="168652"/>
                  <a:pt x="191062" y="169729"/>
                </a:cubicBezTo>
                <a:lnTo>
                  <a:pt x="206501" y="180499"/>
                </a:lnTo>
                <a:cubicBezTo>
                  <a:pt x="206501" y="180499"/>
                  <a:pt x="207219" y="180499"/>
                  <a:pt x="207219" y="180140"/>
                </a:cubicBezTo>
                <a:lnTo>
                  <a:pt x="210091" y="161830"/>
                </a:lnTo>
                <a:cubicBezTo>
                  <a:pt x="210809" y="160035"/>
                  <a:pt x="211886" y="158599"/>
                  <a:pt x="213681" y="158240"/>
                </a:cubicBezTo>
                <a:close/>
                <a:moveTo>
                  <a:pt x="9010" y="137675"/>
                </a:moveTo>
                <a:cubicBezTo>
                  <a:pt x="9731" y="157137"/>
                  <a:pt x="14416" y="175157"/>
                  <a:pt x="23426" y="191375"/>
                </a:cubicBezTo>
                <a:lnTo>
                  <a:pt x="43609" y="179842"/>
                </a:lnTo>
                <a:cubicBezTo>
                  <a:pt x="37122" y="166868"/>
                  <a:pt x="32797" y="152812"/>
                  <a:pt x="32436" y="137675"/>
                </a:cubicBezTo>
                <a:lnTo>
                  <a:pt x="9010" y="137675"/>
                </a:lnTo>
                <a:close/>
                <a:moveTo>
                  <a:pt x="191897" y="128588"/>
                </a:moveTo>
                <a:cubicBezTo>
                  <a:pt x="194564" y="128588"/>
                  <a:pt x="196469" y="130786"/>
                  <a:pt x="196469" y="132984"/>
                </a:cubicBezTo>
                <a:cubicBezTo>
                  <a:pt x="196469" y="135915"/>
                  <a:pt x="194564" y="137747"/>
                  <a:pt x="191897" y="137747"/>
                </a:cubicBezTo>
                <a:cubicBezTo>
                  <a:pt x="189230" y="137747"/>
                  <a:pt x="187325" y="135915"/>
                  <a:pt x="187325" y="132984"/>
                </a:cubicBezTo>
                <a:cubicBezTo>
                  <a:pt x="187325" y="130786"/>
                  <a:pt x="189230" y="128588"/>
                  <a:pt x="191897" y="128588"/>
                </a:cubicBezTo>
                <a:close/>
                <a:moveTo>
                  <a:pt x="76199" y="128588"/>
                </a:moveTo>
                <a:cubicBezTo>
                  <a:pt x="78397" y="128588"/>
                  <a:pt x="80595" y="130786"/>
                  <a:pt x="80595" y="132984"/>
                </a:cubicBezTo>
                <a:cubicBezTo>
                  <a:pt x="80595" y="135915"/>
                  <a:pt x="78397" y="137747"/>
                  <a:pt x="76199" y="137747"/>
                </a:cubicBezTo>
                <a:cubicBezTo>
                  <a:pt x="73635" y="137747"/>
                  <a:pt x="71437" y="135915"/>
                  <a:pt x="71437" y="132984"/>
                </a:cubicBezTo>
                <a:cubicBezTo>
                  <a:pt x="71437" y="130786"/>
                  <a:pt x="73635" y="128588"/>
                  <a:pt x="76199" y="128588"/>
                </a:cubicBezTo>
                <a:close/>
                <a:moveTo>
                  <a:pt x="242913" y="74964"/>
                </a:moveTo>
                <a:lnTo>
                  <a:pt x="222731" y="86497"/>
                </a:lnTo>
                <a:cubicBezTo>
                  <a:pt x="229218" y="99472"/>
                  <a:pt x="233183" y="113888"/>
                  <a:pt x="233903" y="128665"/>
                </a:cubicBezTo>
                <a:lnTo>
                  <a:pt x="257330" y="128665"/>
                </a:lnTo>
                <a:cubicBezTo>
                  <a:pt x="256609" y="109563"/>
                  <a:pt x="251563" y="91182"/>
                  <a:pt x="242913" y="74964"/>
                </a:cubicBezTo>
                <a:close/>
                <a:moveTo>
                  <a:pt x="23426" y="74964"/>
                </a:moveTo>
                <a:cubicBezTo>
                  <a:pt x="14416" y="91182"/>
                  <a:pt x="9731" y="109563"/>
                  <a:pt x="9010" y="128665"/>
                </a:cubicBezTo>
                <a:lnTo>
                  <a:pt x="32436" y="128665"/>
                </a:lnTo>
                <a:cubicBezTo>
                  <a:pt x="32797" y="113888"/>
                  <a:pt x="37122" y="99472"/>
                  <a:pt x="43609" y="86497"/>
                </a:cubicBezTo>
                <a:lnTo>
                  <a:pt x="23426" y="74964"/>
                </a:lnTo>
                <a:close/>
                <a:moveTo>
                  <a:pt x="133783" y="66675"/>
                </a:moveTo>
                <a:cubicBezTo>
                  <a:pt x="136303" y="66675"/>
                  <a:pt x="138463" y="68835"/>
                  <a:pt x="138463" y="70995"/>
                </a:cubicBezTo>
                <a:lnTo>
                  <a:pt x="138463" y="80355"/>
                </a:lnTo>
                <a:cubicBezTo>
                  <a:pt x="149262" y="81435"/>
                  <a:pt x="158261" y="88275"/>
                  <a:pt x="162580" y="97996"/>
                </a:cubicBezTo>
                <a:cubicBezTo>
                  <a:pt x="163660" y="100156"/>
                  <a:pt x="162580" y="103036"/>
                  <a:pt x="160420" y="103756"/>
                </a:cubicBezTo>
                <a:cubicBezTo>
                  <a:pt x="157901" y="104836"/>
                  <a:pt x="155381" y="103756"/>
                  <a:pt x="154661" y="101596"/>
                </a:cubicBezTo>
                <a:cubicBezTo>
                  <a:pt x="151061" y="94035"/>
                  <a:pt x="143142" y="88635"/>
                  <a:pt x="133783" y="88635"/>
                </a:cubicBezTo>
                <a:cubicBezTo>
                  <a:pt x="121545" y="88635"/>
                  <a:pt x="111826" y="97636"/>
                  <a:pt x="111826" y="108076"/>
                </a:cubicBezTo>
                <a:cubicBezTo>
                  <a:pt x="111826" y="121036"/>
                  <a:pt x="119745" y="127876"/>
                  <a:pt x="133783" y="127876"/>
                </a:cubicBezTo>
                <a:cubicBezTo>
                  <a:pt x="156821" y="127876"/>
                  <a:pt x="164740" y="142637"/>
                  <a:pt x="164740" y="156677"/>
                </a:cubicBezTo>
                <a:cubicBezTo>
                  <a:pt x="164740" y="170717"/>
                  <a:pt x="153221" y="182598"/>
                  <a:pt x="138463" y="184398"/>
                </a:cubicBezTo>
                <a:lnTo>
                  <a:pt x="138463" y="193758"/>
                </a:lnTo>
                <a:cubicBezTo>
                  <a:pt x="138463" y="195918"/>
                  <a:pt x="136303" y="198078"/>
                  <a:pt x="133783" y="198078"/>
                </a:cubicBezTo>
                <a:cubicBezTo>
                  <a:pt x="131264" y="198078"/>
                  <a:pt x="129464" y="195918"/>
                  <a:pt x="129464" y="193758"/>
                </a:cubicBezTo>
                <a:lnTo>
                  <a:pt x="129464" y="184398"/>
                </a:lnTo>
                <a:cubicBezTo>
                  <a:pt x="118665" y="182958"/>
                  <a:pt x="109306" y="176477"/>
                  <a:pt x="105347" y="166757"/>
                </a:cubicBezTo>
                <a:cubicBezTo>
                  <a:pt x="104267" y="164597"/>
                  <a:pt x="105347" y="162077"/>
                  <a:pt x="107506" y="160997"/>
                </a:cubicBezTo>
                <a:cubicBezTo>
                  <a:pt x="109666" y="160277"/>
                  <a:pt x="112546" y="160997"/>
                  <a:pt x="113266" y="163157"/>
                </a:cubicBezTo>
                <a:cubicBezTo>
                  <a:pt x="116505" y="170717"/>
                  <a:pt x="124784" y="176117"/>
                  <a:pt x="133783" y="176117"/>
                </a:cubicBezTo>
                <a:cubicBezTo>
                  <a:pt x="146022" y="176117"/>
                  <a:pt x="156101" y="167117"/>
                  <a:pt x="156101" y="156677"/>
                </a:cubicBezTo>
                <a:cubicBezTo>
                  <a:pt x="156101" y="143717"/>
                  <a:pt x="148182" y="136876"/>
                  <a:pt x="133783" y="136876"/>
                </a:cubicBezTo>
                <a:cubicBezTo>
                  <a:pt x="114705" y="136876"/>
                  <a:pt x="103187" y="125716"/>
                  <a:pt x="103187" y="108076"/>
                </a:cubicBezTo>
                <a:cubicBezTo>
                  <a:pt x="103187" y="94035"/>
                  <a:pt x="114705" y="82155"/>
                  <a:pt x="129464" y="80355"/>
                </a:cubicBezTo>
                <a:lnTo>
                  <a:pt x="129464" y="70995"/>
                </a:lnTo>
                <a:cubicBezTo>
                  <a:pt x="129464" y="68835"/>
                  <a:pt x="131264" y="66675"/>
                  <a:pt x="133783" y="66675"/>
                </a:cubicBezTo>
                <a:close/>
                <a:moveTo>
                  <a:pt x="198944" y="27751"/>
                </a:moveTo>
                <a:lnTo>
                  <a:pt x="187411" y="47934"/>
                </a:lnTo>
                <a:cubicBezTo>
                  <a:pt x="199664" y="56223"/>
                  <a:pt x="210117" y="66314"/>
                  <a:pt x="218406" y="78929"/>
                </a:cubicBezTo>
                <a:lnTo>
                  <a:pt x="238589" y="67396"/>
                </a:lnTo>
                <a:cubicBezTo>
                  <a:pt x="228497" y="51538"/>
                  <a:pt x="215162" y="37842"/>
                  <a:pt x="198944" y="27751"/>
                </a:cubicBezTo>
                <a:close/>
                <a:moveTo>
                  <a:pt x="67396" y="27751"/>
                </a:moveTo>
                <a:cubicBezTo>
                  <a:pt x="51177" y="37842"/>
                  <a:pt x="37842" y="51538"/>
                  <a:pt x="27751" y="67396"/>
                </a:cubicBezTo>
                <a:lnTo>
                  <a:pt x="47934" y="78929"/>
                </a:lnTo>
                <a:cubicBezTo>
                  <a:pt x="56223" y="66314"/>
                  <a:pt x="66314" y="56223"/>
                  <a:pt x="78929" y="47934"/>
                </a:cubicBezTo>
                <a:lnTo>
                  <a:pt x="67396" y="27751"/>
                </a:lnTo>
                <a:close/>
                <a:moveTo>
                  <a:pt x="137675" y="9010"/>
                </a:moveTo>
                <a:lnTo>
                  <a:pt x="137675" y="32436"/>
                </a:lnTo>
                <a:cubicBezTo>
                  <a:pt x="152451" y="33157"/>
                  <a:pt x="166867" y="37122"/>
                  <a:pt x="179482" y="43609"/>
                </a:cubicBezTo>
                <a:lnTo>
                  <a:pt x="191735" y="23426"/>
                </a:lnTo>
                <a:cubicBezTo>
                  <a:pt x="175157" y="14776"/>
                  <a:pt x="157137" y="9731"/>
                  <a:pt x="137675" y="9010"/>
                </a:cubicBezTo>
                <a:close/>
                <a:moveTo>
                  <a:pt x="128664" y="9010"/>
                </a:moveTo>
                <a:cubicBezTo>
                  <a:pt x="109563" y="9731"/>
                  <a:pt x="90822" y="14776"/>
                  <a:pt x="74604" y="23426"/>
                </a:cubicBezTo>
                <a:lnTo>
                  <a:pt x="86497" y="43609"/>
                </a:lnTo>
                <a:cubicBezTo>
                  <a:pt x="99111" y="37122"/>
                  <a:pt x="113527" y="33157"/>
                  <a:pt x="128664" y="32436"/>
                </a:cubicBezTo>
                <a:lnTo>
                  <a:pt x="128664" y="9010"/>
                </a:lnTo>
                <a:close/>
                <a:moveTo>
                  <a:pt x="132989" y="0"/>
                </a:moveTo>
                <a:cubicBezTo>
                  <a:pt x="206513" y="0"/>
                  <a:pt x="266340" y="59827"/>
                  <a:pt x="266340" y="132989"/>
                </a:cubicBezTo>
                <a:cubicBezTo>
                  <a:pt x="266340" y="142360"/>
                  <a:pt x="265619" y="151731"/>
                  <a:pt x="263457" y="160741"/>
                </a:cubicBezTo>
                <a:cubicBezTo>
                  <a:pt x="262736" y="162903"/>
                  <a:pt x="260573" y="164705"/>
                  <a:pt x="258411" y="163984"/>
                </a:cubicBezTo>
                <a:cubicBezTo>
                  <a:pt x="255888" y="163624"/>
                  <a:pt x="254446" y="161461"/>
                  <a:pt x="254807" y="158939"/>
                </a:cubicBezTo>
                <a:cubicBezTo>
                  <a:pt x="256248" y="152091"/>
                  <a:pt x="257330" y="144883"/>
                  <a:pt x="257330" y="137675"/>
                </a:cubicBezTo>
                <a:lnTo>
                  <a:pt x="233903" y="137675"/>
                </a:lnTo>
                <a:cubicBezTo>
                  <a:pt x="233903" y="141279"/>
                  <a:pt x="233543" y="144883"/>
                  <a:pt x="233183" y="148487"/>
                </a:cubicBezTo>
                <a:cubicBezTo>
                  <a:pt x="232462" y="151010"/>
                  <a:pt x="230299" y="152451"/>
                  <a:pt x="228137" y="152091"/>
                </a:cubicBezTo>
                <a:cubicBezTo>
                  <a:pt x="225614" y="152091"/>
                  <a:pt x="223812" y="149568"/>
                  <a:pt x="224533" y="147406"/>
                </a:cubicBezTo>
                <a:cubicBezTo>
                  <a:pt x="224893" y="142720"/>
                  <a:pt x="225254" y="137675"/>
                  <a:pt x="225254" y="132989"/>
                </a:cubicBezTo>
                <a:cubicBezTo>
                  <a:pt x="225254" y="82172"/>
                  <a:pt x="183807" y="41086"/>
                  <a:pt x="132989" y="41086"/>
                </a:cubicBezTo>
                <a:cubicBezTo>
                  <a:pt x="82533" y="41086"/>
                  <a:pt x="40726" y="82172"/>
                  <a:pt x="40726" y="132989"/>
                </a:cubicBezTo>
                <a:cubicBezTo>
                  <a:pt x="40726" y="183807"/>
                  <a:pt x="82533" y="225254"/>
                  <a:pt x="132989" y="225254"/>
                </a:cubicBezTo>
                <a:cubicBezTo>
                  <a:pt x="137675" y="225254"/>
                  <a:pt x="142720" y="224893"/>
                  <a:pt x="147406" y="224533"/>
                </a:cubicBezTo>
                <a:cubicBezTo>
                  <a:pt x="149568" y="223812"/>
                  <a:pt x="152091" y="225614"/>
                  <a:pt x="152091" y="228137"/>
                </a:cubicBezTo>
                <a:cubicBezTo>
                  <a:pt x="152451" y="230299"/>
                  <a:pt x="151010" y="232462"/>
                  <a:pt x="148487" y="233182"/>
                </a:cubicBezTo>
                <a:cubicBezTo>
                  <a:pt x="144883" y="233543"/>
                  <a:pt x="141279" y="233903"/>
                  <a:pt x="137675" y="233903"/>
                </a:cubicBezTo>
                <a:lnTo>
                  <a:pt x="137675" y="257330"/>
                </a:lnTo>
                <a:cubicBezTo>
                  <a:pt x="144883" y="257330"/>
                  <a:pt x="152091" y="256248"/>
                  <a:pt x="158939" y="254807"/>
                </a:cubicBezTo>
                <a:cubicBezTo>
                  <a:pt x="161101" y="254446"/>
                  <a:pt x="163624" y="255888"/>
                  <a:pt x="163984" y="258050"/>
                </a:cubicBezTo>
                <a:cubicBezTo>
                  <a:pt x="164345" y="260934"/>
                  <a:pt x="162903" y="263096"/>
                  <a:pt x="160741" y="263456"/>
                </a:cubicBezTo>
                <a:cubicBezTo>
                  <a:pt x="151730" y="265259"/>
                  <a:pt x="142360" y="266340"/>
                  <a:pt x="132989" y="266340"/>
                </a:cubicBezTo>
                <a:cubicBezTo>
                  <a:pt x="59827" y="266340"/>
                  <a:pt x="0" y="206512"/>
                  <a:pt x="0" y="132989"/>
                </a:cubicBezTo>
                <a:cubicBezTo>
                  <a:pt x="0" y="59827"/>
                  <a:pt x="59827" y="0"/>
                  <a:pt x="132989" y="0"/>
                </a:cubicBezTo>
                <a:close/>
              </a:path>
            </a:pathLst>
          </a:custGeom>
          <a:solidFill>
            <a:schemeClr val="bg1"/>
          </a:solidFill>
          <a:ln>
            <a:noFill/>
          </a:ln>
          <a:effectLst/>
        </p:spPr>
        <p:txBody>
          <a:bodyPr anchor="ctr"/>
          <a:lstStyle/>
          <a:p>
            <a:endParaRPr lang="en-US" sz="900"/>
          </a:p>
        </p:txBody>
      </p:sp>
      <p:sp>
        <p:nvSpPr>
          <p:cNvPr id="44" name="Freeform 981">
            <a:extLst>
              <a:ext uri="{FF2B5EF4-FFF2-40B4-BE49-F238E27FC236}">
                <a16:creationId xmlns:a16="http://schemas.microsoft.com/office/drawing/2014/main" id="{7277636E-E15A-CD45-C0EA-D5BCC9661666}"/>
              </a:ext>
            </a:extLst>
          </p:cNvPr>
          <p:cNvSpPr>
            <a:spLocks noChangeAspect="1" noChangeArrowheads="1"/>
          </p:cNvSpPr>
          <p:nvPr/>
        </p:nvSpPr>
        <p:spPr bwMode="auto">
          <a:xfrm>
            <a:off x="6668073" y="5542415"/>
            <a:ext cx="388957" cy="386615"/>
          </a:xfrm>
          <a:custGeom>
            <a:avLst/>
            <a:gdLst>
              <a:gd name="T0" fmla="*/ 3091641 w 289792"/>
              <a:gd name="T1" fmla="*/ 3034040 h 288566"/>
              <a:gd name="T2" fmla="*/ 3069633 w 289792"/>
              <a:gd name="T3" fmla="*/ 2268686 h 288566"/>
              <a:gd name="T4" fmla="*/ 3245617 w 289792"/>
              <a:gd name="T5" fmla="*/ 2268686 h 288566"/>
              <a:gd name="T6" fmla="*/ 3450901 w 289792"/>
              <a:gd name="T7" fmla="*/ 2063171 h 288566"/>
              <a:gd name="T8" fmla="*/ 3714896 w 289792"/>
              <a:gd name="T9" fmla="*/ 2537969 h 288566"/>
              <a:gd name="T10" fmla="*/ 2468424 w 289792"/>
              <a:gd name="T11" fmla="*/ 2608849 h 288566"/>
              <a:gd name="T12" fmla="*/ 3450901 w 289792"/>
              <a:gd name="T13" fmla="*/ 1893100 h 288566"/>
              <a:gd name="T14" fmla="*/ 3100635 w 289792"/>
              <a:gd name="T15" fmla="*/ 3785430 h 288566"/>
              <a:gd name="T16" fmla="*/ 451279 w 289792"/>
              <a:gd name="T17" fmla="*/ 0 h 288566"/>
              <a:gd name="T18" fmla="*/ 953452 w 289792"/>
              <a:gd name="T19" fmla="*/ 2821225 h 288566"/>
              <a:gd name="T20" fmla="*/ 1950624 w 289792"/>
              <a:gd name="T21" fmla="*/ 3349762 h 288566"/>
              <a:gd name="T22" fmla="*/ 3872138 w 289792"/>
              <a:gd name="T23" fmla="*/ 1464189 h 288566"/>
              <a:gd name="T24" fmla="*/ 4549053 w 289792"/>
              <a:gd name="T25" fmla="*/ 1392759 h 288566"/>
              <a:gd name="T26" fmla="*/ 5830063 w 289792"/>
              <a:gd name="T27" fmla="*/ 385654 h 288566"/>
              <a:gd name="T28" fmla="*/ 4483564 w 289792"/>
              <a:gd name="T29" fmla="*/ 1578429 h 288566"/>
              <a:gd name="T30" fmla="*/ 4490808 w 289792"/>
              <a:gd name="T31" fmla="*/ 2599821 h 288566"/>
              <a:gd name="T32" fmla="*/ 1848720 w 289792"/>
              <a:gd name="T33" fmla="*/ 3699716 h 288566"/>
              <a:gd name="T34" fmla="*/ 1018995 w 289792"/>
              <a:gd name="T35" fmla="*/ 3006896 h 288566"/>
              <a:gd name="T36" fmla="*/ 1186388 w 289792"/>
              <a:gd name="T37" fmla="*/ 5213893 h 288566"/>
              <a:gd name="T38" fmla="*/ 1361098 w 289792"/>
              <a:gd name="T39" fmla="*/ 3678297 h 288566"/>
              <a:gd name="T40" fmla="*/ 2008874 w 289792"/>
              <a:gd name="T41" fmla="*/ 3914002 h 288566"/>
              <a:gd name="T42" fmla="*/ 2183526 w 289792"/>
              <a:gd name="T43" fmla="*/ 5213893 h 288566"/>
              <a:gd name="T44" fmla="*/ 2925941 w 289792"/>
              <a:gd name="T45" fmla="*/ 4078263 h 288566"/>
              <a:gd name="T46" fmla="*/ 3668355 w 289792"/>
              <a:gd name="T47" fmla="*/ 5213893 h 288566"/>
              <a:gd name="T48" fmla="*/ 3843057 w 289792"/>
              <a:gd name="T49" fmla="*/ 4056842 h 288566"/>
              <a:gd name="T50" fmla="*/ 4490808 w 289792"/>
              <a:gd name="T51" fmla="*/ 3235494 h 288566"/>
              <a:gd name="T52" fmla="*/ 4672809 w 289792"/>
              <a:gd name="T53" fmla="*/ 5213893 h 288566"/>
              <a:gd name="T54" fmla="*/ 5407933 w 289792"/>
              <a:gd name="T55" fmla="*/ 1042768 h 288566"/>
              <a:gd name="T56" fmla="*/ 5764571 w 289792"/>
              <a:gd name="T57" fmla="*/ 5213893 h 288566"/>
              <a:gd name="T58" fmla="*/ 531331 w 289792"/>
              <a:gd name="T59" fmla="*/ 5392462 h 288566"/>
              <a:gd name="T60" fmla="*/ 356614 w 289792"/>
              <a:gd name="T61" fmla="*/ 5649579 h 288566"/>
              <a:gd name="T62" fmla="*/ 0 w 289792"/>
              <a:gd name="T63" fmla="*/ 5299611 h 288566"/>
              <a:gd name="T64" fmla="*/ 356614 w 289792"/>
              <a:gd name="T65" fmla="*/ 4578239 h 288566"/>
              <a:gd name="T66" fmla="*/ 94664 w 289792"/>
              <a:gd name="T67" fmla="*/ 4399662 h 288566"/>
              <a:gd name="T68" fmla="*/ 94664 w 289792"/>
              <a:gd name="T69" fmla="*/ 3764008 h 288566"/>
              <a:gd name="T70" fmla="*/ 356614 w 289792"/>
              <a:gd name="T71" fmla="*/ 3592579 h 288566"/>
              <a:gd name="T72" fmla="*/ 0 w 289792"/>
              <a:gd name="T73" fmla="*/ 2864042 h 288566"/>
              <a:gd name="T74" fmla="*/ 356614 w 289792"/>
              <a:gd name="T75" fmla="*/ 2142696 h 288566"/>
              <a:gd name="T76" fmla="*/ 94664 w 289792"/>
              <a:gd name="T77" fmla="*/ 1978422 h 288566"/>
              <a:gd name="T78" fmla="*/ 94664 w 289792"/>
              <a:gd name="T79" fmla="*/ 1335619 h 288566"/>
              <a:gd name="T80" fmla="*/ 356614 w 289792"/>
              <a:gd name="T81" fmla="*/ 1164176 h 288566"/>
              <a:gd name="T82" fmla="*/ 0 w 289792"/>
              <a:gd name="T83" fmla="*/ 435639 h 288566"/>
              <a:gd name="T84" fmla="*/ 356614 w 289792"/>
              <a:gd name="T85" fmla="*/ 85665 h 2885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9792" h="288566">
                <a:moveTo>
                  <a:pt x="152375" y="109512"/>
                </a:moveTo>
                <a:cubicBezTo>
                  <a:pt x="140393" y="110225"/>
                  <a:pt x="131316" y="119852"/>
                  <a:pt x="131316" y="131262"/>
                </a:cubicBezTo>
                <a:cubicBezTo>
                  <a:pt x="131316" y="143028"/>
                  <a:pt x="141119" y="152655"/>
                  <a:pt x="153101" y="152655"/>
                </a:cubicBezTo>
                <a:cubicBezTo>
                  <a:pt x="165083" y="152655"/>
                  <a:pt x="174887" y="143384"/>
                  <a:pt x="175250" y="131975"/>
                </a:cubicBezTo>
                <a:cubicBezTo>
                  <a:pt x="173798" y="132331"/>
                  <a:pt x="172345" y="132688"/>
                  <a:pt x="170893" y="132688"/>
                </a:cubicBezTo>
                <a:cubicBezTo>
                  <a:pt x="160363" y="132688"/>
                  <a:pt x="152012" y="124487"/>
                  <a:pt x="152012" y="114147"/>
                </a:cubicBezTo>
                <a:cubicBezTo>
                  <a:pt x="152012" y="112721"/>
                  <a:pt x="152012" y="111295"/>
                  <a:pt x="152375" y="109512"/>
                </a:cubicBezTo>
                <a:close/>
                <a:moveTo>
                  <a:pt x="170893" y="103807"/>
                </a:moveTo>
                <a:cubicBezTo>
                  <a:pt x="165447" y="103807"/>
                  <a:pt x="160726" y="108443"/>
                  <a:pt x="160726" y="114147"/>
                </a:cubicBezTo>
                <a:cubicBezTo>
                  <a:pt x="160726" y="119496"/>
                  <a:pt x="165447" y="124131"/>
                  <a:pt x="170893" y="124131"/>
                </a:cubicBezTo>
                <a:cubicBezTo>
                  <a:pt x="176702" y="124131"/>
                  <a:pt x="181423" y="119496"/>
                  <a:pt x="181423" y="114147"/>
                </a:cubicBezTo>
                <a:cubicBezTo>
                  <a:pt x="181423" y="108443"/>
                  <a:pt x="176702" y="103807"/>
                  <a:pt x="170893" y="103807"/>
                </a:cubicBezTo>
                <a:close/>
                <a:moveTo>
                  <a:pt x="170893" y="95250"/>
                </a:moveTo>
                <a:cubicBezTo>
                  <a:pt x="181423" y="95250"/>
                  <a:pt x="190137" y="103807"/>
                  <a:pt x="190137" y="114147"/>
                </a:cubicBezTo>
                <a:cubicBezTo>
                  <a:pt x="190137" y="119496"/>
                  <a:pt x="187595" y="124487"/>
                  <a:pt x="183964" y="127696"/>
                </a:cubicBezTo>
                <a:cubicBezTo>
                  <a:pt x="183964" y="128766"/>
                  <a:pt x="184327" y="129836"/>
                  <a:pt x="184327" y="131262"/>
                </a:cubicBezTo>
                <a:cubicBezTo>
                  <a:pt x="184327" y="147663"/>
                  <a:pt x="170167" y="161569"/>
                  <a:pt x="153101" y="161569"/>
                </a:cubicBezTo>
                <a:cubicBezTo>
                  <a:pt x="136036" y="161569"/>
                  <a:pt x="122238" y="147663"/>
                  <a:pt x="122238" y="131262"/>
                </a:cubicBezTo>
                <a:cubicBezTo>
                  <a:pt x="122238" y="114860"/>
                  <a:pt x="136036" y="100955"/>
                  <a:pt x="153101" y="100955"/>
                </a:cubicBezTo>
                <a:cubicBezTo>
                  <a:pt x="154554" y="100955"/>
                  <a:pt x="155643" y="100955"/>
                  <a:pt x="157095" y="101311"/>
                </a:cubicBezTo>
                <a:cubicBezTo>
                  <a:pt x="160363" y="97389"/>
                  <a:pt x="165447" y="95250"/>
                  <a:pt x="170893" y="95250"/>
                </a:cubicBezTo>
                <a:close/>
                <a:moveTo>
                  <a:pt x="153547" y="71153"/>
                </a:moveTo>
                <a:cubicBezTo>
                  <a:pt x="120747" y="71153"/>
                  <a:pt x="93714" y="97746"/>
                  <a:pt x="93714" y="130807"/>
                </a:cubicBezTo>
                <a:cubicBezTo>
                  <a:pt x="93714" y="163509"/>
                  <a:pt x="120747" y="190461"/>
                  <a:pt x="153547" y="190461"/>
                </a:cubicBezTo>
                <a:cubicBezTo>
                  <a:pt x="186707" y="190461"/>
                  <a:pt x="213740" y="163509"/>
                  <a:pt x="213740" y="130807"/>
                </a:cubicBezTo>
                <a:cubicBezTo>
                  <a:pt x="213740" y="97746"/>
                  <a:pt x="186707" y="71153"/>
                  <a:pt x="153547" y="71153"/>
                </a:cubicBezTo>
                <a:close/>
                <a:moveTo>
                  <a:pt x="22347" y="0"/>
                </a:moveTo>
                <a:cubicBezTo>
                  <a:pt x="24510" y="0"/>
                  <a:pt x="26312" y="2156"/>
                  <a:pt x="26312" y="4312"/>
                </a:cubicBezTo>
                <a:lnTo>
                  <a:pt x="26312" y="162790"/>
                </a:lnTo>
                <a:lnTo>
                  <a:pt x="47217" y="141947"/>
                </a:lnTo>
                <a:cubicBezTo>
                  <a:pt x="49019" y="140150"/>
                  <a:pt x="51903" y="140150"/>
                  <a:pt x="53705" y="141947"/>
                </a:cubicBezTo>
                <a:lnTo>
                  <a:pt x="88307" y="176446"/>
                </a:lnTo>
                <a:lnTo>
                  <a:pt x="96597" y="168540"/>
                </a:lnTo>
                <a:cubicBezTo>
                  <a:pt x="89388" y="157759"/>
                  <a:pt x="85063" y="144463"/>
                  <a:pt x="85063" y="130807"/>
                </a:cubicBezTo>
                <a:cubicBezTo>
                  <a:pt x="85063" y="93074"/>
                  <a:pt x="115700" y="62528"/>
                  <a:pt x="153547" y="62528"/>
                </a:cubicBezTo>
                <a:cubicBezTo>
                  <a:pt x="167964" y="62528"/>
                  <a:pt x="180940" y="66481"/>
                  <a:pt x="191753" y="73669"/>
                </a:cubicBezTo>
                <a:lnTo>
                  <a:pt x="207252" y="58575"/>
                </a:lnTo>
                <a:cubicBezTo>
                  <a:pt x="209054" y="56779"/>
                  <a:pt x="211938" y="56779"/>
                  <a:pt x="213379" y="58575"/>
                </a:cubicBezTo>
                <a:lnTo>
                  <a:pt x="225274" y="70075"/>
                </a:lnTo>
                <a:lnTo>
                  <a:pt x="282584" y="12937"/>
                </a:lnTo>
                <a:cubicBezTo>
                  <a:pt x="284386" y="11499"/>
                  <a:pt x="286909" y="11499"/>
                  <a:pt x="288711" y="12937"/>
                </a:cubicBezTo>
                <a:cubicBezTo>
                  <a:pt x="290153" y="15093"/>
                  <a:pt x="290153" y="17608"/>
                  <a:pt x="288711" y="19405"/>
                </a:cubicBezTo>
                <a:lnTo>
                  <a:pt x="228157" y="79418"/>
                </a:lnTo>
                <a:cubicBezTo>
                  <a:pt x="227436" y="80496"/>
                  <a:pt x="226355" y="80856"/>
                  <a:pt x="225274" y="80856"/>
                </a:cubicBezTo>
                <a:cubicBezTo>
                  <a:pt x="224193" y="80856"/>
                  <a:pt x="223111" y="80496"/>
                  <a:pt x="222030" y="79418"/>
                </a:cubicBezTo>
                <a:lnTo>
                  <a:pt x="210135" y="67559"/>
                </a:lnTo>
                <a:lnTo>
                  <a:pt x="198601" y="79418"/>
                </a:lnTo>
                <a:cubicBezTo>
                  <a:pt x="213379" y="91996"/>
                  <a:pt x="222390" y="110323"/>
                  <a:pt x="222390" y="130807"/>
                </a:cubicBezTo>
                <a:cubicBezTo>
                  <a:pt x="222390" y="168540"/>
                  <a:pt x="191753" y="199085"/>
                  <a:pt x="153547" y="199085"/>
                </a:cubicBezTo>
                <a:cubicBezTo>
                  <a:pt x="133002" y="199085"/>
                  <a:pt x="114619" y="190101"/>
                  <a:pt x="102004" y="175727"/>
                </a:cubicBezTo>
                <a:lnTo>
                  <a:pt x="91551" y="186148"/>
                </a:lnTo>
                <a:cubicBezTo>
                  <a:pt x="90470" y="186867"/>
                  <a:pt x="89388" y="187226"/>
                  <a:pt x="88307" y="187226"/>
                </a:cubicBezTo>
                <a:cubicBezTo>
                  <a:pt x="87226" y="187226"/>
                  <a:pt x="86145" y="186867"/>
                  <a:pt x="85063" y="186148"/>
                </a:cubicBezTo>
                <a:lnTo>
                  <a:pt x="50461" y="151290"/>
                </a:lnTo>
                <a:lnTo>
                  <a:pt x="26312" y="175368"/>
                </a:lnTo>
                <a:lnTo>
                  <a:pt x="26312" y="262333"/>
                </a:lnTo>
                <a:lnTo>
                  <a:pt x="58751" y="262333"/>
                </a:lnTo>
                <a:lnTo>
                  <a:pt x="58751" y="185070"/>
                </a:lnTo>
                <a:cubicBezTo>
                  <a:pt x="58751" y="182555"/>
                  <a:pt x="60553" y="180758"/>
                  <a:pt x="63077" y="180758"/>
                </a:cubicBezTo>
                <a:cubicBezTo>
                  <a:pt x="65600" y="180758"/>
                  <a:pt x="67402" y="182555"/>
                  <a:pt x="67402" y="185070"/>
                </a:cubicBezTo>
                <a:lnTo>
                  <a:pt x="67402" y="262333"/>
                </a:lnTo>
                <a:lnTo>
                  <a:pt x="99481" y="262333"/>
                </a:lnTo>
                <a:lnTo>
                  <a:pt x="99481" y="196929"/>
                </a:lnTo>
                <a:cubicBezTo>
                  <a:pt x="99481" y="194054"/>
                  <a:pt x="101643" y="192257"/>
                  <a:pt x="104166" y="192257"/>
                </a:cubicBezTo>
                <a:cubicBezTo>
                  <a:pt x="106329" y="192257"/>
                  <a:pt x="108131" y="194054"/>
                  <a:pt x="108131" y="196929"/>
                </a:cubicBezTo>
                <a:lnTo>
                  <a:pt x="108131" y="262333"/>
                </a:lnTo>
                <a:lnTo>
                  <a:pt x="140571" y="262333"/>
                </a:lnTo>
                <a:lnTo>
                  <a:pt x="140571" y="209507"/>
                </a:lnTo>
                <a:cubicBezTo>
                  <a:pt x="140571" y="206991"/>
                  <a:pt x="142734" y="205194"/>
                  <a:pt x="144896" y="205194"/>
                </a:cubicBezTo>
                <a:cubicBezTo>
                  <a:pt x="147419" y="205194"/>
                  <a:pt x="149221" y="206991"/>
                  <a:pt x="149221" y="209507"/>
                </a:cubicBezTo>
                <a:lnTo>
                  <a:pt x="149221" y="262333"/>
                </a:lnTo>
                <a:lnTo>
                  <a:pt x="181661" y="262333"/>
                </a:lnTo>
                <a:lnTo>
                  <a:pt x="181661" y="204116"/>
                </a:lnTo>
                <a:cubicBezTo>
                  <a:pt x="181661" y="201601"/>
                  <a:pt x="183463" y="199804"/>
                  <a:pt x="185626" y="199804"/>
                </a:cubicBezTo>
                <a:cubicBezTo>
                  <a:pt x="188149" y="199804"/>
                  <a:pt x="190311" y="201601"/>
                  <a:pt x="190311" y="204116"/>
                </a:cubicBezTo>
                <a:lnTo>
                  <a:pt x="190311" y="262333"/>
                </a:lnTo>
                <a:lnTo>
                  <a:pt x="222390" y="262333"/>
                </a:lnTo>
                <a:lnTo>
                  <a:pt x="222390" y="162790"/>
                </a:lnTo>
                <a:cubicBezTo>
                  <a:pt x="222390" y="160634"/>
                  <a:pt x="224193" y="158837"/>
                  <a:pt x="226716" y="158837"/>
                </a:cubicBezTo>
                <a:cubicBezTo>
                  <a:pt x="229239" y="158837"/>
                  <a:pt x="231401" y="160634"/>
                  <a:pt x="231401" y="162790"/>
                </a:cubicBezTo>
                <a:lnTo>
                  <a:pt x="231401" y="262333"/>
                </a:lnTo>
                <a:lnTo>
                  <a:pt x="263480" y="262333"/>
                </a:lnTo>
                <a:lnTo>
                  <a:pt x="263480" y="56779"/>
                </a:lnTo>
                <a:cubicBezTo>
                  <a:pt x="263480" y="54623"/>
                  <a:pt x="265282" y="52466"/>
                  <a:pt x="267806" y="52466"/>
                </a:cubicBezTo>
                <a:cubicBezTo>
                  <a:pt x="270329" y="52466"/>
                  <a:pt x="272131" y="54623"/>
                  <a:pt x="272131" y="56779"/>
                </a:cubicBezTo>
                <a:lnTo>
                  <a:pt x="272131" y="262333"/>
                </a:lnTo>
                <a:lnTo>
                  <a:pt x="285467" y="262333"/>
                </a:lnTo>
                <a:cubicBezTo>
                  <a:pt x="287990" y="262333"/>
                  <a:pt x="289792" y="264129"/>
                  <a:pt x="289792" y="266645"/>
                </a:cubicBezTo>
                <a:cubicBezTo>
                  <a:pt x="289792" y="269160"/>
                  <a:pt x="287990" y="271317"/>
                  <a:pt x="285467" y="271317"/>
                </a:cubicBezTo>
                <a:lnTo>
                  <a:pt x="26312" y="271317"/>
                </a:lnTo>
                <a:lnTo>
                  <a:pt x="26312" y="284253"/>
                </a:lnTo>
                <a:cubicBezTo>
                  <a:pt x="26312" y="286769"/>
                  <a:pt x="24510" y="288566"/>
                  <a:pt x="22347" y="288566"/>
                </a:cubicBezTo>
                <a:cubicBezTo>
                  <a:pt x="19464" y="288566"/>
                  <a:pt x="17661" y="286769"/>
                  <a:pt x="17661" y="284253"/>
                </a:cubicBezTo>
                <a:lnTo>
                  <a:pt x="17661" y="271317"/>
                </a:lnTo>
                <a:lnTo>
                  <a:pt x="4686" y="271317"/>
                </a:lnTo>
                <a:cubicBezTo>
                  <a:pt x="2163" y="271317"/>
                  <a:pt x="0" y="269160"/>
                  <a:pt x="0" y="266645"/>
                </a:cubicBezTo>
                <a:cubicBezTo>
                  <a:pt x="0" y="264129"/>
                  <a:pt x="2163" y="262333"/>
                  <a:pt x="4686" y="262333"/>
                </a:cubicBezTo>
                <a:lnTo>
                  <a:pt x="17661" y="262333"/>
                </a:lnTo>
                <a:lnTo>
                  <a:pt x="17661" y="230350"/>
                </a:lnTo>
                <a:lnTo>
                  <a:pt x="4686" y="230350"/>
                </a:lnTo>
                <a:cubicBezTo>
                  <a:pt x="2163" y="230350"/>
                  <a:pt x="0" y="228193"/>
                  <a:pt x="0" y="226037"/>
                </a:cubicBezTo>
                <a:cubicBezTo>
                  <a:pt x="0" y="223522"/>
                  <a:pt x="2163" y="221366"/>
                  <a:pt x="4686" y="221366"/>
                </a:cubicBezTo>
                <a:lnTo>
                  <a:pt x="17661" y="221366"/>
                </a:lnTo>
                <a:lnTo>
                  <a:pt x="17661" y="189383"/>
                </a:lnTo>
                <a:lnTo>
                  <a:pt x="4686" y="189383"/>
                </a:lnTo>
                <a:cubicBezTo>
                  <a:pt x="2163" y="189383"/>
                  <a:pt x="0" y="187226"/>
                  <a:pt x="0" y="185070"/>
                </a:cubicBezTo>
                <a:cubicBezTo>
                  <a:pt x="0" y="182555"/>
                  <a:pt x="2163" y="180758"/>
                  <a:pt x="4686" y="180758"/>
                </a:cubicBezTo>
                <a:lnTo>
                  <a:pt x="17661" y="180758"/>
                </a:lnTo>
                <a:lnTo>
                  <a:pt x="17661" y="148416"/>
                </a:lnTo>
                <a:lnTo>
                  <a:pt x="4686" y="148416"/>
                </a:lnTo>
                <a:cubicBezTo>
                  <a:pt x="2163" y="148416"/>
                  <a:pt x="0" y="146619"/>
                  <a:pt x="0" y="144103"/>
                </a:cubicBezTo>
                <a:cubicBezTo>
                  <a:pt x="0" y="141947"/>
                  <a:pt x="2163" y="139791"/>
                  <a:pt x="4686" y="139791"/>
                </a:cubicBezTo>
                <a:lnTo>
                  <a:pt x="17661" y="139791"/>
                </a:lnTo>
                <a:lnTo>
                  <a:pt x="17661" y="107808"/>
                </a:lnTo>
                <a:lnTo>
                  <a:pt x="4686" y="107808"/>
                </a:lnTo>
                <a:cubicBezTo>
                  <a:pt x="2163" y="107808"/>
                  <a:pt x="0" y="106011"/>
                  <a:pt x="0" y="103496"/>
                </a:cubicBezTo>
                <a:cubicBezTo>
                  <a:pt x="0" y="101339"/>
                  <a:pt x="2163" y="99543"/>
                  <a:pt x="4686" y="99543"/>
                </a:cubicBezTo>
                <a:lnTo>
                  <a:pt x="17661" y="99543"/>
                </a:lnTo>
                <a:lnTo>
                  <a:pt x="17661" y="67200"/>
                </a:lnTo>
                <a:lnTo>
                  <a:pt x="4686" y="67200"/>
                </a:lnTo>
                <a:cubicBezTo>
                  <a:pt x="2163" y="67200"/>
                  <a:pt x="0" y="65044"/>
                  <a:pt x="0" y="62888"/>
                </a:cubicBezTo>
                <a:cubicBezTo>
                  <a:pt x="0" y="60372"/>
                  <a:pt x="2163" y="58575"/>
                  <a:pt x="4686" y="58575"/>
                </a:cubicBezTo>
                <a:lnTo>
                  <a:pt x="17661" y="58575"/>
                </a:lnTo>
                <a:lnTo>
                  <a:pt x="17661" y="26233"/>
                </a:lnTo>
                <a:lnTo>
                  <a:pt x="4686" y="26233"/>
                </a:lnTo>
                <a:cubicBezTo>
                  <a:pt x="2163" y="26233"/>
                  <a:pt x="0" y="24436"/>
                  <a:pt x="0" y="21921"/>
                </a:cubicBezTo>
                <a:cubicBezTo>
                  <a:pt x="0" y="19405"/>
                  <a:pt x="2163" y="17249"/>
                  <a:pt x="4686" y="17249"/>
                </a:cubicBezTo>
                <a:lnTo>
                  <a:pt x="17661" y="17249"/>
                </a:lnTo>
                <a:lnTo>
                  <a:pt x="17661" y="4312"/>
                </a:lnTo>
                <a:cubicBezTo>
                  <a:pt x="17661" y="2156"/>
                  <a:pt x="19464" y="0"/>
                  <a:pt x="22347" y="0"/>
                </a:cubicBezTo>
                <a:close/>
              </a:path>
            </a:pathLst>
          </a:custGeom>
          <a:solidFill>
            <a:schemeClr val="bg1"/>
          </a:solidFill>
          <a:ln>
            <a:noFill/>
          </a:ln>
          <a:effectLst/>
        </p:spPr>
        <p:txBody>
          <a:bodyPr anchor="ctr"/>
          <a:lstStyle/>
          <a:p>
            <a:endParaRPr lang="en-US" sz="900"/>
          </a:p>
        </p:txBody>
      </p:sp>
      <p:sp>
        <p:nvSpPr>
          <p:cNvPr id="45" name="Freeform 982">
            <a:extLst>
              <a:ext uri="{FF2B5EF4-FFF2-40B4-BE49-F238E27FC236}">
                <a16:creationId xmlns:a16="http://schemas.microsoft.com/office/drawing/2014/main" id="{1378C4DD-4A30-DC13-1C6B-D4742C5FB2E0}"/>
              </a:ext>
            </a:extLst>
          </p:cNvPr>
          <p:cNvSpPr>
            <a:spLocks noChangeAspect="1" noChangeArrowheads="1"/>
          </p:cNvSpPr>
          <p:nvPr/>
        </p:nvSpPr>
        <p:spPr bwMode="auto">
          <a:xfrm>
            <a:off x="6668073" y="1846162"/>
            <a:ext cx="388957" cy="386615"/>
          </a:xfrm>
          <a:custGeom>
            <a:avLst/>
            <a:gdLst>
              <a:gd name="T0" fmla="*/ 1308782 w 290152"/>
              <a:gd name="T1" fmla="*/ 4310605 h 288566"/>
              <a:gd name="T2" fmla="*/ 1601487 w 290152"/>
              <a:gd name="T3" fmla="*/ 4267358 h 288566"/>
              <a:gd name="T4" fmla="*/ 1601487 w 290152"/>
              <a:gd name="T5" fmla="*/ 4728286 h 288566"/>
              <a:gd name="T6" fmla="*/ 1308782 w 290152"/>
              <a:gd name="T7" fmla="*/ 4562654 h 288566"/>
              <a:gd name="T8" fmla="*/ 1016045 w 290152"/>
              <a:gd name="T9" fmla="*/ 4728286 h 288566"/>
              <a:gd name="T10" fmla="*/ 1016045 w 290152"/>
              <a:gd name="T11" fmla="*/ 4267358 h 288566"/>
              <a:gd name="T12" fmla="*/ 747483 w 290152"/>
              <a:gd name="T13" fmla="*/ 3929426 h 288566"/>
              <a:gd name="T14" fmla="*/ 1817059 w 290152"/>
              <a:gd name="T15" fmla="*/ 4996635 h 288566"/>
              <a:gd name="T16" fmla="*/ 1817059 w 290152"/>
              <a:gd name="T17" fmla="*/ 3893847 h 288566"/>
              <a:gd name="T18" fmla="*/ 4376425 w 290152"/>
              <a:gd name="T19" fmla="*/ 3804863 h 288566"/>
              <a:gd name="T20" fmla="*/ 4681180 w 290152"/>
              <a:gd name="T21" fmla="*/ 4111609 h 288566"/>
              <a:gd name="T22" fmla="*/ 776018 w 290152"/>
              <a:gd name="T23" fmla="*/ 3723113 h 288566"/>
              <a:gd name="T24" fmla="*/ 2016672 w 290152"/>
              <a:gd name="T25" fmla="*/ 4968173 h 288566"/>
              <a:gd name="T26" fmla="*/ 569243 w 290152"/>
              <a:gd name="T27" fmla="*/ 4968173 h 288566"/>
              <a:gd name="T28" fmla="*/ 4528813 w 290152"/>
              <a:gd name="T29" fmla="*/ 3571255 h 288566"/>
              <a:gd name="T30" fmla="*/ 4532357 w 290152"/>
              <a:gd name="T31" fmla="*/ 4346988 h 288566"/>
              <a:gd name="T32" fmla="*/ 4255926 w 290152"/>
              <a:gd name="T33" fmla="*/ 3683600 h 288566"/>
              <a:gd name="T34" fmla="*/ 3366559 w 290152"/>
              <a:gd name="T35" fmla="*/ 2783182 h 288566"/>
              <a:gd name="T36" fmla="*/ 3673965 w 290152"/>
              <a:gd name="T37" fmla="*/ 3099823 h 288566"/>
              <a:gd name="T38" fmla="*/ 4805856 w 290152"/>
              <a:gd name="T39" fmla="*/ 2584137 h 288566"/>
              <a:gd name="T40" fmla="*/ 3289470 w 290152"/>
              <a:gd name="T41" fmla="*/ 4325688 h 288566"/>
              <a:gd name="T42" fmla="*/ 3159514 w 290152"/>
              <a:gd name="T43" fmla="*/ 4204877 h 288566"/>
              <a:gd name="T44" fmla="*/ 3795529 w 290152"/>
              <a:gd name="T45" fmla="*/ 2668049 h 288566"/>
              <a:gd name="T46" fmla="*/ 3244998 w 290152"/>
              <a:gd name="T47" fmla="*/ 3222160 h 288566"/>
              <a:gd name="T48" fmla="*/ 3520263 w 290152"/>
              <a:gd name="T49" fmla="*/ 2560110 h 288566"/>
              <a:gd name="T50" fmla="*/ 1378066 w 290152"/>
              <a:gd name="T51" fmla="*/ 2375316 h 288566"/>
              <a:gd name="T52" fmla="*/ 1576709 w 290152"/>
              <a:gd name="T53" fmla="*/ 2546748 h 288566"/>
              <a:gd name="T54" fmla="*/ 1292985 w 290152"/>
              <a:gd name="T55" fmla="*/ 2832497 h 288566"/>
              <a:gd name="T56" fmla="*/ 1002204 w 290152"/>
              <a:gd name="T57" fmla="*/ 2546748 h 288566"/>
              <a:gd name="T58" fmla="*/ 1200750 w 290152"/>
              <a:gd name="T59" fmla="*/ 2375316 h 288566"/>
              <a:gd name="T60" fmla="*/ 4061636 w 290152"/>
              <a:gd name="T61" fmla="*/ 1921299 h 288566"/>
              <a:gd name="T62" fmla="*/ 5607190 w 290152"/>
              <a:gd name="T63" fmla="*/ 3449715 h 288566"/>
              <a:gd name="T64" fmla="*/ 747483 w 290152"/>
              <a:gd name="T65" fmla="*/ 1935514 h 288566"/>
              <a:gd name="T66" fmla="*/ 1817059 w 290152"/>
              <a:gd name="T67" fmla="*/ 3007978 h 288566"/>
              <a:gd name="T68" fmla="*/ 1817059 w 290152"/>
              <a:gd name="T69" fmla="*/ 1906939 h 288566"/>
              <a:gd name="T70" fmla="*/ 1817059 w 290152"/>
              <a:gd name="T71" fmla="*/ 1735342 h 288566"/>
              <a:gd name="T72" fmla="*/ 1817059 w 290152"/>
              <a:gd name="T73" fmla="*/ 3179564 h 288566"/>
              <a:gd name="T74" fmla="*/ 569243 w 290152"/>
              <a:gd name="T75" fmla="*/ 1935514 h 288566"/>
              <a:gd name="T76" fmla="*/ 172546 w 290152"/>
              <a:gd name="T77" fmla="*/ 1599875 h 288566"/>
              <a:gd name="T78" fmla="*/ 4176649 w 290152"/>
              <a:gd name="T79" fmla="*/ 5563861 h 288566"/>
              <a:gd name="T80" fmla="*/ 4061636 w 290152"/>
              <a:gd name="T81" fmla="*/ 5163883 h 288566"/>
              <a:gd name="T82" fmla="*/ 4435440 w 290152"/>
              <a:gd name="T83" fmla="*/ 1792702 h 288566"/>
              <a:gd name="T84" fmla="*/ 438459 w 290152"/>
              <a:gd name="T85" fmla="*/ 1335619 h 288566"/>
              <a:gd name="T86" fmla="*/ 4008735 w 290152"/>
              <a:gd name="T87" fmla="*/ 666113 h 288566"/>
              <a:gd name="T88" fmla="*/ 3855514 w 290152"/>
              <a:gd name="T89" fmla="*/ 722143 h 288566"/>
              <a:gd name="T90" fmla="*/ 2679067 w 290152"/>
              <a:gd name="T91" fmla="*/ 603012 h 288566"/>
              <a:gd name="T92" fmla="*/ 2815641 w 290152"/>
              <a:gd name="T93" fmla="*/ 722143 h 288566"/>
              <a:gd name="T94" fmla="*/ 2656266 w 290152"/>
              <a:gd name="T95" fmla="*/ 666113 h 288566"/>
              <a:gd name="T96" fmla="*/ 3439265 w 290152"/>
              <a:gd name="T97" fmla="*/ 690306 h 288566"/>
              <a:gd name="T98" fmla="*/ 3348195 w 290152"/>
              <a:gd name="T99" fmla="*/ 599512 h 288566"/>
              <a:gd name="T100" fmla="*/ 172546 w 290152"/>
              <a:gd name="T101" fmla="*/ 899928 h 288566"/>
              <a:gd name="T102" fmla="*/ 4435440 w 290152"/>
              <a:gd name="T103" fmla="*/ 899928 h 288566"/>
              <a:gd name="T104" fmla="*/ 438459 w 290152"/>
              <a:gd name="T105" fmla="*/ 171456 h 288566"/>
              <a:gd name="T106" fmla="*/ 4615139 w 290152"/>
              <a:gd name="T107" fmla="*/ 435639 h 288566"/>
              <a:gd name="T108" fmla="*/ 4615139 w 290152"/>
              <a:gd name="T109" fmla="*/ 1599875 h 288566"/>
              <a:gd name="T110" fmla="*/ 4615139 w 290152"/>
              <a:gd name="T111" fmla="*/ 5071032 h 288566"/>
              <a:gd name="T112" fmla="*/ 438459 w 290152"/>
              <a:gd name="T113" fmla="*/ 5735275 h 288566"/>
              <a:gd name="T114" fmla="*/ 179690 w 290152"/>
              <a:gd name="T115" fmla="*/ 1249909 h 288566"/>
              <a:gd name="T116" fmla="*/ 438459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sz="900"/>
          </a:p>
        </p:txBody>
      </p:sp>
      <p:sp>
        <p:nvSpPr>
          <p:cNvPr id="46" name="Freeform 983">
            <a:extLst>
              <a:ext uri="{FF2B5EF4-FFF2-40B4-BE49-F238E27FC236}">
                <a16:creationId xmlns:a16="http://schemas.microsoft.com/office/drawing/2014/main" id="{8D927CF4-2EF3-5D6A-A0B0-42F328693933}"/>
              </a:ext>
            </a:extLst>
          </p:cNvPr>
          <p:cNvSpPr>
            <a:spLocks noChangeAspect="1" noChangeArrowheads="1"/>
          </p:cNvSpPr>
          <p:nvPr/>
        </p:nvSpPr>
        <p:spPr bwMode="auto">
          <a:xfrm>
            <a:off x="5137031" y="4013433"/>
            <a:ext cx="388957" cy="386615"/>
          </a:xfrm>
          <a:custGeom>
            <a:avLst/>
            <a:gdLst>
              <a:gd name="T0" fmla="*/ 3320676 w 290151"/>
              <a:gd name="T1" fmla="*/ 5237588 h 288566"/>
              <a:gd name="T2" fmla="*/ 3320676 w 290151"/>
              <a:gd name="T3" fmla="*/ 5419633 h 288566"/>
              <a:gd name="T4" fmla="*/ 2403354 w 290151"/>
              <a:gd name="T5" fmla="*/ 5324964 h 288566"/>
              <a:gd name="T6" fmla="*/ 172546 w 290151"/>
              <a:gd name="T7" fmla="*/ 5042488 h 288566"/>
              <a:gd name="T8" fmla="*/ 438512 w 290151"/>
              <a:gd name="T9" fmla="*/ 5563861 h 288566"/>
              <a:gd name="T10" fmla="*/ 5600171 w 290151"/>
              <a:gd name="T11" fmla="*/ 5299611 h 288566"/>
              <a:gd name="T12" fmla="*/ 172546 w 290151"/>
              <a:gd name="T13" fmla="*/ 5042488 h 288566"/>
              <a:gd name="T14" fmla="*/ 229988 w 290151"/>
              <a:gd name="T15" fmla="*/ 4863919 h 288566"/>
              <a:gd name="T16" fmla="*/ 5168834 w 290151"/>
              <a:gd name="T17" fmla="*/ 4113980 h 288566"/>
              <a:gd name="T18" fmla="*/ 3518362 w 290151"/>
              <a:gd name="T19" fmla="*/ 1703448 h 288566"/>
              <a:gd name="T20" fmla="*/ 3754004 w 290151"/>
              <a:gd name="T21" fmla="*/ 3134866 h 288566"/>
              <a:gd name="T22" fmla="*/ 3518362 w 290151"/>
              <a:gd name="T23" fmla="*/ 1703448 h 288566"/>
              <a:gd name="T24" fmla="*/ 2597199 w 290151"/>
              <a:gd name="T25" fmla="*/ 3134866 h 288566"/>
              <a:gd name="T26" fmla="*/ 3347000 w 290151"/>
              <a:gd name="T27" fmla="*/ 1703448 h 288566"/>
              <a:gd name="T28" fmla="*/ 1668876 w 290151"/>
              <a:gd name="T29" fmla="*/ 1703448 h 288566"/>
              <a:gd name="T30" fmla="*/ 2418663 w 290151"/>
              <a:gd name="T31" fmla="*/ 3134866 h 288566"/>
              <a:gd name="T32" fmla="*/ 1668876 w 290151"/>
              <a:gd name="T33" fmla="*/ 1703448 h 288566"/>
              <a:gd name="T34" fmla="*/ 2418663 w 290151"/>
              <a:gd name="T35" fmla="*/ 848799 h 288566"/>
              <a:gd name="T36" fmla="*/ 1854556 w 290151"/>
              <a:gd name="T37" fmla="*/ 1525400 h 288566"/>
              <a:gd name="T38" fmla="*/ 3354097 w 290151"/>
              <a:gd name="T39" fmla="*/ 977000 h 288566"/>
              <a:gd name="T40" fmla="*/ 3475515 w 290151"/>
              <a:gd name="T41" fmla="*/ 848799 h 288566"/>
              <a:gd name="T42" fmla="*/ 4453816 w 290151"/>
              <a:gd name="T43" fmla="*/ 1525400 h 288566"/>
              <a:gd name="T44" fmla="*/ 4453816 w 290151"/>
              <a:gd name="T45" fmla="*/ 1703448 h 288566"/>
              <a:gd name="T46" fmla="*/ 3903975 w 290151"/>
              <a:gd name="T47" fmla="*/ 3241707 h 288566"/>
              <a:gd name="T48" fmla="*/ 1961686 w 290151"/>
              <a:gd name="T49" fmla="*/ 3305796 h 288566"/>
              <a:gd name="T50" fmla="*/ 1483246 w 290151"/>
              <a:gd name="T51" fmla="*/ 1703448 h 288566"/>
              <a:gd name="T52" fmla="*/ 1233295 w 290151"/>
              <a:gd name="T53" fmla="*/ 1617981 h 288566"/>
              <a:gd name="T54" fmla="*/ 1604626 w 290151"/>
              <a:gd name="T55" fmla="*/ 1525400 h 288566"/>
              <a:gd name="T56" fmla="*/ 905814 w 290151"/>
              <a:gd name="T57" fmla="*/ 171456 h 288566"/>
              <a:gd name="T58" fmla="*/ 639795 w 290151"/>
              <a:gd name="T59" fmla="*/ 3935420 h 288566"/>
              <a:gd name="T60" fmla="*/ 5140088 w 290151"/>
              <a:gd name="T61" fmla="*/ 435639 h 288566"/>
              <a:gd name="T62" fmla="*/ 905814 w 290151"/>
              <a:gd name="T63" fmla="*/ 171456 h 288566"/>
              <a:gd name="T64" fmla="*/ 4874094 w 290151"/>
              <a:gd name="T65" fmla="*/ 0 h 288566"/>
              <a:gd name="T66" fmla="*/ 5312618 w 290151"/>
              <a:gd name="T67" fmla="*/ 4006832 h 288566"/>
              <a:gd name="T68" fmla="*/ 5779869 w 290151"/>
              <a:gd name="T69" fmla="*/ 4956770 h 288566"/>
              <a:gd name="T70" fmla="*/ 5341368 w 290151"/>
              <a:gd name="T71" fmla="*/ 5735275 h 288566"/>
              <a:gd name="T72" fmla="*/ 0 w 290151"/>
              <a:gd name="T73" fmla="*/ 5299611 h 288566"/>
              <a:gd name="T74" fmla="*/ 7144 w 290151"/>
              <a:gd name="T75" fmla="*/ 4913916 h 288566"/>
              <a:gd name="T76" fmla="*/ 467234 w 290151"/>
              <a:gd name="T77" fmla="*/ 435639 h 2885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0151" h="288566">
                <a:moveTo>
                  <a:pt x="125036" y="263525"/>
                </a:moveTo>
                <a:lnTo>
                  <a:pt x="166699" y="263525"/>
                </a:lnTo>
                <a:cubicBezTo>
                  <a:pt x="169257" y="263525"/>
                  <a:pt x="171085" y="265357"/>
                  <a:pt x="171085" y="267921"/>
                </a:cubicBezTo>
                <a:cubicBezTo>
                  <a:pt x="171085" y="270486"/>
                  <a:pt x="169257" y="272684"/>
                  <a:pt x="166699" y="272684"/>
                </a:cubicBezTo>
                <a:lnTo>
                  <a:pt x="125036" y="272684"/>
                </a:lnTo>
                <a:cubicBezTo>
                  <a:pt x="122478" y="272684"/>
                  <a:pt x="120650" y="270486"/>
                  <a:pt x="120650" y="267921"/>
                </a:cubicBezTo>
                <a:cubicBezTo>
                  <a:pt x="120650" y="265357"/>
                  <a:pt x="122478" y="263525"/>
                  <a:pt x="125036" y="263525"/>
                </a:cubicBezTo>
                <a:close/>
                <a:moveTo>
                  <a:pt x="8661" y="253708"/>
                </a:moveTo>
                <a:lnTo>
                  <a:pt x="8661" y="266645"/>
                </a:lnTo>
                <a:cubicBezTo>
                  <a:pt x="8661" y="273832"/>
                  <a:pt x="14435" y="279941"/>
                  <a:pt x="22014" y="279941"/>
                </a:cubicBezTo>
                <a:lnTo>
                  <a:pt x="268137" y="279941"/>
                </a:lnTo>
                <a:cubicBezTo>
                  <a:pt x="275355" y="279941"/>
                  <a:pt x="281129" y="273832"/>
                  <a:pt x="281129" y="266645"/>
                </a:cubicBezTo>
                <a:lnTo>
                  <a:pt x="281129" y="253708"/>
                </a:lnTo>
                <a:lnTo>
                  <a:pt x="8661" y="253708"/>
                </a:lnTo>
                <a:close/>
                <a:moveTo>
                  <a:pt x="30314" y="206991"/>
                </a:moveTo>
                <a:lnTo>
                  <a:pt x="11548" y="244724"/>
                </a:lnTo>
                <a:lnTo>
                  <a:pt x="278603" y="244724"/>
                </a:lnTo>
                <a:lnTo>
                  <a:pt x="259476" y="206991"/>
                </a:lnTo>
                <a:lnTo>
                  <a:pt x="30314" y="206991"/>
                </a:lnTo>
                <a:close/>
                <a:moveTo>
                  <a:pt x="176622" y="85707"/>
                </a:moveTo>
                <a:lnTo>
                  <a:pt x="168377" y="157729"/>
                </a:lnTo>
                <a:lnTo>
                  <a:pt x="188452" y="157729"/>
                </a:lnTo>
                <a:lnTo>
                  <a:pt x="206375" y="85707"/>
                </a:lnTo>
                <a:lnTo>
                  <a:pt x="176622" y="85707"/>
                </a:lnTo>
                <a:close/>
                <a:moveTo>
                  <a:pt x="122135" y="85707"/>
                </a:moveTo>
                <a:lnTo>
                  <a:pt x="130380" y="157729"/>
                </a:lnTo>
                <a:lnTo>
                  <a:pt x="159774" y="157729"/>
                </a:lnTo>
                <a:lnTo>
                  <a:pt x="168019" y="85707"/>
                </a:lnTo>
                <a:lnTo>
                  <a:pt x="122135" y="85707"/>
                </a:lnTo>
                <a:close/>
                <a:moveTo>
                  <a:pt x="83779" y="85707"/>
                </a:moveTo>
                <a:lnTo>
                  <a:pt x="101702" y="157729"/>
                </a:lnTo>
                <a:lnTo>
                  <a:pt x="121418" y="157729"/>
                </a:lnTo>
                <a:lnTo>
                  <a:pt x="113532" y="85707"/>
                </a:lnTo>
                <a:lnTo>
                  <a:pt x="83779" y="85707"/>
                </a:lnTo>
                <a:close/>
                <a:moveTo>
                  <a:pt x="115324" y="42708"/>
                </a:moveTo>
                <a:cubicBezTo>
                  <a:pt x="117116" y="41275"/>
                  <a:pt x="119984" y="41275"/>
                  <a:pt x="121418" y="42708"/>
                </a:cubicBezTo>
                <a:cubicBezTo>
                  <a:pt x="123210" y="44500"/>
                  <a:pt x="123210" y="47367"/>
                  <a:pt x="121418" y="49158"/>
                </a:cubicBezTo>
                <a:lnTo>
                  <a:pt x="93099" y="76749"/>
                </a:lnTo>
                <a:lnTo>
                  <a:pt x="197055" y="76749"/>
                </a:lnTo>
                <a:lnTo>
                  <a:pt x="168377" y="49158"/>
                </a:lnTo>
                <a:cubicBezTo>
                  <a:pt x="166944" y="47367"/>
                  <a:pt x="166944" y="44500"/>
                  <a:pt x="168377" y="42708"/>
                </a:cubicBezTo>
                <a:cubicBezTo>
                  <a:pt x="170170" y="41275"/>
                  <a:pt x="173038" y="41275"/>
                  <a:pt x="174471" y="42708"/>
                </a:cubicBezTo>
                <a:lnTo>
                  <a:pt x="209243" y="76749"/>
                </a:lnTo>
                <a:lnTo>
                  <a:pt x="223582" y="76749"/>
                </a:lnTo>
                <a:cubicBezTo>
                  <a:pt x="226091" y="76749"/>
                  <a:pt x="228242" y="78899"/>
                  <a:pt x="228242" y="81407"/>
                </a:cubicBezTo>
                <a:cubicBezTo>
                  <a:pt x="228242" y="83915"/>
                  <a:pt x="226091" y="85707"/>
                  <a:pt x="223582" y="85707"/>
                </a:cubicBezTo>
                <a:lnTo>
                  <a:pt x="215337" y="85707"/>
                </a:lnTo>
                <a:lnTo>
                  <a:pt x="195980" y="163104"/>
                </a:lnTo>
                <a:cubicBezTo>
                  <a:pt x="195621" y="164896"/>
                  <a:pt x="193470" y="166329"/>
                  <a:pt x="191678" y="166329"/>
                </a:cubicBezTo>
                <a:lnTo>
                  <a:pt x="98476" y="166329"/>
                </a:lnTo>
                <a:cubicBezTo>
                  <a:pt x="96325" y="166329"/>
                  <a:pt x="94533" y="164896"/>
                  <a:pt x="94174" y="163104"/>
                </a:cubicBezTo>
                <a:lnTo>
                  <a:pt x="74459" y="85707"/>
                </a:lnTo>
                <a:lnTo>
                  <a:pt x="66572" y="85707"/>
                </a:lnTo>
                <a:cubicBezTo>
                  <a:pt x="64063" y="85707"/>
                  <a:pt x="61912" y="83915"/>
                  <a:pt x="61912" y="81407"/>
                </a:cubicBezTo>
                <a:cubicBezTo>
                  <a:pt x="61912" y="78899"/>
                  <a:pt x="64063" y="76749"/>
                  <a:pt x="66572" y="76749"/>
                </a:cubicBezTo>
                <a:lnTo>
                  <a:pt x="80553" y="76749"/>
                </a:lnTo>
                <a:lnTo>
                  <a:pt x="115324" y="42708"/>
                </a:lnTo>
                <a:close/>
                <a:moveTo>
                  <a:pt x="45471" y="8625"/>
                </a:moveTo>
                <a:cubicBezTo>
                  <a:pt x="38254" y="8625"/>
                  <a:pt x="32118" y="14734"/>
                  <a:pt x="32118" y="21921"/>
                </a:cubicBezTo>
                <a:lnTo>
                  <a:pt x="32118" y="198007"/>
                </a:lnTo>
                <a:lnTo>
                  <a:pt x="258033" y="198007"/>
                </a:lnTo>
                <a:lnTo>
                  <a:pt x="258033" y="21921"/>
                </a:lnTo>
                <a:cubicBezTo>
                  <a:pt x="258033" y="14734"/>
                  <a:pt x="251898" y="8625"/>
                  <a:pt x="244680" y="8625"/>
                </a:cubicBezTo>
                <a:lnTo>
                  <a:pt x="45471" y="8625"/>
                </a:lnTo>
                <a:close/>
                <a:moveTo>
                  <a:pt x="45471" y="0"/>
                </a:moveTo>
                <a:lnTo>
                  <a:pt x="244680" y="0"/>
                </a:lnTo>
                <a:cubicBezTo>
                  <a:pt x="256950" y="0"/>
                  <a:pt x="266694" y="9703"/>
                  <a:pt x="266694" y="21921"/>
                </a:cubicBezTo>
                <a:lnTo>
                  <a:pt x="266694" y="201601"/>
                </a:lnTo>
                <a:lnTo>
                  <a:pt x="289790" y="247239"/>
                </a:lnTo>
                <a:cubicBezTo>
                  <a:pt x="289790" y="247958"/>
                  <a:pt x="290151" y="248677"/>
                  <a:pt x="290151" y="249396"/>
                </a:cubicBezTo>
                <a:lnTo>
                  <a:pt x="290151" y="266645"/>
                </a:lnTo>
                <a:cubicBezTo>
                  <a:pt x="290151" y="278863"/>
                  <a:pt x="280047" y="288566"/>
                  <a:pt x="268137" y="288566"/>
                </a:cubicBezTo>
                <a:lnTo>
                  <a:pt x="22014" y="288566"/>
                </a:lnTo>
                <a:cubicBezTo>
                  <a:pt x="9744" y="288566"/>
                  <a:pt x="0" y="278863"/>
                  <a:pt x="0" y="266645"/>
                </a:cubicBezTo>
                <a:lnTo>
                  <a:pt x="0" y="249396"/>
                </a:lnTo>
                <a:cubicBezTo>
                  <a:pt x="0" y="248677"/>
                  <a:pt x="0" y="247958"/>
                  <a:pt x="361" y="247239"/>
                </a:cubicBezTo>
                <a:lnTo>
                  <a:pt x="23457" y="201601"/>
                </a:lnTo>
                <a:lnTo>
                  <a:pt x="23457" y="21921"/>
                </a:lnTo>
                <a:cubicBezTo>
                  <a:pt x="23457" y="9703"/>
                  <a:pt x="33201" y="0"/>
                  <a:pt x="45471" y="0"/>
                </a:cubicBezTo>
                <a:close/>
              </a:path>
            </a:pathLst>
          </a:custGeom>
          <a:solidFill>
            <a:schemeClr val="bg1"/>
          </a:solidFill>
          <a:ln>
            <a:noFill/>
          </a:ln>
          <a:effectLst/>
        </p:spPr>
        <p:txBody>
          <a:bodyPr anchor="ctr"/>
          <a:lstStyle/>
          <a:p>
            <a:endParaRPr lang="en-US" sz="900"/>
          </a:p>
        </p:txBody>
      </p:sp>
      <p:sp>
        <p:nvSpPr>
          <p:cNvPr id="4" name="Footer Placeholder 3">
            <a:extLst>
              <a:ext uri="{FF2B5EF4-FFF2-40B4-BE49-F238E27FC236}">
                <a16:creationId xmlns:a16="http://schemas.microsoft.com/office/drawing/2014/main" id="{6397BB6D-5747-7C75-93EA-020D7CD26ADD}"/>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E1D548FC-3532-AF49-3903-AF34F0EF4389}"/>
              </a:ext>
            </a:extLst>
          </p:cNvPr>
          <p:cNvSpPr>
            <a:spLocks noGrp="1"/>
          </p:cNvSpPr>
          <p:nvPr>
            <p:ph type="title"/>
          </p:nvPr>
        </p:nvSpPr>
        <p:spPr/>
        <p:txBody>
          <a:bodyPr vert="horz"/>
          <a:lstStyle/>
          <a:p>
            <a:r>
              <a:rPr lang="en-US" dirty="0"/>
              <a:t>Template - Road Infographic</a:t>
            </a:r>
          </a:p>
        </p:txBody>
      </p:sp>
    </p:spTree>
    <p:extLst>
      <p:ext uri="{BB962C8B-B14F-4D97-AF65-F5344CB8AC3E}">
        <p14:creationId xmlns:p14="http://schemas.microsoft.com/office/powerpoint/2010/main" val="26012976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2" name="Objeto 51" hidden="1">
            <a:extLst>
              <a:ext uri="{FF2B5EF4-FFF2-40B4-BE49-F238E27FC236}">
                <a16:creationId xmlns:a16="http://schemas.microsoft.com/office/drawing/2014/main" id="{3F64CE89-9E63-8FC8-76C9-67040AF23364}"/>
              </a:ext>
            </a:extLst>
          </p:cNvPr>
          <p:cNvGraphicFramePr>
            <a:graphicFrameLocks noChangeAspect="1"/>
          </p:cNvGraphicFramePr>
          <p:nvPr>
            <p:custDataLst>
              <p:tags r:id="rId1"/>
            </p:custDataLst>
            <p:extLst>
              <p:ext uri="{D42A27DB-BD31-4B8C-83A1-F6EECF244321}">
                <p14:modId xmlns:p14="http://schemas.microsoft.com/office/powerpoint/2010/main" val="2901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2" name="Objeto 51" hidden="1">
                        <a:extLst>
                          <a:ext uri="{FF2B5EF4-FFF2-40B4-BE49-F238E27FC236}">
                            <a16:creationId xmlns:a16="http://schemas.microsoft.com/office/drawing/2014/main" id="{3F64CE89-9E63-8FC8-76C9-67040AF233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Marcador de texto 55">
            <a:extLst>
              <a:ext uri="{FF2B5EF4-FFF2-40B4-BE49-F238E27FC236}">
                <a16:creationId xmlns:a16="http://schemas.microsoft.com/office/drawing/2014/main" id="{F63C8725-E7D4-21F6-798A-23A0C9CC2266}"/>
              </a:ext>
            </a:extLst>
          </p:cNvPr>
          <p:cNvSpPr>
            <a:spLocks noGrp="1"/>
          </p:cNvSpPr>
          <p:nvPr>
            <p:ph type="body" sz="quarter" idx="14"/>
          </p:nvPr>
        </p:nvSpPr>
        <p:spPr/>
        <p:txBody>
          <a:bodyPr/>
          <a:lstStyle/>
          <a:p>
            <a:r>
              <a:rPr lang="en-US" dirty="0"/>
              <a:t>Subtitle</a:t>
            </a:r>
          </a:p>
        </p:txBody>
      </p:sp>
      <p:sp>
        <p:nvSpPr>
          <p:cNvPr id="4" name="Freeform 13">
            <a:extLst>
              <a:ext uri="{FF2B5EF4-FFF2-40B4-BE49-F238E27FC236}">
                <a16:creationId xmlns:a16="http://schemas.microsoft.com/office/drawing/2014/main" id="{469BE20E-A6A2-7BA2-59C7-30E8CA54038D}"/>
              </a:ext>
            </a:extLst>
          </p:cNvPr>
          <p:cNvSpPr/>
          <p:nvPr/>
        </p:nvSpPr>
        <p:spPr>
          <a:xfrm>
            <a:off x="416533" y="1582436"/>
            <a:ext cx="11395611" cy="4598400"/>
          </a:xfrm>
          <a:custGeom>
            <a:avLst/>
            <a:gdLst>
              <a:gd name="connsiteX0" fmla="*/ 0 w 18384252"/>
              <a:gd name="connsiteY0" fmla="*/ 1157909 h 1278225"/>
              <a:gd name="connsiteX1" fmla="*/ 3970421 w 18384252"/>
              <a:gd name="connsiteY1" fmla="*/ 436014 h 1278225"/>
              <a:gd name="connsiteX2" fmla="*/ 7868652 w 18384252"/>
              <a:gd name="connsiteY2" fmla="*/ 917277 h 1278225"/>
              <a:gd name="connsiteX3" fmla="*/ 12849726 w 18384252"/>
              <a:gd name="connsiteY3" fmla="*/ 2877 h 1278225"/>
              <a:gd name="connsiteX4" fmla="*/ 18384252 w 18384252"/>
              <a:gd name="connsiteY4" fmla="*/ 1278225 h 1278225"/>
              <a:gd name="connsiteX0" fmla="*/ 0 w 18384252"/>
              <a:gd name="connsiteY0" fmla="*/ 1425257 h 7441713"/>
              <a:gd name="connsiteX1" fmla="*/ 3970421 w 18384252"/>
              <a:gd name="connsiteY1" fmla="*/ 703362 h 7441713"/>
              <a:gd name="connsiteX2" fmla="*/ 7844589 w 18384252"/>
              <a:gd name="connsiteY2" fmla="*/ 7441046 h 7441713"/>
              <a:gd name="connsiteX3" fmla="*/ 12849726 w 18384252"/>
              <a:gd name="connsiteY3" fmla="*/ 270225 h 7441713"/>
              <a:gd name="connsiteX4" fmla="*/ 18384252 w 18384252"/>
              <a:gd name="connsiteY4" fmla="*/ 1545573 h 7441713"/>
              <a:gd name="connsiteX0" fmla="*/ 0 w 19394904"/>
              <a:gd name="connsiteY0" fmla="*/ 7200415 h 7441619"/>
              <a:gd name="connsiteX1" fmla="*/ 4981073 w 19394904"/>
              <a:gd name="connsiteY1" fmla="*/ 703362 h 7441619"/>
              <a:gd name="connsiteX2" fmla="*/ 8855241 w 19394904"/>
              <a:gd name="connsiteY2" fmla="*/ 7441046 h 7441619"/>
              <a:gd name="connsiteX3" fmla="*/ 13860378 w 19394904"/>
              <a:gd name="connsiteY3" fmla="*/ 270225 h 7441619"/>
              <a:gd name="connsiteX4" fmla="*/ 19394904 w 19394904"/>
              <a:gd name="connsiteY4" fmla="*/ 1545573 h 7441619"/>
              <a:gd name="connsiteX0" fmla="*/ 0 w 17566104"/>
              <a:gd name="connsiteY0" fmla="*/ 6931775 h 7172979"/>
              <a:gd name="connsiteX1" fmla="*/ 4981073 w 17566104"/>
              <a:gd name="connsiteY1" fmla="*/ 434722 h 7172979"/>
              <a:gd name="connsiteX2" fmla="*/ 8855241 w 17566104"/>
              <a:gd name="connsiteY2" fmla="*/ 7172406 h 7172979"/>
              <a:gd name="connsiteX3" fmla="*/ 13860378 w 17566104"/>
              <a:gd name="connsiteY3" fmla="*/ 1585 h 7172979"/>
              <a:gd name="connsiteX4" fmla="*/ 17566104 w 17566104"/>
              <a:gd name="connsiteY4" fmla="*/ 6474575 h 7172979"/>
              <a:gd name="connsiteX0" fmla="*/ 0 w 17566104"/>
              <a:gd name="connsiteY0" fmla="*/ 6931775 h 7172850"/>
              <a:gd name="connsiteX1" fmla="*/ 4382524 w 17566104"/>
              <a:gd name="connsiteY1" fmla="*/ 383922 h 7172850"/>
              <a:gd name="connsiteX2" fmla="*/ 8855241 w 17566104"/>
              <a:gd name="connsiteY2" fmla="*/ 7172406 h 7172850"/>
              <a:gd name="connsiteX3" fmla="*/ 13860378 w 17566104"/>
              <a:gd name="connsiteY3" fmla="*/ 1585 h 7172850"/>
              <a:gd name="connsiteX4" fmla="*/ 17566104 w 17566104"/>
              <a:gd name="connsiteY4" fmla="*/ 6474575 h 7172850"/>
              <a:gd name="connsiteX0" fmla="*/ 0 w 17566104"/>
              <a:gd name="connsiteY0" fmla="*/ 6931889 h 7198362"/>
              <a:gd name="connsiteX1" fmla="*/ 4382524 w 17566104"/>
              <a:gd name="connsiteY1" fmla="*/ 384036 h 7198362"/>
              <a:gd name="connsiteX2" fmla="*/ 8803193 w 17566104"/>
              <a:gd name="connsiteY2" fmla="*/ 7197920 h 7198362"/>
              <a:gd name="connsiteX3" fmla="*/ 13860378 w 17566104"/>
              <a:gd name="connsiteY3" fmla="*/ 1699 h 7198362"/>
              <a:gd name="connsiteX4" fmla="*/ 17566104 w 17566104"/>
              <a:gd name="connsiteY4" fmla="*/ 6474689 h 7198362"/>
              <a:gd name="connsiteX0" fmla="*/ 0 w 17566104"/>
              <a:gd name="connsiteY0" fmla="*/ 7033463 h 7300200"/>
              <a:gd name="connsiteX1" fmla="*/ 4382524 w 17566104"/>
              <a:gd name="connsiteY1" fmla="*/ 485610 h 7300200"/>
              <a:gd name="connsiteX2" fmla="*/ 8803193 w 17566104"/>
              <a:gd name="connsiteY2" fmla="*/ 7299494 h 7300200"/>
              <a:gd name="connsiteX3" fmla="*/ 13183758 w 17566104"/>
              <a:gd name="connsiteY3" fmla="*/ 1673 h 7300200"/>
              <a:gd name="connsiteX4" fmla="*/ 17566104 w 17566104"/>
              <a:gd name="connsiteY4" fmla="*/ 6576263 h 7300200"/>
              <a:gd name="connsiteX0" fmla="*/ 0 w 19595965"/>
              <a:gd name="connsiteY0" fmla="*/ 7352205 h 7618942"/>
              <a:gd name="connsiteX1" fmla="*/ 4382524 w 19595965"/>
              <a:gd name="connsiteY1" fmla="*/ 804352 h 7618942"/>
              <a:gd name="connsiteX2" fmla="*/ 8803193 w 19595965"/>
              <a:gd name="connsiteY2" fmla="*/ 7618236 h 7618942"/>
              <a:gd name="connsiteX3" fmla="*/ 13183758 w 19595965"/>
              <a:gd name="connsiteY3" fmla="*/ 320415 h 7618942"/>
              <a:gd name="connsiteX4" fmla="*/ 19595965 w 19595965"/>
              <a:gd name="connsiteY4" fmla="*/ 1357805 h 7618942"/>
              <a:gd name="connsiteX0" fmla="*/ 0 w 19726084"/>
              <a:gd name="connsiteY0" fmla="*/ 7582029 h 7848766"/>
              <a:gd name="connsiteX1" fmla="*/ 4382524 w 19726084"/>
              <a:gd name="connsiteY1" fmla="*/ 1034176 h 7848766"/>
              <a:gd name="connsiteX2" fmla="*/ 8803193 w 19726084"/>
              <a:gd name="connsiteY2" fmla="*/ 7848060 h 7848766"/>
              <a:gd name="connsiteX3" fmla="*/ 13183758 w 19726084"/>
              <a:gd name="connsiteY3" fmla="*/ 550239 h 7848766"/>
              <a:gd name="connsiteX4" fmla="*/ 19726084 w 19726084"/>
              <a:gd name="connsiteY4" fmla="*/ 698629 h 7848766"/>
              <a:gd name="connsiteX0" fmla="*/ 0 w 19726084"/>
              <a:gd name="connsiteY0" fmla="*/ 7756767 h 8023504"/>
              <a:gd name="connsiteX1" fmla="*/ 4382524 w 19726084"/>
              <a:gd name="connsiteY1" fmla="*/ 1208914 h 8023504"/>
              <a:gd name="connsiteX2" fmla="*/ 8803193 w 19726084"/>
              <a:gd name="connsiteY2" fmla="*/ 8022798 h 8023504"/>
              <a:gd name="connsiteX3" fmla="*/ 13183758 w 19726084"/>
              <a:gd name="connsiteY3" fmla="*/ 724977 h 8023504"/>
              <a:gd name="connsiteX4" fmla="*/ 16775629 w 19726084"/>
              <a:gd name="connsiteY4" fmla="*/ 279809 h 8023504"/>
              <a:gd name="connsiteX5" fmla="*/ 19726084 w 19726084"/>
              <a:gd name="connsiteY5" fmla="*/ 873367 h 8023504"/>
              <a:gd name="connsiteX0" fmla="*/ 0 w 19726084"/>
              <a:gd name="connsiteY0" fmla="*/ 7032607 h 7836107"/>
              <a:gd name="connsiteX1" fmla="*/ 4382524 w 19726084"/>
              <a:gd name="connsiteY1" fmla="*/ 484754 h 7836107"/>
              <a:gd name="connsiteX2" fmla="*/ 8803193 w 19726084"/>
              <a:gd name="connsiteY2" fmla="*/ 7298638 h 7836107"/>
              <a:gd name="connsiteX3" fmla="*/ 13183758 w 19726084"/>
              <a:gd name="connsiteY3" fmla="*/ 817 h 7836107"/>
              <a:gd name="connsiteX4" fmla="*/ 17556345 w 19726084"/>
              <a:gd name="connsiteY4" fmla="*/ 7836049 h 7836107"/>
              <a:gd name="connsiteX5" fmla="*/ 19726084 w 19726084"/>
              <a:gd name="connsiteY5" fmla="*/ 149207 h 7836107"/>
              <a:gd name="connsiteX0" fmla="*/ 0 w 19726084"/>
              <a:gd name="connsiteY0" fmla="*/ 7032607 h 7836107"/>
              <a:gd name="connsiteX1" fmla="*/ 1135291 w 19726084"/>
              <a:gd name="connsiteY1" fmla="*/ 5600849 h 7836107"/>
              <a:gd name="connsiteX2" fmla="*/ 4382524 w 19726084"/>
              <a:gd name="connsiteY2" fmla="*/ 484754 h 7836107"/>
              <a:gd name="connsiteX3" fmla="*/ 8803193 w 19726084"/>
              <a:gd name="connsiteY3" fmla="*/ 7298638 h 7836107"/>
              <a:gd name="connsiteX4" fmla="*/ 13183758 w 19726084"/>
              <a:gd name="connsiteY4" fmla="*/ 817 h 7836107"/>
              <a:gd name="connsiteX5" fmla="*/ 17556345 w 19726084"/>
              <a:gd name="connsiteY5" fmla="*/ 7836049 h 7836107"/>
              <a:gd name="connsiteX6" fmla="*/ 19726084 w 19726084"/>
              <a:gd name="connsiteY6" fmla="*/ 149207 h 7836107"/>
              <a:gd name="connsiteX0" fmla="*/ 0 w 21886064"/>
              <a:gd name="connsiteY0" fmla="*/ 47607 h 7836107"/>
              <a:gd name="connsiteX1" fmla="*/ 3295271 w 21886064"/>
              <a:gd name="connsiteY1" fmla="*/ 5600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54317 w 21886064"/>
              <a:gd name="connsiteY1" fmla="*/ 67438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202269 w 21886064"/>
              <a:gd name="connsiteY1" fmla="*/ 67946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7607 h 7836107"/>
              <a:gd name="connsiteX1" fmla="*/ 2124197 w 21886064"/>
              <a:gd name="connsiteY1" fmla="*/ 7353449 h 7836107"/>
              <a:gd name="connsiteX2" fmla="*/ 6542504 w 21886064"/>
              <a:gd name="connsiteY2" fmla="*/ 484754 h 7836107"/>
              <a:gd name="connsiteX3" fmla="*/ 10963173 w 21886064"/>
              <a:gd name="connsiteY3" fmla="*/ 7298638 h 7836107"/>
              <a:gd name="connsiteX4" fmla="*/ 15343738 w 21886064"/>
              <a:gd name="connsiteY4" fmla="*/ 817 h 7836107"/>
              <a:gd name="connsiteX5" fmla="*/ 19716325 w 21886064"/>
              <a:gd name="connsiteY5" fmla="*/ 7836049 h 7836107"/>
              <a:gd name="connsiteX6" fmla="*/ 21886064 w 21886064"/>
              <a:gd name="connsiteY6" fmla="*/ 149207 h 7836107"/>
              <a:gd name="connsiteX0" fmla="*/ 0 w 21886064"/>
              <a:gd name="connsiteY0" fmla="*/ 46793 h 7352710"/>
              <a:gd name="connsiteX1" fmla="*/ 2124197 w 21886064"/>
              <a:gd name="connsiteY1" fmla="*/ 7352635 h 7352710"/>
              <a:gd name="connsiteX2" fmla="*/ 6542504 w 21886064"/>
              <a:gd name="connsiteY2" fmla="*/ 483940 h 7352710"/>
              <a:gd name="connsiteX3" fmla="*/ 10963173 w 21886064"/>
              <a:gd name="connsiteY3" fmla="*/ 7297824 h 7352710"/>
              <a:gd name="connsiteX4" fmla="*/ 15343738 w 21886064"/>
              <a:gd name="connsiteY4" fmla="*/ 3 h 7352710"/>
              <a:gd name="connsiteX5" fmla="*/ 19742348 w 21886064"/>
              <a:gd name="connsiteY5" fmla="*/ 7327235 h 7352710"/>
              <a:gd name="connsiteX6" fmla="*/ 21886064 w 21886064"/>
              <a:gd name="connsiteY6" fmla="*/ 148393 h 7352710"/>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52636"/>
              <a:gd name="connsiteX1" fmla="*/ 2124197 w 21886064"/>
              <a:gd name="connsiteY1" fmla="*/ 7352635 h 7352636"/>
              <a:gd name="connsiteX2" fmla="*/ 6490457 w 21886064"/>
              <a:gd name="connsiteY2" fmla="*/ 26740 h 7352636"/>
              <a:gd name="connsiteX3" fmla="*/ 10963173 w 21886064"/>
              <a:gd name="connsiteY3" fmla="*/ 7297824 h 7352636"/>
              <a:gd name="connsiteX4" fmla="*/ 15343738 w 21886064"/>
              <a:gd name="connsiteY4" fmla="*/ 3 h 7352636"/>
              <a:gd name="connsiteX5" fmla="*/ 19742348 w 21886064"/>
              <a:gd name="connsiteY5" fmla="*/ 7327235 h 7352636"/>
              <a:gd name="connsiteX6" fmla="*/ 21886064 w 21886064"/>
              <a:gd name="connsiteY6" fmla="*/ 148393 h 7352636"/>
              <a:gd name="connsiteX0" fmla="*/ 0 w 21886064"/>
              <a:gd name="connsiteY0" fmla="*/ 46793 h 7327297"/>
              <a:gd name="connsiteX1" fmla="*/ 2691244 w 21886064"/>
              <a:gd name="connsiteY1" fmla="*/ 6769216 h 7327297"/>
              <a:gd name="connsiteX2" fmla="*/ 6490457 w 21886064"/>
              <a:gd name="connsiteY2" fmla="*/ 26740 h 7327297"/>
              <a:gd name="connsiteX3" fmla="*/ 10963173 w 21886064"/>
              <a:gd name="connsiteY3" fmla="*/ 7297824 h 7327297"/>
              <a:gd name="connsiteX4" fmla="*/ 15343738 w 21886064"/>
              <a:gd name="connsiteY4" fmla="*/ 3 h 7327297"/>
              <a:gd name="connsiteX5" fmla="*/ 19742348 w 21886064"/>
              <a:gd name="connsiteY5" fmla="*/ 7327235 h 7327297"/>
              <a:gd name="connsiteX6" fmla="*/ 21886064 w 21886064"/>
              <a:gd name="connsiteY6" fmla="*/ 148393 h 7327297"/>
              <a:gd name="connsiteX0" fmla="*/ 0 w 21886064"/>
              <a:gd name="connsiteY0" fmla="*/ 20899 h 7301403"/>
              <a:gd name="connsiteX1" fmla="*/ 2691244 w 21886064"/>
              <a:gd name="connsiteY1" fmla="*/ 6743322 h 7301403"/>
              <a:gd name="connsiteX2" fmla="*/ 6490457 w 21886064"/>
              <a:gd name="connsiteY2" fmla="*/ 846 h 7301403"/>
              <a:gd name="connsiteX3" fmla="*/ 10963173 w 21886064"/>
              <a:gd name="connsiteY3" fmla="*/ 7271930 h 7301403"/>
              <a:gd name="connsiteX4" fmla="*/ 15442354 w 21886064"/>
              <a:gd name="connsiteY4" fmla="*/ 635319 h 7301403"/>
              <a:gd name="connsiteX5" fmla="*/ 19742348 w 21886064"/>
              <a:gd name="connsiteY5" fmla="*/ 7301341 h 7301403"/>
              <a:gd name="connsiteX6" fmla="*/ 21886064 w 21886064"/>
              <a:gd name="connsiteY6" fmla="*/ 122499 h 7301403"/>
              <a:gd name="connsiteX0" fmla="*/ 0 w 21886064"/>
              <a:gd name="connsiteY0" fmla="*/ 11340 h 7291844"/>
              <a:gd name="connsiteX1" fmla="*/ 2691244 w 21886064"/>
              <a:gd name="connsiteY1" fmla="*/ 6733763 h 7291844"/>
              <a:gd name="connsiteX2" fmla="*/ 6515112 w 21886064"/>
              <a:gd name="connsiteY2" fmla="*/ 983101 h 7291844"/>
              <a:gd name="connsiteX3" fmla="*/ 10963173 w 21886064"/>
              <a:gd name="connsiteY3" fmla="*/ 7262371 h 7291844"/>
              <a:gd name="connsiteX4" fmla="*/ 15442354 w 21886064"/>
              <a:gd name="connsiteY4" fmla="*/ 625760 h 7291844"/>
              <a:gd name="connsiteX5" fmla="*/ 19742348 w 21886064"/>
              <a:gd name="connsiteY5" fmla="*/ 7291782 h 7291844"/>
              <a:gd name="connsiteX6" fmla="*/ 21886064 w 21886064"/>
              <a:gd name="connsiteY6" fmla="*/ 112940 h 7291844"/>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793"/>
              <a:gd name="connsiteX1" fmla="*/ 2691244 w 21886064"/>
              <a:gd name="connsiteY1" fmla="*/ 6733763 h 7262793"/>
              <a:gd name="connsiteX2" fmla="*/ 6515112 w 21886064"/>
              <a:gd name="connsiteY2" fmla="*/ 983101 h 7262793"/>
              <a:gd name="connsiteX3" fmla="*/ 10963173 w 21886064"/>
              <a:gd name="connsiteY3" fmla="*/ 7262371 h 7262793"/>
              <a:gd name="connsiteX4" fmla="*/ 15442354 w 21886064"/>
              <a:gd name="connsiteY4" fmla="*/ 625760 h 7262793"/>
              <a:gd name="connsiteX5" fmla="*/ 19545114 w 21886064"/>
              <a:gd name="connsiteY5" fmla="*/ 6786151 h 7262793"/>
              <a:gd name="connsiteX6" fmla="*/ 21886064 w 21886064"/>
              <a:gd name="connsiteY6" fmla="*/ 112940 h 7262793"/>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1340 h 7262856"/>
              <a:gd name="connsiteX1" fmla="*/ 2691244 w 21886064"/>
              <a:gd name="connsiteY1" fmla="*/ 6733763 h 7262856"/>
              <a:gd name="connsiteX2" fmla="*/ 6515112 w 21886064"/>
              <a:gd name="connsiteY2" fmla="*/ 983101 h 7262856"/>
              <a:gd name="connsiteX3" fmla="*/ 10963173 w 21886064"/>
              <a:gd name="connsiteY3" fmla="*/ 7262371 h 7262856"/>
              <a:gd name="connsiteX4" fmla="*/ 15442354 w 21886064"/>
              <a:gd name="connsiteY4" fmla="*/ 625760 h 7262856"/>
              <a:gd name="connsiteX5" fmla="*/ 19545114 w 21886064"/>
              <a:gd name="connsiteY5" fmla="*/ 6786151 h 7262856"/>
              <a:gd name="connsiteX6" fmla="*/ 21886064 w 21886064"/>
              <a:gd name="connsiteY6" fmla="*/ 112940 h 7262856"/>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507"/>
              <a:gd name="connsiteX1" fmla="*/ 2691244 w 21886064"/>
              <a:gd name="connsiteY1" fmla="*/ 6735414 h 7264507"/>
              <a:gd name="connsiteX2" fmla="*/ 6515112 w 21886064"/>
              <a:gd name="connsiteY2" fmla="*/ 984752 h 7264507"/>
              <a:gd name="connsiteX3" fmla="*/ 10963173 w 21886064"/>
              <a:gd name="connsiteY3" fmla="*/ 7264022 h 7264507"/>
              <a:gd name="connsiteX4" fmla="*/ 15442354 w 21886064"/>
              <a:gd name="connsiteY4" fmla="*/ 627411 h 7264507"/>
              <a:gd name="connsiteX5" fmla="*/ 19545114 w 21886064"/>
              <a:gd name="connsiteY5" fmla="*/ 6787802 h 7264507"/>
              <a:gd name="connsiteX6" fmla="*/ 21886064 w 21886064"/>
              <a:gd name="connsiteY6" fmla="*/ 114591 h 7264507"/>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12991 h 7264022"/>
              <a:gd name="connsiteX1" fmla="*/ 2691244 w 21886064"/>
              <a:gd name="connsiteY1" fmla="*/ 6735414 h 7264022"/>
              <a:gd name="connsiteX2" fmla="*/ 6515112 w 21886064"/>
              <a:gd name="connsiteY2" fmla="*/ 984752 h 7264022"/>
              <a:gd name="connsiteX3" fmla="*/ 10963173 w 21886064"/>
              <a:gd name="connsiteY3" fmla="*/ 7264022 h 7264022"/>
              <a:gd name="connsiteX4" fmla="*/ 15442354 w 21886064"/>
              <a:gd name="connsiteY4" fmla="*/ 627411 h 7264022"/>
              <a:gd name="connsiteX5" fmla="*/ 19545114 w 21886064"/>
              <a:gd name="connsiteY5" fmla="*/ 6787802 h 7264022"/>
              <a:gd name="connsiteX6" fmla="*/ 21886064 w 21886064"/>
              <a:gd name="connsiteY6" fmla="*/ 114591 h 7264022"/>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64"/>
              <a:gd name="connsiteY0" fmla="*/ 0 h 7251031"/>
              <a:gd name="connsiteX1" fmla="*/ 2691244 w 21886064"/>
              <a:gd name="connsiteY1" fmla="*/ 6722423 h 7251031"/>
              <a:gd name="connsiteX2" fmla="*/ 6515112 w 21886064"/>
              <a:gd name="connsiteY2" fmla="*/ 971761 h 7251031"/>
              <a:gd name="connsiteX3" fmla="*/ 10963173 w 21886064"/>
              <a:gd name="connsiteY3" fmla="*/ 7251031 h 7251031"/>
              <a:gd name="connsiteX4" fmla="*/ 15442354 w 21886064"/>
              <a:gd name="connsiteY4" fmla="*/ 614420 h 7251031"/>
              <a:gd name="connsiteX5" fmla="*/ 19545114 w 21886064"/>
              <a:gd name="connsiteY5" fmla="*/ 6774811 h 7251031"/>
              <a:gd name="connsiteX6" fmla="*/ 21886064 w 21886064"/>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0 h 7251031"/>
              <a:gd name="connsiteX1" fmla="*/ 2691244 w 21886075"/>
              <a:gd name="connsiteY1" fmla="*/ 6722423 h 7251031"/>
              <a:gd name="connsiteX2" fmla="*/ 6515112 w 21886075"/>
              <a:gd name="connsiteY2" fmla="*/ 971761 h 7251031"/>
              <a:gd name="connsiteX3" fmla="*/ 10963173 w 21886075"/>
              <a:gd name="connsiteY3" fmla="*/ 7251031 h 7251031"/>
              <a:gd name="connsiteX4" fmla="*/ 15442354 w 21886075"/>
              <a:gd name="connsiteY4" fmla="*/ 614420 h 7251031"/>
              <a:gd name="connsiteX5" fmla="*/ 19545114 w 21886075"/>
              <a:gd name="connsiteY5" fmla="*/ 6774811 h 7251031"/>
              <a:gd name="connsiteX6" fmla="*/ 21886064 w 21886075"/>
              <a:gd name="connsiteY6" fmla="*/ 101600 h 7251031"/>
              <a:gd name="connsiteX0" fmla="*/ 0 w 21886075"/>
              <a:gd name="connsiteY0" fmla="*/ 2 h 7251033"/>
              <a:gd name="connsiteX1" fmla="*/ 2691244 w 21886075"/>
              <a:gd name="connsiteY1" fmla="*/ 6722425 h 7251033"/>
              <a:gd name="connsiteX2" fmla="*/ 6515112 w 21886075"/>
              <a:gd name="connsiteY2" fmla="*/ 971763 h 7251033"/>
              <a:gd name="connsiteX3" fmla="*/ 10963173 w 21886075"/>
              <a:gd name="connsiteY3" fmla="*/ 7251033 h 7251033"/>
              <a:gd name="connsiteX4" fmla="*/ 15442354 w 21886075"/>
              <a:gd name="connsiteY4" fmla="*/ 614422 h 7251033"/>
              <a:gd name="connsiteX5" fmla="*/ 19545114 w 21886075"/>
              <a:gd name="connsiteY5" fmla="*/ 6774813 h 7251033"/>
              <a:gd name="connsiteX6" fmla="*/ 21886064 w 21886075"/>
              <a:gd name="connsiteY6" fmla="*/ 101602 h 7251033"/>
              <a:gd name="connsiteX0" fmla="*/ 0 w 21811126"/>
              <a:gd name="connsiteY0" fmla="*/ 4288053 h 7149431"/>
              <a:gd name="connsiteX1" fmla="*/ 2616295 w 21811126"/>
              <a:gd name="connsiteY1" fmla="*/ 6620823 h 7149431"/>
              <a:gd name="connsiteX2" fmla="*/ 6440163 w 21811126"/>
              <a:gd name="connsiteY2" fmla="*/ 870161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4079279 w 21811126"/>
              <a:gd name="connsiteY2" fmla="*/ 14594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616295 w 21811126"/>
              <a:gd name="connsiteY1" fmla="*/ 662082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3871686 w 21811126"/>
              <a:gd name="connsiteY1" fmla="*/ 667994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149431"/>
              <a:gd name="connsiteX1" fmla="*/ 2204077 w 21811126"/>
              <a:gd name="connsiteY1" fmla="*/ 6576483 h 7149431"/>
              <a:gd name="connsiteX2" fmla="*/ 3891908 w 21811126"/>
              <a:gd name="connsiteY2" fmla="*/ 101603 h 7149431"/>
              <a:gd name="connsiteX3" fmla="*/ 10888224 w 21811126"/>
              <a:gd name="connsiteY3" fmla="*/ 7149431 h 7149431"/>
              <a:gd name="connsiteX4" fmla="*/ 15367405 w 21811126"/>
              <a:gd name="connsiteY4" fmla="*/ 512820 h 7149431"/>
              <a:gd name="connsiteX5" fmla="*/ 19470165 w 21811126"/>
              <a:gd name="connsiteY5" fmla="*/ 6673211 h 7149431"/>
              <a:gd name="connsiteX6" fmla="*/ 21811115 w 21811126"/>
              <a:gd name="connsiteY6" fmla="*/ 0 h 7149431"/>
              <a:gd name="connsiteX0" fmla="*/ 0 w 21811126"/>
              <a:gd name="connsiteY0" fmla="*/ 4288053 h 7060751"/>
              <a:gd name="connsiteX1" fmla="*/ 2204077 w 21811126"/>
              <a:gd name="connsiteY1" fmla="*/ 6576483 h 7060751"/>
              <a:gd name="connsiteX2" fmla="*/ 3891908 w 21811126"/>
              <a:gd name="connsiteY2" fmla="*/ 101603 h 7060751"/>
              <a:gd name="connsiteX3" fmla="*/ 8002699 w 21811126"/>
              <a:gd name="connsiteY3" fmla="*/ 7060751 h 7060751"/>
              <a:gd name="connsiteX4" fmla="*/ 15367405 w 21811126"/>
              <a:gd name="connsiteY4" fmla="*/ 512820 h 7060751"/>
              <a:gd name="connsiteX5" fmla="*/ 19470165 w 21811126"/>
              <a:gd name="connsiteY5" fmla="*/ 6673211 h 7060751"/>
              <a:gd name="connsiteX6" fmla="*/ 21811115 w 21811126"/>
              <a:gd name="connsiteY6" fmla="*/ 0 h 70607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5367405 w 21811126"/>
              <a:gd name="connsiteY4" fmla="*/ 512820 h 6986851"/>
              <a:gd name="connsiteX5" fmla="*/ 19470165 w 21811126"/>
              <a:gd name="connsiteY5" fmla="*/ 6673211 h 6986851"/>
              <a:gd name="connsiteX6" fmla="*/ 21811115 w 21811126"/>
              <a:gd name="connsiteY6" fmla="*/ 0 h 6986851"/>
              <a:gd name="connsiteX0" fmla="*/ 0 w 21811126"/>
              <a:gd name="connsiteY0" fmla="*/ 4288053 h 6986851"/>
              <a:gd name="connsiteX1" fmla="*/ 2204077 w 21811126"/>
              <a:gd name="connsiteY1" fmla="*/ 6576483 h 6986851"/>
              <a:gd name="connsiteX2" fmla="*/ 3891908 w 21811126"/>
              <a:gd name="connsiteY2" fmla="*/ 101603 h 6986851"/>
              <a:gd name="connsiteX3" fmla="*/ 8527341 w 21811126"/>
              <a:gd name="connsiteY3" fmla="*/ 6986851 h 6986851"/>
              <a:gd name="connsiteX4" fmla="*/ 12125873 w 21811126"/>
              <a:gd name="connsiteY4" fmla="*/ 261561 h 6986851"/>
              <a:gd name="connsiteX5" fmla="*/ 19470165 w 21811126"/>
              <a:gd name="connsiteY5" fmla="*/ 6673211 h 6986851"/>
              <a:gd name="connsiteX6" fmla="*/ 21811115 w 21811126"/>
              <a:gd name="connsiteY6" fmla="*/ 0 h 6986851"/>
              <a:gd name="connsiteX0" fmla="*/ 0 w 21811126"/>
              <a:gd name="connsiteY0" fmla="*/ 4288053 h 6927731"/>
              <a:gd name="connsiteX1" fmla="*/ 2204077 w 21811126"/>
              <a:gd name="connsiteY1" fmla="*/ 6576483 h 6927731"/>
              <a:gd name="connsiteX2" fmla="*/ 3891908 w 21811126"/>
              <a:gd name="connsiteY2" fmla="*/ 101603 h 6927731"/>
              <a:gd name="connsiteX3" fmla="*/ 10888226 w 21811126"/>
              <a:gd name="connsiteY3" fmla="*/ 6927731 h 6927731"/>
              <a:gd name="connsiteX4" fmla="*/ 12125873 w 21811126"/>
              <a:gd name="connsiteY4" fmla="*/ 261561 h 6927731"/>
              <a:gd name="connsiteX5" fmla="*/ 19470165 w 21811126"/>
              <a:gd name="connsiteY5" fmla="*/ 6673211 h 6927731"/>
              <a:gd name="connsiteX6" fmla="*/ 21811115 w 21811126"/>
              <a:gd name="connsiteY6" fmla="*/ 0 h 6927731"/>
              <a:gd name="connsiteX0" fmla="*/ 0 w 21811119"/>
              <a:gd name="connsiteY0" fmla="*/ 4288053 h 6927731"/>
              <a:gd name="connsiteX1" fmla="*/ 2204077 w 21811119"/>
              <a:gd name="connsiteY1" fmla="*/ 6576483 h 6927731"/>
              <a:gd name="connsiteX2" fmla="*/ 3891908 w 21811119"/>
              <a:gd name="connsiteY2" fmla="*/ 101603 h 6927731"/>
              <a:gd name="connsiteX3" fmla="*/ 10888226 w 21811119"/>
              <a:gd name="connsiteY3" fmla="*/ 6927731 h 6927731"/>
              <a:gd name="connsiteX4" fmla="*/ 12125873 w 21811119"/>
              <a:gd name="connsiteY4" fmla="*/ 261561 h 6927731"/>
              <a:gd name="connsiteX5" fmla="*/ 16228633 w 21811119"/>
              <a:gd name="connsiteY5" fmla="*/ 6924471 h 6927731"/>
              <a:gd name="connsiteX6" fmla="*/ 21811115 w 21811119"/>
              <a:gd name="connsiteY6" fmla="*/ 0 h 6927731"/>
              <a:gd name="connsiteX0" fmla="*/ 0 w 21811119"/>
              <a:gd name="connsiteY0" fmla="*/ 4288053 h 6942511"/>
              <a:gd name="connsiteX1" fmla="*/ 2204077 w 21811119"/>
              <a:gd name="connsiteY1" fmla="*/ 6576483 h 6942511"/>
              <a:gd name="connsiteX2" fmla="*/ 3891908 w 21811119"/>
              <a:gd name="connsiteY2" fmla="*/ 101603 h 6942511"/>
              <a:gd name="connsiteX3" fmla="*/ 8058912 w 21811119"/>
              <a:gd name="connsiteY3" fmla="*/ 6942511 h 6942511"/>
              <a:gd name="connsiteX4" fmla="*/ 12125873 w 21811119"/>
              <a:gd name="connsiteY4" fmla="*/ 261561 h 6942511"/>
              <a:gd name="connsiteX5" fmla="*/ 16228633 w 21811119"/>
              <a:gd name="connsiteY5" fmla="*/ 6924471 h 6942511"/>
              <a:gd name="connsiteX6" fmla="*/ 21811115 w 21811119"/>
              <a:gd name="connsiteY6" fmla="*/ 0 h 694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11119" h="6942511">
                <a:moveTo>
                  <a:pt x="0" y="4288053"/>
                </a:moveTo>
                <a:cubicBezTo>
                  <a:pt x="7840" y="4283530"/>
                  <a:pt x="2172193" y="6483804"/>
                  <a:pt x="2204077" y="6576483"/>
                </a:cubicBezTo>
                <a:cubicBezTo>
                  <a:pt x="2265240" y="6507507"/>
                  <a:pt x="3918543" y="112562"/>
                  <a:pt x="3891908" y="101603"/>
                </a:cubicBezTo>
                <a:cubicBezTo>
                  <a:pt x="3919207" y="117384"/>
                  <a:pt x="8034879" y="6898147"/>
                  <a:pt x="8058912" y="6942511"/>
                </a:cubicBezTo>
                <a:cubicBezTo>
                  <a:pt x="8053668" y="6929141"/>
                  <a:pt x="12159391" y="248556"/>
                  <a:pt x="12125873" y="261561"/>
                </a:cubicBezTo>
                <a:cubicBezTo>
                  <a:pt x="12136268" y="263019"/>
                  <a:pt x="16259242" y="6935595"/>
                  <a:pt x="16228633" y="6924471"/>
                </a:cubicBezTo>
                <a:cubicBezTo>
                  <a:pt x="16250415" y="6932796"/>
                  <a:pt x="21817075" y="16543"/>
                  <a:pt x="21811115" y="0"/>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5" name="Right Arrow 4">
            <a:extLst>
              <a:ext uri="{FF2B5EF4-FFF2-40B4-BE49-F238E27FC236}">
                <a16:creationId xmlns:a16="http://schemas.microsoft.com/office/drawing/2014/main" id="{5F94D8C4-7C9C-B020-D460-CF967B7D072E}"/>
              </a:ext>
            </a:extLst>
          </p:cNvPr>
          <p:cNvSpPr/>
          <p:nvPr/>
        </p:nvSpPr>
        <p:spPr>
          <a:xfrm>
            <a:off x="8970715" y="3121657"/>
            <a:ext cx="3074510" cy="1519960"/>
          </a:xfrm>
          <a:prstGeom prst="rightArrow">
            <a:avLst>
              <a:gd name="adj1" fmla="val 63559"/>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6" name="Right Arrow 5">
            <a:extLst>
              <a:ext uri="{FF2B5EF4-FFF2-40B4-BE49-F238E27FC236}">
                <a16:creationId xmlns:a16="http://schemas.microsoft.com/office/drawing/2014/main" id="{FF16F9B2-C9E5-965B-915F-58C18162F03F}"/>
              </a:ext>
            </a:extLst>
          </p:cNvPr>
          <p:cNvSpPr/>
          <p:nvPr/>
        </p:nvSpPr>
        <p:spPr>
          <a:xfrm>
            <a:off x="6824079" y="3121657"/>
            <a:ext cx="2834630" cy="1519960"/>
          </a:xfrm>
          <a:prstGeom prst="rightArrow">
            <a:avLst>
              <a:gd name="adj1" fmla="val 63559"/>
              <a:gd name="adj2"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7" name="Right Arrow 2">
            <a:extLst>
              <a:ext uri="{FF2B5EF4-FFF2-40B4-BE49-F238E27FC236}">
                <a16:creationId xmlns:a16="http://schemas.microsoft.com/office/drawing/2014/main" id="{9A930641-44FD-2D75-55C8-1512412F267C}"/>
              </a:ext>
            </a:extLst>
          </p:cNvPr>
          <p:cNvSpPr/>
          <p:nvPr/>
        </p:nvSpPr>
        <p:spPr>
          <a:xfrm>
            <a:off x="4677444" y="3121657"/>
            <a:ext cx="2834630" cy="1519960"/>
          </a:xfrm>
          <a:prstGeom prst="rightArrow">
            <a:avLst>
              <a:gd name="adj1" fmla="val 63559"/>
              <a:gd name="adj2"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8" name="Right Arrow 3">
            <a:extLst>
              <a:ext uri="{FF2B5EF4-FFF2-40B4-BE49-F238E27FC236}">
                <a16:creationId xmlns:a16="http://schemas.microsoft.com/office/drawing/2014/main" id="{97F8225D-D3A5-D85B-6720-13955C0695B7}"/>
              </a:ext>
            </a:extLst>
          </p:cNvPr>
          <p:cNvSpPr/>
          <p:nvPr/>
        </p:nvSpPr>
        <p:spPr>
          <a:xfrm>
            <a:off x="2530809" y="3121657"/>
            <a:ext cx="2834630" cy="1519960"/>
          </a:xfrm>
          <a:prstGeom prst="rightArrow">
            <a:avLst>
              <a:gd name="adj1" fmla="val 63559"/>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9" name="Right Arrow 1">
            <a:extLst>
              <a:ext uri="{FF2B5EF4-FFF2-40B4-BE49-F238E27FC236}">
                <a16:creationId xmlns:a16="http://schemas.microsoft.com/office/drawing/2014/main" id="{3422B54B-DEFB-8ABD-F103-1807D4DA1DED}"/>
              </a:ext>
            </a:extLst>
          </p:cNvPr>
          <p:cNvSpPr/>
          <p:nvPr/>
        </p:nvSpPr>
        <p:spPr>
          <a:xfrm>
            <a:off x="0" y="3121657"/>
            <a:ext cx="3218803" cy="1519960"/>
          </a:xfrm>
          <a:prstGeom prst="rightArrow">
            <a:avLst>
              <a:gd name="adj1" fmla="val 63559"/>
              <a:gd name="adj2" fmla="val 50000"/>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0" name="TextBox 8">
            <a:extLst>
              <a:ext uri="{FF2B5EF4-FFF2-40B4-BE49-F238E27FC236}">
                <a16:creationId xmlns:a16="http://schemas.microsoft.com/office/drawing/2014/main" id="{CAB93C37-EDB6-6CD1-4882-E579E18D10F4}"/>
              </a:ext>
            </a:extLst>
          </p:cNvPr>
          <p:cNvSpPr txBox="1"/>
          <p:nvPr/>
        </p:nvSpPr>
        <p:spPr>
          <a:xfrm>
            <a:off x="3377088" y="3727748"/>
            <a:ext cx="1580882"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Consideration</a:t>
            </a:r>
          </a:p>
        </p:txBody>
      </p:sp>
      <p:sp>
        <p:nvSpPr>
          <p:cNvPr id="11" name="TextBox 9">
            <a:extLst>
              <a:ext uri="{FF2B5EF4-FFF2-40B4-BE49-F238E27FC236}">
                <a16:creationId xmlns:a16="http://schemas.microsoft.com/office/drawing/2014/main" id="{23CE2F86-BC97-028D-C8D3-E9F845133851}"/>
              </a:ext>
            </a:extLst>
          </p:cNvPr>
          <p:cNvSpPr txBox="1"/>
          <p:nvPr/>
        </p:nvSpPr>
        <p:spPr>
          <a:xfrm>
            <a:off x="5665686" y="3727748"/>
            <a:ext cx="1305165"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cquisition</a:t>
            </a:r>
          </a:p>
        </p:txBody>
      </p:sp>
      <p:sp>
        <p:nvSpPr>
          <p:cNvPr id="12" name="TextBox 10">
            <a:extLst>
              <a:ext uri="{FF2B5EF4-FFF2-40B4-BE49-F238E27FC236}">
                <a16:creationId xmlns:a16="http://schemas.microsoft.com/office/drawing/2014/main" id="{5FAB55F1-0B63-A58B-8574-80D494279658}"/>
              </a:ext>
            </a:extLst>
          </p:cNvPr>
          <p:cNvSpPr txBox="1"/>
          <p:nvPr/>
        </p:nvSpPr>
        <p:spPr>
          <a:xfrm>
            <a:off x="7999766" y="3727748"/>
            <a:ext cx="92365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Service</a:t>
            </a:r>
          </a:p>
        </p:txBody>
      </p:sp>
      <p:sp>
        <p:nvSpPr>
          <p:cNvPr id="13" name="TextBox 11">
            <a:extLst>
              <a:ext uri="{FF2B5EF4-FFF2-40B4-BE49-F238E27FC236}">
                <a16:creationId xmlns:a16="http://schemas.microsoft.com/office/drawing/2014/main" id="{BA12B43B-2846-1671-DF2A-27F97D38E0EB}"/>
              </a:ext>
            </a:extLst>
          </p:cNvPr>
          <p:cNvSpPr txBox="1"/>
          <p:nvPr/>
        </p:nvSpPr>
        <p:spPr>
          <a:xfrm>
            <a:off x="10145495" y="3727748"/>
            <a:ext cx="918841"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Loyalty</a:t>
            </a:r>
          </a:p>
        </p:txBody>
      </p:sp>
      <p:sp>
        <p:nvSpPr>
          <p:cNvPr id="14" name="TextBox 12">
            <a:extLst>
              <a:ext uri="{FF2B5EF4-FFF2-40B4-BE49-F238E27FC236}">
                <a16:creationId xmlns:a16="http://schemas.microsoft.com/office/drawing/2014/main" id="{442ED523-FE55-6B5B-8614-04AC96D37812}"/>
              </a:ext>
            </a:extLst>
          </p:cNvPr>
          <p:cNvSpPr txBox="1"/>
          <p:nvPr/>
        </p:nvSpPr>
        <p:spPr>
          <a:xfrm>
            <a:off x="1070032" y="3727748"/>
            <a:ext cx="1287533" cy="307777"/>
          </a:xfrm>
          <a:prstGeom prst="rect">
            <a:avLst/>
          </a:prstGeom>
          <a:noFill/>
        </p:spPr>
        <p:txBody>
          <a:bodyPr wrap="none" rtlCol="0" anchor="ctr" anchorCtr="0">
            <a:spAutoFit/>
          </a:bodyPr>
          <a:lstStyle/>
          <a:p>
            <a:pPr algn="ctr"/>
            <a:r>
              <a:rPr lang="en-US" sz="1400" b="1" dirty="0">
                <a:solidFill>
                  <a:schemeClr val="bg1"/>
                </a:solidFill>
                <a:ea typeface="League Spartan" charset="0"/>
                <a:cs typeface="Poppins" pitchFamily="2" charset="77"/>
              </a:rPr>
              <a:t>Awareness</a:t>
            </a:r>
          </a:p>
        </p:txBody>
      </p:sp>
      <p:sp>
        <p:nvSpPr>
          <p:cNvPr id="15" name="Oval 14">
            <a:extLst>
              <a:ext uri="{FF2B5EF4-FFF2-40B4-BE49-F238E27FC236}">
                <a16:creationId xmlns:a16="http://schemas.microsoft.com/office/drawing/2014/main" id="{F406943D-1F2C-5F68-D7E0-B69FAF717ECB}"/>
              </a:ext>
            </a:extLst>
          </p:cNvPr>
          <p:cNvSpPr/>
          <p:nvPr/>
        </p:nvSpPr>
        <p:spPr>
          <a:xfrm>
            <a:off x="2027227" y="2938686"/>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6" name="Oval 15">
            <a:extLst>
              <a:ext uri="{FF2B5EF4-FFF2-40B4-BE49-F238E27FC236}">
                <a16:creationId xmlns:a16="http://schemas.microsoft.com/office/drawing/2014/main" id="{37290895-53FE-862E-6B00-1D80D44754CE}"/>
              </a:ext>
            </a:extLst>
          </p:cNvPr>
          <p:cNvSpPr/>
          <p:nvPr/>
        </p:nvSpPr>
        <p:spPr>
          <a:xfrm>
            <a:off x="2215467" y="1980649"/>
            <a:ext cx="270501" cy="270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7" name="Oval 16">
            <a:extLst>
              <a:ext uri="{FF2B5EF4-FFF2-40B4-BE49-F238E27FC236}">
                <a16:creationId xmlns:a16="http://schemas.microsoft.com/office/drawing/2014/main" id="{3CAC5970-534C-7A5A-B9F4-2DC3173B9402}"/>
              </a:ext>
            </a:extLst>
          </p:cNvPr>
          <p:cNvSpPr/>
          <p:nvPr/>
        </p:nvSpPr>
        <p:spPr>
          <a:xfrm>
            <a:off x="2840786" y="2599953"/>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8" name="Oval 17">
            <a:extLst>
              <a:ext uri="{FF2B5EF4-FFF2-40B4-BE49-F238E27FC236}">
                <a16:creationId xmlns:a16="http://schemas.microsoft.com/office/drawing/2014/main" id="{9B6D6206-D651-74FB-470D-31139D3EE30E}"/>
              </a:ext>
            </a:extLst>
          </p:cNvPr>
          <p:cNvSpPr/>
          <p:nvPr/>
        </p:nvSpPr>
        <p:spPr>
          <a:xfrm>
            <a:off x="5981359" y="2974935"/>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9" name="Oval 18">
            <a:extLst>
              <a:ext uri="{FF2B5EF4-FFF2-40B4-BE49-F238E27FC236}">
                <a16:creationId xmlns:a16="http://schemas.microsoft.com/office/drawing/2014/main" id="{15A53A0F-168B-DDCE-15DF-26AD9E20ADA3}"/>
              </a:ext>
            </a:extLst>
          </p:cNvPr>
          <p:cNvSpPr/>
          <p:nvPr/>
        </p:nvSpPr>
        <p:spPr>
          <a:xfrm>
            <a:off x="6398763" y="2073474"/>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0" name="Oval 19">
            <a:extLst>
              <a:ext uri="{FF2B5EF4-FFF2-40B4-BE49-F238E27FC236}">
                <a16:creationId xmlns:a16="http://schemas.microsoft.com/office/drawing/2014/main" id="{0B07812E-1F9C-4B1D-E3B8-A13D881D0D72}"/>
              </a:ext>
            </a:extLst>
          </p:cNvPr>
          <p:cNvSpPr/>
          <p:nvPr/>
        </p:nvSpPr>
        <p:spPr>
          <a:xfrm>
            <a:off x="7104605" y="25767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1" name="Subtitle 2">
            <a:extLst>
              <a:ext uri="{FF2B5EF4-FFF2-40B4-BE49-F238E27FC236}">
                <a16:creationId xmlns:a16="http://schemas.microsoft.com/office/drawing/2014/main" id="{EF705E77-B385-0D64-C71C-DA06939F5EB2}"/>
              </a:ext>
            </a:extLst>
          </p:cNvPr>
          <p:cNvSpPr txBox="1">
            <a:spLocks/>
          </p:cNvSpPr>
          <p:nvPr/>
        </p:nvSpPr>
        <p:spPr>
          <a:xfrm>
            <a:off x="1581318" y="295745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2" name="Subtitle 2">
            <a:extLst>
              <a:ext uri="{FF2B5EF4-FFF2-40B4-BE49-F238E27FC236}">
                <a16:creationId xmlns:a16="http://schemas.microsoft.com/office/drawing/2014/main" id="{BFC19750-4E7E-E839-3268-0AEA5660F41A}"/>
              </a:ext>
            </a:extLst>
          </p:cNvPr>
          <p:cNvSpPr txBox="1">
            <a:spLocks/>
          </p:cNvSpPr>
          <p:nvPr/>
        </p:nvSpPr>
        <p:spPr>
          <a:xfrm>
            <a:off x="1768378" y="2000484"/>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3" name="Subtitle 2">
            <a:extLst>
              <a:ext uri="{FF2B5EF4-FFF2-40B4-BE49-F238E27FC236}">
                <a16:creationId xmlns:a16="http://schemas.microsoft.com/office/drawing/2014/main" id="{988D29F8-66A6-EFE6-E610-947E4A3ECA08}"/>
              </a:ext>
            </a:extLst>
          </p:cNvPr>
          <p:cNvSpPr txBox="1">
            <a:spLocks/>
          </p:cNvSpPr>
          <p:nvPr/>
        </p:nvSpPr>
        <p:spPr>
          <a:xfrm>
            <a:off x="3200418" y="2620003"/>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4" name="Subtitle 2">
            <a:extLst>
              <a:ext uri="{FF2B5EF4-FFF2-40B4-BE49-F238E27FC236}">
                <a16:creationId xmlns:a16="http://schemas.microsoft.com/office/drawing/2014/main" id="{E9E17390-2D37-9211-10C2-A6681CEE9E42}"/>
              </a:ext>
            </a:extLst>
          </p:cNvPr>
          <p:cNvSpPr txBox="1">
            <a:spLocks/>
          </p:cNvSpPr>
          <p:nvPr/>
        </p:nvSpPr>
        <p:spPr>
          <a:xfrm>
            <a:off x="7468973" y="25966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5" name="Subtitle 2">
            <a:extLst>
              <a:ext uri="{FF2B5EF4-FFF2-40B4-BE49-F238E27FC236}">
                <a16:creationId xmlns:a16="http://schemas.microsoft.com/office/drawing/2014/main" id="{481C2975-23ED-C09F-1964-5D5AEE17EBEB}"/>
              </a:ext>
            </a:extLst>
          </p:cNvPr>
          <p:cNvSpPr txBox="1">
            <a:spLocks/>
          </p:cNvSpPr>
          <p:nvPr/>
        </p:nvSpPr>
        <p:spPr>
          <a:xfrm>
            <a:off x="6049869" y="2093307"/>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26" name="Subtitle 2">
            <a:extLst>
              <a:ext uri="{FF2B5EF4-FFF2-40B4-BE49-F238E27FC236}">
                <a16:creationId xmlns:a16="http://schemas.microsoft.com/office/drawing/2014/main" id="{2136999C-FA0A-199D-1F24-9FB990C6B00C}"/>
              </a:ext>
            </a:extLst>
          </p:cNvPr>
          <p:cNvSpPr txBox="1">
            <a:spLocks/>
          </p:cNvSpPr>
          <p:nvPr/>
        </p:nvSpPr>
        <p:spPr>
          <a:xfrm>
            <a:off x="5525782" y="2995616"/>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7" name="Oval 30">
            <a:extLst>
              <a:ext uri="{FF2B5EF4-FFF2-40B4-BE49-F238E27FC236}">
                <a16:creationId xmlns:a16="http://schemas.microsoft.com/office/drawing/2014/main" id="{1F322101-1F8D-85B3-31AE-623FCE322750}"/>
              </a:ext>
            </a:extLst>
          </p:cNvPr>
          <p:cNvSpPr/>
          <p:nvPr/>
        </p:nvSpPr>
        <p:spPr>
          <a:xfrm>
            <a:off x="10837193" y="2765816"/>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Subtitle 2">
            <a:extLst>
              <a:ext uri="{FF2B5EF4-FFF2-40B4-BE49-F238E27FC236}">
                <a16:creationId xmlns:a16="http://schemas.microsoft.com/office/drawing/2014/main" id="{BFDA588B-AC99-70C2-173C-F3A9B594911D}"/>
              </a:ext>
            </a:extLst>
          </p:cNvPr>
          <p:cNvSpPr txBox="1">
            <a:spLocks/>
          </p:cNvSpPr>
          <p:nvPr/>
        </p:nvSpPr>
        <p:spPr>
          <a:xfrm>
            <a:off x="10290243" y="2786497"/>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29" name="Oval 32">
            <a:extLst>
              <a:ext uri="{FF2B5EF4-FFF2-40B4-BE49-F238E27FC236}">
                <a16:creationId xmlns:a16="http://schemas.microsoft.com/office/drawing/2014/main" id="{103C69EB-EBE8-7472-C60A-61E50FCCA56A}"/>
              </a:ext>
            </a:extLst>
          </p:cNvPr>
          <p:cNvSpPr/>
          <p:nvPr/>
        </p:nvSpPr>
        <p:spPr>
          <a:xfrm>
            <a:off x="11472055" y="1761702"/>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Subtitle 2">
            <a:extLst>
              <a:ext uri="{FF2B5EF4-FFF2-40B4-BE49-F238E27FC236}">
                <a16:creationId xmlns:a16="http://schemas.microsoft.com/office/drawing/2014/main" id="{D8ED5018-1CDF-4A88-FDBF-DC29AA892BF4}"/>
              </a:ext>
            </a:extLst>
          </p:cNvPr>
          <p:cNvSpPr txBox="1">
            <a:spLocks/>
          </p:cNvSpPr>
          <p:nvPr/>
        </p:nvSpPr>
        <p:spPr>
          <a:xfrm>
            <a:off x="10925105" y="1782382"/>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1" name="Oval 34">
            <a:extLst>
              <a:ext uri="{FF2B5EF4-FFF2-40B4-BE49-F238E27FC236}">
                <a16:creationId xmlns:a16="http://schemas.microsoft.com/office/drawing/2014/main" id="{34B9F680-32F1-259C-DDDB-C031C74DA8E7}"/>
              </a:ext>
            </a:extLst>
          </p:cNvPr>
          <p:cNvSpPr/>
          <p:nvPr/>
        </p:nvSpPr>
        <p:spPr>
          <a:xfrm>
            <a:off x="579797" y="467871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35">
            <a:extLst>
              <a:ext uri="{FF2B5EF4-FFF2-40B4-BE49-F238E27FC236}">
                <a16:creationId xmlns:a16="http://schemas.microsoft.com/office/drawing/2014/main" id="{4F687F00-7FF3-848F-67CB-213BEC98CEB0}"/>
              </a:ext>
            </a:extLst>
          </p:cNvPr>
          <p:cNvSpPr/>
          <p:nvPr/>
        </p:nvSpPr>
        <p:spPr>
          <a:xfrm>
            <a:off x="1408337" y="5763776"/>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36">
            <a:extLst>
              <a:ext uri="{FF2B5EF4-FFF2-40B4-BE49-F238E27FC236}">
                <a16:creationId xmlns:a16="http://schemas.microsoft.com/office/drawing/2014/main" id="{8639A271-F78C-4FC2-D728-71E96A393F45}"/>
              </a:ext>
            </a:extLst>
          </p:cNvPr>
          <p:cNvSpPr/>
          <p:nvPr/>
        </p:nvSpPr>
        <p:spPr>
          <a:xfrm>
            <a:off x="1708537" y="4578401"/>
            <a:ext cx="270501" cy="2705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37">
            <a:extLst>
              <a:ext uri="{FF2B5EF4-FFF2-40B4-BE49-F238E27FC236}">
                <a16:creationId xmlns:a16="http://schemas.microsoft.com/office/drawing/2014/main" id="{C71B59EF-AE1C-5ABD-AF3F-BF5DF4D78C4D}"/>
              </a:ext>
            </a:extLst>
          </p:cNvPr>
          <p:cNvSpPr/>
          <p:nvPr/>
        </p:nvSpPr>
        <p:spPr>
          <a:xfrm>
            <a:off x="3912381" y="4877270"/>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38">
            <a:extLst>
              <a:ext uri="{FF2B5EF4-FFF2-40B4-BE49-F238E27FC236}">
                <a16:creationId xmlns:a16="http://schemas.microsoft.com/office/drawing/2014/main" id="{284A3999-7981-C97E-D2A9-3FEA432CFB99}"/>
              </a:ext>
            </a:extLst>
          </p:cNvPr>
          <p:cNvSpPr/>
          <p:nvPr/>
        </p:nvSpPr>
        <p:spPr>
          <a:xfrm>
            <a:off x="4385049" y="5820346"/>
            <a:ext cx="270501" cy="2705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39">
            <a:extLst>
              <a:ext uri="{FF2B5EF4-FFF2-40B4-BE49-F238E27FC236}">
                <a16:creationId xmlns:a16="http://schemas.microsoft.com/office/drawing/2014/main" id="{50A3DF98-A7F5-E316-7205-11C9E24E9DC3}"/>
              </a:ext>
            </a:extLst>
          </p:cNvPr>
          <p:cNvSpPr/>
          <p:nvPr/>
        </p:nvSpPr>
        <p:spPr>
          <a:xfrm>
            <a:off x="5148162" y="4665567"/>
            <a:ext cx="270501" cy="270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1">
            <a:extLst>
              <a:ext uri="{FF2B5EF4-FFF2-40B4-BE49-F238E27FC236}">
                <a16:creationId xmlns:a16="http://schemas.microsoft.com/office/drawing/2014/main" id="{FB51091F-2C28-E864-BCC9-D3B7B44BFA63}"/>
              </a:ext>
            </a:extLst>
          </p:cNvPr>
          <p:cNvSpPr/>
          <p:nvPr/>
        </p:nvSpPr>
        <p:spPr>
          <a:xfrm>
            <a:off x="8229896" y="4884971"/>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2">
            <a:extLst>
              <a:ext uri="{FF2B5EF4-FFF2-40B4-BE49-F238E27FC236}">
                <a16:creationId xmlns:a16="http://schemas.microsoft.com/office/drawing/2014/main" id="{99303343-96D7-4DC5-8C5D-DDCA4594DBE9}"/>
              </a:ext>
            </a:extLst>
          </p:cNvPr>
          <p:cNvSpPr/>
          <p:nvPr/>
        </p:nvSpPr>
        <p:spPr>
          <a:xfrm>
            <a:off x="9413085" y="5027044"/>
            <a:ext cx="270501" cy="270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3">
            <a:extLst>
              <a:ext uri="{FF2B5EF4-FFF2-40B4-BE49-F238E27FC236}">
                <a16:creationId xmlns:a16="http://schemas.microsoft.com/office/drawing/2014/main" id="{36290286-BB73-9A1D-6252-FA92C1F5533D}"/>
              </a:ext>
            </a:extLst>
          </p:cNvPr>
          <p:cNvSpPr/>
          <p:nvPr/>
        </p:nvSpPr>
        <p:spPr>
          <a:xfrm>
            <a:off x="8629516" y="5789483"/>
            <a:ext cx="270501" cy="2705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1862A677-022C-9BCD-FA59-94B68303D650}"/>
              </a:ext>
            </a:extLst>
          </p:cNvPr>
          <p:cNvSpPr txBox="1">
            <a:spLocks/>
          </p:cNvSpPr>
          <p:nvPr/>
        </p:nvSpPr>
        <p:spPr>
          <a:xfrm>
            <a:off x="905381" y="4698551"/>
            <a:ext cx="275075"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a:t>
            </a:r>
          </a:p>
        </p:txBody>
      </p:sp>
      <p:sp>
        <p:nvSpPr>
          <p:cNvPr id="42" name="Subtitle 2">
            <a:extLst>
              <a:ext uri="{FF2B5EF4-FFF2-40B4-BE49-F238E27FC236}">
                <a16:creationId xmlns:a16="http://schemas.microsoft.com/office/drawing/2014/main" id="{B1792894-0026-321D-F949-B3B64F71A27B}"/>
              </a:ext>
            </a:extLst>
          </p:cNvPr>
          <p:cNvSpPr txBox="1">
            <a:spLocks/>
          </p:cNvSpPr>
          <p:nvPr/>
        </p:nvSpPr>
        <p:spPr>
          <a:xfrm>
            <a:off x="985039" y="5783141"/>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3" name="Subtitle 2">
            <a:extLst>
              <a:ext uri="{FF2B5EF4-FFF2-40B4-BE49-F238E27FC236}">
                <a16:creationId xmlns:a16="http://schemas.microsoft.com/office/drawing/2014/main" id="{16B26324-7F5B-E647-79C0-ECE892A1A0FB}"/>
              </a:ext>
            </a:extLst>
          </p:cNvPr>
          <p:cNvSpPr txBox="1">
            <a:spLocks/>
          </p:cNvSpPr>
          <p:nvPr/>
        </p:nvSpPr>
        <p:spPr>
          <a:xfrm>
            <a:off x="3355213" y="4893944"/>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id="{6A22E7E4-A1DB-4527-DE50-945EE8513C07}"/>
              </a:ext>
            </a:extLst>
          </p:cNvPr>
          <p:cNvSpPr txBox="1">
            <a:spLocks/>
          </p:cNvSpPr>
          <p:nvPr/>
        </p:nvSpPr>
        <p:spPr>
          <a:xfrm>
            <a:off x="3869010" y="5841180"/>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id="{057DFEF7-772F-968E-4EDD-C331644AFB7F}"/>
              </a:ext>
            </a:extLst>
          </p:cNvPr>
          <p:cNvSpPr txBox="1">
            <a:spLocks/>
          </p:cNvSpPr>
          <p:nvPr/>
        </p:nvSpPr>
        <p:spPr>
          <a:xfrm>
            <a:off x="7713446" y="4904805"/>
            <a:ext cx="457819"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id="{AB610824-931B-6DC4-B13A-B18A24333848}"/>
              </a:ext>
            </a:extLst>
          </p:cNvPr>
          <p:cNvSpPr txBox="1">
            <a:spLocks/>
          </p:cNvSpPr>
          <p:nvPr/>
        </p:nvSpPr>
        <p:spPr>
          <a:xfrm>
            <a:off x="8204517" y="5809318"/>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7" name="Subtitle 2">
            <a:extLst>
              <a:ext uri="{FF2B5EF4-FFF2-40B4-BE49-F238E27FC236}">
                <a16:creationId xmlns:a16="http://schemas.microsoft.com/office/drawing/2014/main" id="{D28E6CA9-F6D0-6B53-1B02-5DDDA7F75EA0}"/>
              </a:ext>
            </a:extLst>
          </p:cNvPr>
          <p:cNvSpPr txBox="1">
            <a:spLocks/>
          </p:cNvSpPr>
          <p:nvPr/>
        </p:nvSpPr>
        <p:spPr>
          <a:xfrm>
            <a:off x="9765506" y="5046879"/>
            <a:ext cx="457818"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err="1">
                <a:solidFill>
                  <a:schemeClr val="tx1"/>
                </a:solidFill>
                <a:latin typeface="+mn-lt"/>
                <a:ea typeface="Lato Light" panose="020F0502020204030203" pitchFamily="34" charset="0"/>
                <a:cs typeface="Mukta ExtraLight" panose="020B0000000000000000" pitchFamily="34" charset="77"/>
              </a:rPr>
              <a:t>xxxx</a:t>
            </a: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FC340249-2EEC-4235-DDDD-124C8DAED0F1}"/>
              </a:ext>
            </a:extLst>
          </p:cNvPr>
          <p:cNvSpPr txBox="1">
            <a:spLocks/>
          </p:cNvSpPr>
          <p:nvPr/>
        </p:nvSpPr>
        <p:spPr>
          <a:xfrm>
            <a:off x="5482587" y="4685402"/>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49" name="Subtitle 2">
            <a:extLst>
              <a:ext uri="{FF2B5EF4-FFF2-40B4-BE49-F238E27FC236}">
                <a16:creationId xmlns:a16="http://schemas.microsoft.com/office/drawing/2014/main" id="{ABE34117-5B85-F612-0708-3966F7AA91C0}"/>
              </a:ext>
            </a:extLst>
          </p:cNvPr>
          <p:cNvSpPr txBox="1">
            <a:spLocks/>
          </p:cNvSpPr>
          <p:nvPr/>
        </p:nvSpPr>
        <p:spPr>
          <a:xfrm>
            <a:off x="2053934" y="4598237"/>
            <a:ext cx="366447" cy="230832"/>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xxx</a:t>
            </a:r>
          </a:p>
        </p:txBody>
      </p:sp>
      <p:sp>
        <p:nvSpPr>
          <p:cNvPr id="2" name="Footer Placeholder 1">
            <a:extLst>
              <a:ext uri="{FF2B5EF4-FFF2-40B4-BE49-F238E27FC236}">
                <a16:creationId xmlns:a16="http://schemas.microsoft.com/office/drawing/2014/main" id="{58B0E4DF-4103-2FF2-7FCD-6AD3216DA5EF}"/>
              </a:ext>
            </a:extLst>
          </p:cNvPr>
          <p:cNvSpPr>
            <a:spLocks noGrp="1"/>
          </p:cNvSpPr>
          <p:nvPr>
            <p:ph type="ftr" sz="quarter" idx="3"/>
          </p:nvPr>
        </p:nvSpPr>
        <p:spPr/>
        <p:txBody>
          <a:bodyPr/>
          <a:lstStyle/>
          <a:p>
            <a:r>
              <a:rPr lang="en-US"/>
              <a:t>Source:_______</a:t>
            </a:r>
            <a:endParaRPr lang="en-US" dirty="0"/>
          </a:p>
        </p:txBody>
      </p:sp>
      <p:sp>
        <p:nvSpPr>
          <p:cNvPr id="50" name="Título 49">
            <a:extLst>
              <a:ext uri="{FF2B5EF4-FFF2-40B4-BE49-F238E27FC236}">
                <a16:creationId xmlns:a16="http://schemas.microsoft.com/office/drawing/2014/main" id="{913BCA92-766A-85BB-D31C-C385BCA6907D}"/>
              </a:ext>
            </a:extLst>
          </p:cNvPr>
          <p:cNvSpPr>
            <a:spLocks noGrp="1"/>
          </p:cNvSpPr>
          <p:nvPr>
            <p:ph type="title"/>
          </p:nvPr>
        </p:nvSpPr>
        <p:spPr/>
        <p:txBody>
          <a:bodyPr vert="horz"/>
          <a:lstStyle/>
          <a:p>
            <a:r>
              <a:rPr lang="en-US" dirty="0"/>
              <a:t>Template - Customer Touchpoints</a:t>
            </a:r>
          </a:p>
        </p:txBody>
      </p:sp>
    </p:spTree>
    <p:extLst>
      <p:ext uri="{BB962C8B-B14F-4D97-AF65-F5344CB8AC3E}">
        <p14:creationId xmlns:p14="http://schemas.microsoft.com/office/powerpoint/2010/main" val="189108599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6" name="Objeto 55" hidden="1">
            <a:extLst>
              <a:ext uri="{FF2B5EF4-FFF2-40B4-BE49-F238E27FC236}">
                <a16:creationId xmlns:a16="http://schemas.microsoft.com/office/drawing/2014/main" id="{269115AB-B2A4-6643-32BB-FA430E6311EC}"/>
              </a:ext>
            </a:extLst>
          </p:cNvPr>
          <p:cNvGraphicFramePr>
            <a:graphicFrameLocks noChangeAspect="1"/>
          </p:cNvGraphicFramePr>
          <p:nvPr>
            <p:custDataLst>
              <p:tags r:id="rId1"/>
            </p:custDataLst>
            <p:extLst>
              <p:ext uri="{D42A27DB-BD31-4B8C-83A1-F6EECF244321}">
                <p14:modId xmlns:p14="http://schemas.microsoft.com/office/powerpoint/2010/main" val="133193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6" name="Objeto 55" hidden="1">
                        <a:extLst>
                          <a:ext uri="{FF2B5EF4-FFF2-40B4-BE49-F238E27FC236}">
                            <a16:creationId xmlns:a16="http://schemas.microsoft.com/office/drawing/2014/main" id="{269115AB-B2A4-6643-32BB-FA430E631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C499CB9-698A-3276-BB02-F4CB79BAD44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ADC5151-2954-F142-EE0D-964C48051F63}"/>
              </a:ext>
            </a:extLst>
          </p:cNvPr>
          <p:cNvSpPr>
            <a:spLocks noGrp="1"/>
          </p:cNvSpPr>
          <p:nvPr>
            <p:ph type="title"/>
          </p:nvPr>
        </p:nvSpPr>
        <p:spPr/>
        <p:txBody>
          <a:bodyPr vert="horz"/>
          <a:lstStyle/>
          <a:p>
            <a:r>
              <a:rPr lang="en-US" dirty="0"/>
              <a:t>Template - Customer Phases</a:t>
            </a:r>
          </a:p>
        </p:txBody>
      </p:sp>
      <p:sp>
        <p:nvSpPr>
          <p:cNvPr id="4" name="Rectangle 3">
            <a:extLst>
              <a:ext uri="{FF2B5EF4-FFF2-40B4-BE49-F238E27FC236}">
                <a16:creationId xmlns:a16="http://schemas.microsoft.com/office/drawing/2014/main" id="{3C1894F1-0432-C0C5-8DAB-B5D15F0EC718}"/>
              </a:ext>
            </a:extLst>
          </p:cNvPr>
          <p:cNvSpPr/>
          <p:nvPr/>
        </p:nvSpPr>
        <p:spPr>
          <a:xfrm>
            <a:off x="384173" y="2636335"/>
            <a:ext cx="11436351"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5" name="Rectangle 4">
            <a:extLst>
              <a:ext uri="{FF2B5EF4-FFF2-40B4-BE49-F238E27FC236}">
                <a16:creationId xmlns:a16="http://schemas.microsoft.com/office/drawing/2014/main" id="{CB4D146C-CC43-45B6-95CB-2BE123BF1710}"/>
              </a:ext>
            </a:extLst>
          </p:cNvPr>
          <p:cNvSpPr/>
          <p:nvPr/>
        </p:nvSpPr>
        <p:spPr>
          <a:xfrm>
            <a:off x="1542241" y="3520336"/>
            <a:ext cx="10278283"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6" name="Rectangle 5">
            <a:extLst>
              <a:ext uri="{FF2B5EF4-FFF2-40B4-BE49-F238E27FC236}">
                <a16:creationId xmlns:a16="http://schemas.microsoft.com/office/drawing/2014/main" id="{9F47455A-C08B-5C57-F597-8D375B21C525}"/>
              </a:ext>
            </a:extLst>
          </p:cNvPr>
          <p:cNvSpPr/>
          <p:nvPr/>
        </p:nvSpPr>
        <p:spPr>
          <a:xfrm>
            <a:off x="371475" y="4378938"/>
            <a:ext cx="11449050" cy="80425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cxnSp>
        <p:nvCxnSpPr>
          <p:cNvPr id="7" name="Straight Connector 9">
            <a:extLst>
              <a:ext uri="{FF2B5EF4-FFF2-40B4-BE49-F238E27FC236}">
                <a16:creationId xmlns:a16="http://schemas.microsoft.com/office/drawing/2014/main" id="{B46D6F05-66D6-4D0E-D5B9-D476A2495D99}"/>
              </a:ext>
            </a:extLst>
          </p:cNvPr>
          <p:cNvCxnSpPr/>
          <p:nvPr/>
        </p:nvCxnSpPr>
        <p:spPr>
          <a:xfrm>
            <a:off x="1542242"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15">
            <a:extLst>
              <a:ext uri="{FF2B5EF4-FFF2-40B4-BE49-F238E27FC236}">
                <a16:creationId xmlns:a16="http://schemas.microsoft.com/office/drawing/2014/main" id="{AC39202D-EF88-6612-EF43-285666D853A0}"/>
              </a:ext>
            </a:extLst>
          </p:cNvPr>
          <p:cNvCxnSpPr/>
          <p:nvPr/>
        </p:nvCxnSpPr>
        <p:spPr>
          <a:xfrm>
            <a:off x="8381628"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20">
            <a:extLst>
              <a:ext uri="{FF2B5EF4-FFF2-40B4-BE49-F238E27FC236}">
                <a16:creationId xmlns:a16="http://schemas.microsoft.com/office/drawing/2014/main" id="{01941655-9ADA-F097-333F-164F1B217EEB}"/>
              </a:ext>
            </a:extLst>
          </p:cNvPr>
          <p:cNvCxnSpPr/>
          <p:nvPr/>
        </p:nvCxnSpPr>
        <p:spPr>
          <a:xfrm>
            <a:off x="6101833"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1">
            <a:extLst>
              <a:ext uri="{FF2B5EF4-FFF2-40B4-BE49-F238E27FC236}">
                <a16:creationId xmlns:a16="http://schemas.microsoft.com/office/drawing/2014/main" id="{AA05295D-C995-3EB9-E253-1BBC22E67DE8}"/>
              </a:ext>
            </a:extLst>
          </p:cNvPr>
          <p:cNvCxnSpPr/>
          <p:nvPr/>
        </p:nvCxnSpPr>
        <p:spPr>
          <a:xfrm>
            <a:off x="3822037" y="1522656"/>
            <a:ext cx="0" cy="4786069"/>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Freeform 16">
            <a:extLst>
              <a:ext uri="{FF2B5EF4-FFF2-40B4-BE49-F238E27FC236}">
                <a16:creationId xmlns:a16="http://schemas.microsoft.com/office/drawing/2014/main" id="{901EC604-A77D-B796-8A50-1212B6997A88}"/>
              </a:ext>
            </a:extLst>
          </p:cNvPr>
          <p:cNvSpPr/>
          <p:nvPr/>
        </p:nvSpPr>
        <p:spPr>
          <a:xfrm rot="10800000">
            <a:off x="1031940" y="4588193"/>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2" name="Freeform 17">
            <a:extLst>
              <a:ext uri="{FF2B5EF4-FFF2-40B4-BE49-F238E27FC236}">
                <a16:creationId xmlns:a16="http://schemas.microsoft.com/office/drawing/2014/main" id="{772BF454-3712-4BE4-FD6F-CF6382F732C3}"/>
              </a:ext>
            </a:extLst>
          </p:cNvPr>
          <p:cNvSpPr/>
          <p:nvPr/>
        </p:nvSpPr>
        <p:spPr>
          <a:xfrm>
            <a:off x="1031940" y="2843928"/>
            <a:ext cx="390210" cy="389065"/>
          </a:xfrm>
          <a:custGeom>
            <a:avLst/>
            <a:gdLst>
              <a:gd name="connsiteX0" fmla="*/ 179856 w 1480827"/>
              <a:gd name="connsiteY0" fmla="*/ 1283844 h 1476482"/>
              <a:gd name="connsiteX1" fmla="*/ 215734 w 1480827"/>
              <a:gd name="connsiteY1" fmla="*/ 1318299 h 1476482"/>
              <a:gd name="connsiteX2" fmla="*/ 179856 w 1480827"/>
              <a:gd name="connsiteY2" fmla="*/ 1350099 h 1476482"/>
              <a:gd name="connsiteX3" fmla="*/ 149497 w 1480827"/>
              <a:gd name="connsiteY3" fmla="*/ 1318299 h 1476482"/>
              <a:gd name="connsiteX4" fmla="*/ 179856 w 1480827"/>
              <a:gd name="connsiteY4" fmla="*/ 1283844 h 1476482"/>
              <a:gd name="connsiteX5" fmla="*/ 62572 w 1480827"/>
              <a:gd name="connsiteY5" fmla="*/ 788960 h 1476482"/>
              <a:gd name="connsiteX6" fmla="*/ 62572 w 1480827"/>
              <a:gd name="connsiteY6" fmla="*/ 1414213 h 1476482"/>
              <a:gd name="connsiteX7" fmla="*/ 302427 w 1480827"/>
              <a:gd name="connsiteY7" fmla="*/ 1414213 h 1476482"/>
              <a:gd name="connsiteX8" fmla="*/ 302427 w 1480827"/>
              <a:gd name="connsiteY8" fmla="*/ 788960 h 1476482"/>
              <a:gd name="connsiteX9" fmla="*/ 682408 w 1480827"/>
              <a:gd name="connsiteY9" fmla="*/ 63493 h 1476482"/>
              <a:gd name="connsiteX10" fmla="*/ 649164 w 1480827"/>
              <a:gd name="connsiteY10" fmla="*/ 67707 h 1476482"/>
              <a:gd name="connsiteX11" fmla="*/ 662203 w 1480827"/>
              <a:gd name="connsiteY11" fmla="*/ 332344 h 1476482"/>
              <a:gd name="connsiteX12" fmla="*/ 469280 w 1480827"/>
              <a:gd name="connsiteY12" fmla="*/ 607354 h 1476482"/>
              <a:gd name="connsiteX13" fmla="*/ 364992 w 1480827"/>
              <a:gd name="connsiteY13" fmla="*/ 757826 h 1476482"/>
              <a:gd name="connsiteX14" fmla="*/ 364992 w 1480827"/>
              <a:gd name="connsiteY14" fmla="*/ 1414213 h 1476482"/>
              <a:gd name="connsiteX15" fmla="*/ 1201870 w 1480827"/>
              <a:gd name="connsiteY15" fmla="*/ 1414213 h 1476482"/>
              <a:gd name="connsiteX16" fmla="*/ 1204478 w 1480827"/>
              <a:gd name="connsiteY16" fmla="*/ 1414213 h 1476482"/>
              <a:gd name="connsiteX17" fmla="*/ 1308759 w 1480827"/>
              <a:gd name="connsiteY17" fmla="*/ 1307839 h 1476482"/>
              <a:gd name="connsiteX18" fmla="*/ 1293120 w 1480827"/>
              <a:gd name="connsiteY18" fmla="*/ 1258547 h 1476482"/>
              <a:gd name="connsiteX19" fmla="*/ 1293120 w 1480827"/>
              <a:gd name="connsiteY19" fmla="*/ 1230010 h 1476482"/>
              <a:gd name="connsiteX20" fmla="*/ 1313974 w 1480827"/>
              <a:gd name="connsiteY20" fmla="*/ 1211846 h 1476482"/>
              <a:gd name="connsiteX21" fmla="*/ 1402616 w 1480827"/>
              <a:gd name="connsiteY21" fmla="*/ 1108076 h 1476482"/>
              <a:gd name="connsiteX22" fmla="*/ 1373938 w 1480827"/>
              <a:gd name="connsiteY22" fmla="*/ 1035426 h 1476482"/>
              <a:gd name="connsiteX23" fmla="*/ 1363507 w 1480827"/>
              <a:gd name="connsiteY23" fmla="*/ 1012082 h 1476482"/>
              <a:gd name="connsiteX24" fmla="*/ 1376546 w 1480827"/>
              <a:gd name="connsiteY24" fmla="*/ 991321 h 1476482"/>
              <a:gd name="connsiteX25" fmla="*/ 1420863 w 1480827"/>
              <a:gd name="connsiteY25" fmla="*/ 905708 h 1476482"/>
              <a:gd name="connsiteX26" fmla="*/ 1360900 w 1480827"/>
              <a:gd name="connsiteY26" fmla="*/ 827879 h 1476482"/>
              <a:gd name="connsiteX27" fmla="*/ 1329621 w 1480827"/>
              <a:gd name="connsiteY27" fmla="*/ 794147 h 1476482"/>
              <a:gd name="connsiteX28" fmla="*/ 1360900 w 1480827"/>
              <a:gd name="connsiteY28" fmla="*/ 763012 h 1476482"/>
              <a:gd name="connsiteX29" fmla="*/ 1407832 w 1480827"/>
              <a:gd name="connsiteY29" fmla="*/ 672213 h 1476482"/>
              <a:gd name="connsiteX30" fmla="*/ 1329621 w 1480827"/>
              <a:gd name="connsiteY30" fmla="*/ 581406 h 1476482"/>
              <a:gd name="connsiteX31" fmla="*/ 891627 w 1480827"/>
              <a:gd name="connsiteY31" fmla="*/ 581406 h 1476482"/>
              <a:gd name="connsiteX32" fmla="*/ 868165 w 1480827"/>
              <a:gd name="connsiteY32" fmla="*/ 568436 h 1476482"/>
              <a:gd name="connsiteX33" fmla="*/ 862949 w 1480827"/>
              <a:gd name="connsiteY33" fmla="*/ 539898 h 1476482"/>
              <a:gd name="connsiteX34" fmla="*/ 886412 w 1480827"/>
              <a:gd name="connsiteY34" fmla="*/ 296022 h 1476482"/>
              <a:gd name="connsiteX35" fmla="*/ 735198 w 1480827"/>
              <a:gd name="connsiteY35" fmla="*/ 65117 h 1476482"/>
              <a:gd name="connsiteX36" fmla="*/ 682408 w 1480827"/>
              <a:gd name="connsiteY36" fmla="*/ 63493 h 1476482"/>
              <a:gd name="connsiteX37" fmla="*/ 737806 w 1480827"/>
              <a:gd name="connsiteY37" fmla="*/ 251 h 1476482"/>
              <a:gd name="connsiteX38" fmla="*/ 948983 w 1480827"/>
              <a:gd name="connsiteY38" fmla="*/ 290828 h 1476482"/>
              <a:gd name="connsiteX39" fmla="*/ 930736 w 1480827"/>
              <a:gd name="connsiteY39" fmla="*/ 519137 h 1476482"/>
              <a:gd name="connsiteX40" fmla="*/ 1329621 w 1480827"/>
              <a:gd name="connsiteY40" fmla="*/ 519137 h 1476482"/>
              <a:gd name="connsiteX41" fmla="*/ 1473004 w 1480827"/>
              <a:gd name="connsiteY41" fmla="*/ 672213 h 1476482"/>
              <a:gd name="connsiteX42" fmla="*/ 1431294 w 1480827"/>
              <a:gd name="connsiteY42" fmla="*/ 788960 h 1476482"/>
              <a:gd name="connsiteX43" fmla="*/ 1480827 w 1480827"/>
              <a:gd name="connsiteY43" fmla="*/ 905708 h 1476482"/>
              <a:gd name="connsiteX44" fmla="*/ 1436510 w 1480827"/>
              <a:gd name="connsiteY44" fmla="*/ 1019866 h 1476482"/>
              <a:gd name="connsiteX45" fmla="*/ 1465188 w 1480827"/>
              <a:gd name="connsiteY45" fmla="*/ 1108076 h 1476482"/>
              <a:gd name="connsiteX46" fmla="*/ 1363507 w 1480827"/>
              <a:gd name="connsiteY46" fmla="*/ 1261144 h 1476482"/>
              <a:gd name="connsiteX47" fmla="*/ 1368723 w 1480827"/>
              <a:gd name="connsiteY47" fmla="*/ 1307839 h 1476482"/>
              <a:gd name="connsiteX48" fmla="*/ 1212301 w 1480827"/>
              <a:gd name="connsiteY48" fmla="*/ 1473885 h 1476482"/>
              <a:gd name="connsiteX49" fmla="*/ 1201870 w 1480827"/>
              <a:gd name="connsiteY49" fmla="*/ 1476482 h 1476482"/>
              <a:gd name="connsiteX50" fmla="*/ 31286 w 1480827"/>
              <a:gd name="connsiteY50" fmla="*/ 1476482 h 1476482"/>
              <a:gd name="connsiteX51" fmla="*/ 0 w 1480827"/>
              <a:gd name="connsiteY51" fmla="*/ 1442751 h 1476482"/>
              <a:gd name="connsiteX52" fmla="*/ 0 w 1480827"/>
              <a:gd name="connsiteY52" fmla="*/ 757826 h 1476482"/>
              <a:gd name="connsiteX53" fmla="*/ 31286 w 1480827"/>
              <a:gd name="connsiteY53" fmla="*/ 726691 h 1476482"/>
              <a:gd name="connsiteX54" fmla="*/ 305028 w 1480827"/>
              <a:gd name="connsiteY54" fmla="*/ 726691 h 1476482"/>
              <a:gd name="connsiteX55" fmla="*/ 422348 w 1480827"/>
              <a:gd name="connsiteY55" fmla="*/ 565839 h 1476482"/>
              <a:gd name="connsiteX56" fmla="*/ 602239 w 1480827"/>
              <a:gd name="connsiteY56" fmla="*/ 306396 h 1476482"/>
              <a:gd name="connsiteX57" fmla="*/ 581384 w 1480827"/>
              <a:gd name="connsiteY57" fmla="*/ 54736 h 1476482"/>
              <a:gd name="connsiteX58" fmla="*/ 597024 w 1480827"/>
              <a:gd name="connsiteY58" fmla="*/ 21012 h 1476482"/>
              <a:gd name="connsiteX59" fmla="*/ 737806 w 1480827"/>
              <a:gd name="connsiteY59" fmla="*/ 251 h 147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80827" h="1476482">
                <a:moveTo>
                  <a:pt x="179856" y="1283844"/>
                </a:moveTo>
                <a:cubicBezTo>
                  <a:pt x="199175" y="1283844"/>
                  <a:pt x="215734" y="1299744"/>
                  <a:pt x="215734" y="1318299"/>
                </a:cubicBezTo>
                <a:cubicBezTo>
                  <a:pt x="215734" y="1336847"/>
                  <a:pt x="199175" y="1350099"/>
                  <a:pt x="179856" y="1350099"/>
                </a:cubicBezTo>
                <a:cubicBezTo>
                  <a:pt x="163296" y="1350099"/>
                  <a:pt x="149497" y="1336847"/>
                  <a:pt x="149497" y="1318299"/>
                </a:cubicBezTo>
                <a:cubicBezTo>
                  <a:pt x="149497" y="1299744"/>
                  <a:pt x="163296" y="1283844"/>
                  <a:pt x="179856" y="1283844"/>
                </a:cubicBezTo>
                <a:close/>
                <a:moveTo>
                  <a:pt x="62572" y="788960"/>
                </a:moveTo>
                <a:lnTo>
                  <a:pt x="62572" y="1414213"/>
                </a:lnTo>
                <a:lnTo>
                  <a:pt x="302427" y="1414213"/>
                </a:lnTo>
                <a:lnTo>
                  <a:pt x="302427" y="788960"/>
                </a:lnTo>
                <a:close/>
                <a:moveTo>
                  <a:pt x="682408" y="63493"/>
                </a:moveTo>
                <a:cubicBezTo>
                  <a:pt x="668069" y="64466"/>
                  <a:pt x="656988" y="66412"/>
                  <a:pt x="649164" y="67707"/>
                </a:cubicBezTo>
                <a:cubicBezTo>
                  <a:pt x="662203" y="127379"/>
                  <a:pt x="685665" y="270074"/>
                  <a:pt x="662203" y="332344"/>
                </a:cubicBezTo>
                <a:cubicBezTo>
                  <a:pt x="625702" y="438711"/>
                  <a:pt x="539668" y="529517"/>
                  <a:pt x="469280" y="607354"/>
                </a:cubicBezTo>
                <a:cubicBezTo>
                  <a:pt x="417139" y="667019"/>
                  <a:pt x="364992" y="721504"/>
                  <a:pt x="364992" y="757826"/>
                </a:cubicBezTo>
                <a:lnTo>
                  <a:pt x="364992" y="1414213"/>
                </a:lnTo>
                <a:lnTo>
                  <a:pt x="1201870" y="1414213"/>
                </a:lnTo>
                <a:cubicBezTo>
                  <a:pt x="1204478" y="1414213"/>
                  <a:pt x="1204478" y="1414213"/>
                  <a:pt x="1204478" y="1414213"/>
                </a:cubicBezTo>
                <a:cubicBezTo>
                  <a:pt x="1264442" y="1409026"/>
                  <a:pt x="1308759" y="1362324"/>
                  <a:pt x="1308759" y="1307839"/>
                </a:cubicBezTo>
                <a:cubicBezTo>
                  <a:pt x="1308759" y="1292279"/>
                  <a:pt x="1300943" y="1274115"/>
                  <a:pt x="1293120" y="1258547"/>
                </a:cubicBezTo>
                <a:cubicBezTo>
                  <a:pt x="1287904" y="1250764"/>
                  <a:pt x="1287904" y="1237793"/>
                  <a:pt x="1293120" y="1230010"/>
                </a:cubicBezTo>
                <a:cubicBezTo>
                  <a:pt x="1295727" y="1219629"/>
                  <a:pt x="1306151" y="1214442"/>
                  <a:pt x="1313974" y="1211846"/>
                </a:cubicBezTo>
                <a:cubicBezTo>
                  <a:pt x="1363507" y="1198875"/>
                  <a:pt x="1402616" y="1159964"/>
                  <a:pt x="1402616" y="1108076"/>
                </a:cubicBezTo>
                <a:cubicBezTo>
                  <a:pt x="1402616" y="1082128"/>
                  <a:pt x="1389578" y="1056187"/>
                  <a:pt x="1373938" y="1035426"/>
                </a:cubicBezTo>
                <a:cubicBezTo>
                  <a:pt x="1363507" y="1030239"/>
                  <a:pt x="1360900" y="1019866"/>
                  <a:pt x="1363507" y="1012082"/>
                </a:cubicBezTo>
                <a:cubicBezTo>
                  <a:pt x="1363507" y="1004298"/>
                  <a:pt x="1368723" y="993918"/>
                  <a:pt x="1376546" y="991321"/>
                </a:cubicBezTo>
                <a:cubicBezTo>
                  <a:pt x="1405224" y="967977"/>
                  <a:pt x="1420863" y="939432"/>
                  <a:pt x="1420863" y="905708"/>
                </a:cubicBezTo>
                <a:cubicBezTo>
                  <a:pt x="1420863" y="851222"/>
                  <a:pt x="1384369" y="827879"/>
                  <a:pt x="1360900" y="827879"/>
                </a:cubicBezTo>
                <a:cubicBezTo>
                  <a:pt x="1342652" y="827879"/>
                  <a:pt x="1329621" y="812311"/>
                  <a:pt x="1329621" y="794147"/>
                </a:cubicBezTo>
                <a:cubicBezTo>
                  <a:pt x="1329621" y="778580"/>
                  <a:pt x="1342652" y="763012"/>
                  <a:pt x="1360900" y="763012"/>
                </a:cubicBezTo>
                <a:cubicBezTo>
                  <a:pt x="1373938" y="763012"/>
                  <a:pt x="1407832" y="739669"/>
                  <a:pt x="1407832" y="672213"/>
                </a:cubicBezTo>
                <a:cubicBezTo>
                  <a:pt x="1407832" y="617727"/>
                  <a:pt x="1366115" y="581406"/>
                  <a:pt x="1329621" y="581406"/>
                </a:cubicBezTo>
                <a:lnTo>
                  <a:pt x="891627" y="581406"/>
                </a:lnTo>
                <a:cubicBezTo>
                  <a:pt x="881196" y="581406"/>
                  <a:pt x="870772" y="578809"/>
                  <a:pt x="868165" y="568436"/>
                </a:cubicBezTo>
                <a:cubicBezTo>
                  <a:pt x="860341" y="560652"/>
                  <a:pt x="860341" y="550271"/>
                  <a:pt x="862949" y="539898"/>
                </a:cubicBezTo>
                <a:cubicBezTo>
                  <a:pt x="870772" y="506166"/>
                  <a:pt x="894235" y="410173"/>
                  <a:pt x="886412" y="296022"/>
                </a:cubicBezTo>
                <a:cubicBezTo>
                  <a:pt x="870772" y="163700"/>
                  <a:pt x="808201" y="67707"/>
                  <a:pt x="735198" y="65117"/>
                </a:cubicBezTo>
                <a:cubicBezTo>
                  <a:pt x="714344" y="62520"/>
                  <a:pt x="696747" y="62520"/>
                  <a:pt x="682408" y="63493"/>
                </a:cubicBezTo>
                <a:close/>
                <a:moveTo>
                  <a:pt x="737806" y="251"/>
                </a:moveTo>
                <a:cubicBezTo>
                  <a:pt x="844702" y="5445"/>
                  <a:pt x="930736" y="122192"/>
                  <a:pt x="948983" y="290828"/>
                </a:cubicBezTo>
                <a:cubicBezTo>
                  <a:pt x="956807" y="384232"/>
                  <a:pt x="943768" y="467255"/>
                  <a:pt x="930736" y="519137"/>
                </a:cubicBezTo>
                <a:lnTo>
                  <a:pt x="1329621" y="519137"/>
                </a:lnTo>
                <a:cubicBezTo>
                  <a:pt x="1405224" y="519137"/>
                  <a:pt x="1473004" y="589190"/>
                  <a:pt x="1473004" y="672213"/>
                </a:cubicBezTo>
                <a:cubicBezTo>
                  <a:pt x="1473004" y="724101"/>
                  <a:pt x="1454757" y="763012"/>
                  <a:pt x="1431294" y="788960"/>
                </a:cubicBezTo>
                <a:cubicBezTo>
                  <a:pt x="1462580" y="814901"/>
                  <a:pt x="1480827" y="853819"/>
                  <a:pt x="1480827" y="905708"/>
                </a:cubicBezTo>
                <a:cubicBezTo>
                  <a:pt x="1480827" y="947216"/>
                  <a:pt x="1467796" y="988731"/>
                  <a:pt x="1436510" y="1019866"/>
                </a:cubicBezTo>
                <a:cubicBezTo>
                  <a:pt x="1454757" y="1045806"/>
                  <a:pt x="1465188" y="1076941"/>
                  <a:pt x="1465188" y="1108076"/>
                </a:cubicBezTo>
                <a:cubicBezTo>
                  <a:pt x="1465188" y="1172934"/>
                  <a:pt x="1423471" y="1235196"/>
                  <a:pt x="1363507" y="1261144"/>
                </a:cubicBezTo>
                <a:cubicBezTo>
                  <a:pt x="1366115" y="1276712"/>
                  <a:pt x="1368723" y="1292279"/>
                  <a:pt x="1368723" y="1307839"/>
                </a:cubicBezTo>
                <a:cubicBezTo>
                  <a:pt x="1368723" y="1396056"/>
                  <a:pt x="1300943" y="1466102"/>
                  <a:pt x="1212301" y="1473885"/>
                </a:cubicBezTo>
                <a:cubicBezTo>
                  <a:pt x="1209693" y="1476482"/>
                  <a:pt x="1204478" y="1476482"/>
                  <a:pt x="1201870" y="1476482"/>
                </a:cubicBezTo>
                <a:lnTo>
                  <a:pt x="31286" y="1476482"/>
                </a:lnTo>
                <a:cubicBezTo>
                  <a:pt x="13039" y="1476482"/>
                  <a:pt x="0" y="1460915"/>
                  <a:pt x="0" y="1442751"/>
                </a:cubicBezTo>
                <a:lnTo>
                  <a:pt x="0" y="757826"/>
                </a:lnTo>
                <a:cubicBezTo>
                  <a:pt x="0" y="739669"/>
                  <a:pt x="13039" y="726691"/>
                  <a:pt x="31286" y="726691"/>
                </a:cubicBezTo>
                <a:lnTo>
                  <a:pt x="305028" y="726691"/>
                </a:lnTo>
                <a:cubicBezTo>
                  <a:pt x="320674" y="677400"/>
                  <a:pt x="367599" y="628108"/>
                  <a:pt x="422348" y="565839"/>
                </a:cubicBezTo>
                <a:cubicBezTo>
                  <a:pt x="492742" y="490599"/>
                  <a:pt x="570953" y="404986"/>
                  <a:pt x="602239" y="306396"/>
                </a:cubicBezTo>
                <a:cubicBezTo>
                  <a:pt x="620486" y="267485"/>
                  <a:pt x="599631" y="127379"/>
                  <a:pt x="581384" y="54736"/>
                </a:cubicBezTo>
                <a:cubicBezTo>
                  <a:pt x="578777" y="41766"/>
                  <a:pt x="589200" y="26199"/>
                  <a:pt x="597024" y="21012"/>
                </a:cubicBezTo>
                <a:cubicBezTo>
                  <a:pt x="602239" y="15818"/>
                  <a:pt x="641348" y="-2339"/>
                  <a:pt x="737806" y="25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13" name="TextBox 18">
            <a:extLst>
              <a:ext uri="{FF2B5EF4-FFF2-40B4-BE49-F238E27FC236}">
                <a16:creationId xmlns:a16="http://schemas.microsoft.com/office/drawing/2014/main" id="{5178C707-F826-6F74-4F03-72569DE985E6}"/>
              </a:ext>
            </a:extLst>
          </p:cNvPr>
          <p:cNvSpPr txBox="1"/>
          <p:nvPr/>
        </p:nvSpPr>
        <p:spPr>
          <a:xfrm rot="16200000">
            <a:off x="673046" y="1845915"/>
            <a:ext cx="1107996" cy="400110"/>
          </a:xfrm>
          <a:prstGeom prst="rect">
            <a:avLst/>
          </a:prstGeom>
          <a:noFill/>
        </p:spPr>
        <p:txBody>
          <a:bodyPr wrap="none" rtlCol="0" anchor="t" anchorCtr="0">
            <a:spAutoFit/>
          </a:bodyPr>
          <a:lstStyle/>
          <a:p>
            <a:r>
              <a:rPr lang="en-US" sz="1000" b="1" dirty="0">
                <a:solidFill>
                  <a:schemeClr val="tx2"/>
                </a:solidFill>
                <a:ea typeface="League Spartan" charset="0"/>
                <a:cs typeface="Poppins" pitchFamily="2" charset="77"/>
              </a:rPr>
              <a:t>Needs &amp;</a:t>
            </a:r>
          </a:p>
          <a:p>
            <a:r>
              <a:rPr lang="en-US" sz="1000" b="1" dirty="0">
                <a:solidFill>
                  <a:schemeClr val="tx2"/>
                </a:solidFill>
                <a:ea typeface="League Spartan" charset="0"/>
                <a:cs typeface="Poppins" pitchFamily="2" charset="77"/>
              </a:rPr>
              <a:t>Expectations</a:t>
            </a:r>
          </a:p>
        </p:txBody>
      </p:sp>
      <p:sp>
        <p:nvSpPr>
          <p:cNvPr id="14" name="TextBox 19">
            <a:extLst>
              <a:ext uri="{FF2B5EF4-FFF2-40B4-BE49-F238E27FC236}">
                <a16:creationId xmlns:a16="http://schemas.microsoft.com/office/drawing/2014/main" id="{E4DDBED6-19B4-2953-76A4-09AAF4DA2D5F}"/>
              </a:ext>
            </a:extLst>
          </p:cNvPr>
          <p:cNvSpPr txBox="1"/>
          <p:nvPr/>
        </p:nvSpPr>
        <p:spPr>
          <a:xfrm rot="16200000">
            <a:off x="789265" y="5579427"/>
            <a:ext cx="875561" cy="400110"/>
          </a:xfrm>
          <a:prstGeom prst="rect">
            <a:avLst/>
          </a:prstGeom>
          <a:noFill/>
        </p:spPr>
        <p:txBody>
          <a:bodyPr wrap="none" rtlCol="0" anchor="t" anchorCtr="0">
            <a:spAutoFit/>
          </a:bodyPr>
          <a:lstStyle/>
          <a:p>
            <a:pPr algn="r"/>
            <a:r>
              <a:rPr lang="en-US" sz="1000" b="1" dirty="0">
                <a:solidFill>
                  <a:schemeClr val="tx2"/>
                </a:solidFill>
                <a:ea typeface="League Spartan" charset="0"/>
                <a:cs typeface="Poppins" pitchFamily="2" charset="77"/>
              </a:rPr>
              <a:t>Voice Of</a:t>
            </a:r>
          </a:p>
          <a:p>
            <a:pPr algn="r"/>
            <a:r>
              <a:rPr lang="en-US" sz="1000" b="1" dirty="0">
                <a:solidFill>
                  <a:schemeClr val="tx2"/>
                </a:solidFill>
                <a:ea typeface="League Spartan" charset="0"/>
                <a:cs typeface="Poppins" pitchFamily="2" charset="77"/>
              </a:rPr>
              <a:t>Customer</a:t>
            </a:r>
          </a:p>
        </p:txBody>
      </p:sp>
      <p:sp>
        <p:nvSpPr>
          <p:cNvPr id="15" name="TextBox 22">
            <a:extLst>
              <a:ext uri="{FF2B5EF4-FFF2-40B4-BE49-F238E27FC236}">
                <a16:creationId xmlns:a16="http://schemas.microsoft.com/office/drawing/2014/main" id="{2E0FA156-1924-2F95-98D4-BD59D8E839C0}"/>
              </a:ext>
            </a:extLst>
          </p:cNvPr>
          <p:cNvSpPr txBox="1"/>
          <p:nvPr/>
        </p:nvSpPr>
        <p:spPr>
          <a:xfrm>
            <a:off x="166962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1</a:t>
            </a:r>
          </a:p>
        </p:txBody>
      </p:sp>
      <p:sp>
        <p:nvSpPr>
          <p:cNvPr id="16" name="TextBox 23">
            <a:extLst>
              <a:ext uri="{FF2B5EF4-FFF2-40B4-BE49-F238E27FC236}">
                <a16:creationId xmlns:a16="http://schemas.microsoft.com/office/drawing/2014/main" id="{5FA72F39-2C01-AEF1-190F-5A57B4E27289}"/>
              </a:ext>
            </a:extLst>
          </p:cNvPr>
          <p:cNvSpPr txBox="1"/>
          <p:nvPr/>
        </p:nvSpPr>
        <p:spPr>
          <a:xfrm>
            <a:off x="3949413"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2</a:t>
            </a:r>
          </a:p>
        </p:txBody>
      </p:sp>
      <p:sp>
        <p:nvSpPr>
          <p:cNvPr id="17" name="TextBox 24">
            <a:extLst>
              <a:ext uri="{FF2B5EF4-FFF2-40B4-BE49-F238E27FC236}">
                <a16:creationId xmlns:a16="http://schemas.microsoft.com/office/drawing/2014/main" id="{99EA0B87-9798-0FBC-1CB9-3D04C12562CE}"/>
              </a:ext>
            </a:extLst>
          </p:cNvPr>
          <p:cNvSpPr txBox="1"/>
          <p:nvPr/>
        </p:nvSpPr>
        <p:spPr>
          <a:xfrm>
            <a:off x="6229210" y="1557601"/>
            <a:ext cx="1473545"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3</a:t>
            </a:r>
          </a:p>
        </p:txBody>
      </p:sp>
      <p:sp>
        <p:nvSpPr>
          <p:cNvPr id="18" name="TextBox 25">
            <a:extLst>
              <a:ext uri="{FF2B5EF4-FFF2-40B4-BE49-F238E27FC236}">
                <a16:creationId xmlns:a16="http://schemas.microsoft.com/office/drawing/2014/main" id="{0227EA55-2DA6-A7BF-62CC-86FB5EF923D4}"/>
              </a:ext>
            </a:extLst>
          </p:cNvPr>
          <p:cNvSpPr txBox="1"/>
          <p:nvPr/>
        </p:nvSpPr>
        <p:spPr>
          <a:xfrm>
            <a:off x="8509004" y="1557601"/>
            <a:ext cx="1473547" cy="276999"/>
          </a:xfrm>
          <a:prstGeom prst="rect">
            <a:avLst/>
          </a:prstGeom>
          <a:noFill/>
        </p:spPr>
        <p:txBody>
          <a:bodyPr wrap="square" lIns="0" rtlCol="0" anchor="t" anchorCtr="0">
            <a:spAutoFit/>
          </a:bodyPr>
          <a:lstStyle/>
          <a:p>
            <a:r>
              <a:rPr lang="en-US" sz="1200" b="1" dirty="0">
                <a:solidFill>
                  <a:schemeClr val="tx2"/>
                </a:solidFill>
                <a:ea typeface="League Spartan" charset="0"/>
                <a:cs typeface="Poppins" pitchFamily="2" charset="77"/>
              </a:rPr>
              <a:t>PHASE 4</a:t>
            </a:r>
          </a:p>
        </p:txBody>
      </p:sp>
      <p:sp>
        <p:nvSpPr>
          <p:cNvPr id="19" name="Subtitle 2">
            <a:extLst>
              <a:ext uri="{FF2B5EF4-FFF2-40B4-BE49-F238E27FC236}">
                <a16:creationId xmlns:a16="http://schemas.microsoft.com/office/drawing/2014/main" id="{71D53371-8E24-2932-9592-5ED7BF19E764}"/>
              </a:ext>
            </a:extLst>
          </p:cNvPr>
          <p:cNvSpPr txBox="1">
            <a:spLocks/>
          </p:cNvSpPr>
          <p:nvPr/>
        </p:nvSpPr>
        <p:spPr>
          <a:xfrm>
            <a:off x="1669618" y="1797107"/>
            <a:ext cx="202745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1C7FE218-B987-33E0-20E6-073F8BB352F5}"/>
              </a:ext>
            </a:extLst>
          </p:cNvPr>
          <p:cNvSpPr txBox="1">
            <a:spLocks/>
          </p:cNvSpPr>
          <p:nvPr/>
        </p:nvSpPr>
        <p:spPr>
          <a:xfrm>
            <a:off x="3981196" y="1797107"/>
            <a:ext cx="1995671"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Subtitle 2">
            <a:extLst>
              <a:ext uri="{FF2B5EF4-FFF2-40B4-BE49-F238E27FC236}">
                <a16:creationId xmlns:a16="http://schemas.microsoft.com/office/drawing/2014/main" id="{6D91ED52-2830-69C8-0059-280D3B6F68C5}"/>
              </a:ext>
            </a:extLst>
          </p:cNvPr>
          <p:cNvSpPr txBox="1">
            <a:spLocks/>
          </p:cNvSpPr>
          <p:nvPr/>
        </p:nvSpPr>
        <p:spPr>
          <a:xfrm>
            <a:off x="6224388"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2" name="Subtitle 2">
            <a:extLst>
              <a:ext uri="{FF2B5EF4-FFF2-40B4-BE49-F238E27FC236}">
                <a16:creationId xmlns:a16="http://schemas.microsoft.com/office/drawing/2014/main" id="{6A434FD9-BD13-3D1C-F0C1-E20CE0C515FF}"/>
              </a:ext>
            </a:extLst>
          </p:cNvPr>
          <p:cNvSpPr txBox="1">
            <a:spLocks/>
          </p:cNvSpPr>
          <p:nvPr/>
        </p:nvSpPr>
        <p:spPr>
          <a:xfrm>
            <a:off x="8506595" y="1797107"/>
            <a:ext cx="2029863" cy="11744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Subtitle 2">
            <a:extLst>
              <a:ext uri="{FF2B5EF4-FFF2-40B4-BE49-F238E27FC236}">
                <a16:creationId xmlns:a16="http://schemas.microsoft.com/office/drawing/2014/main" id="{456EA0A5-CEF2-5F03-FCED-5167BB22AA26}"/>
              </a:ext>
            </a:extLst>
          </p:cNvPr>
          <p:cNvSpPr txBox="1">
            <a:spLocks/>
          </p:cNvSpPr>
          <p:nvPr/>
        </p:nvSpPr>
        <p:spPr>
          <a:xfrm>
            <a:off x="1667208"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4" name="Subtitle 2">
            <a:extLst>
              <a:ext uri="{FF2B5EF4-FFF2-40B4-BE49-F238E27FC236}">
                <a16:creationId xmlns:a16="http://schemas.microsoft.com/office/drawing/2014/main" id="{4551C54D-FA60-D834-898D-C0BFED201A95}"/>
              </a:ext>
            </a:extLst>
          </p:cNvPr>
          <p:cNvSpPr txBox="1">
            <a:spLocks/>
          </p:cNvSpPr>
          <p:nvPr/>
        </p:nvSpPr>
        <p:spPr>
          <a:xfrm>
            <a:off x="3947004"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Subtitle 2">
            <a:extLst>
              <a:ext uri="{FF2B5EF4-FFF2-40B4-BE49-F238E27FC236}">
                <a16:creationId xmlns:a16="http://schemas.microsoft.com/office/drawing/2014/main" id="{808B8E7B-AAF3-A87C-54A7-7641EECC6F97}"/>
              </a:ext>
            </a:extLst>
          </p:cNvPr>
          <p:cNvSpPr txBox="1">
            <a:spLocks/>
          </p:cNvSpPr>
          <p:nvPr/>
        </p:nvSpPr>
        <p:spPr>
          <a:xfrm>
            <a:off x="6229210"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6" name="Subtitle 2">
            <a:extLst>
              <a:ext uri="{FF2B5EF4-FFF2-40B4-BE49-F238E27FC236}">
                <a16:creationId xmlns:a16="http://schemas.microsoft.com/office/drawing/2014/main" id="{3EF7035C-DD31-61CF-C506-6AC7E90609FE}"/>
              </a:ext>
            </a:extLst>
          </p:cNvPr>
          <p:cNvSpPr txBox="1">
            <a:spLocks/>
          </p:cNvSpPr>
          <p:nvPr/>
        </p:nvSpPr>
        <p:spPr>
          <a:xfrm>
            <a:off x="8509006" y="5192237"/>
            <a:ext cx="2029863" cy="1174489"/>
          </a:xfrm>
          <a:prstGeom prst="rect">
            <a:avLst/>
          </a:prstGeom>
        </p:spPr>
        <p:txBody>
          <a:bodyPr vert="horz" wrap="square" lIns="0" tIns="4572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Freeform 10">
            <a:extLst>
              <a:ext uri="{FF2B5EF4-FFF2-40B4-BE49-F238E27FC236}">
                <a16:creationId xmlns:a16="http://schemas.microsoft.com/office/drawing/2014/main" id="{089DDEA4-ACCD-7D49-AF39-332B7486B252}"/>
              </a:ext>
            </a:extLst>
          </p:cNvPr>
          <p:cNvSpPr/>
          <p:nvPr/>
        </p:nvSpPr>
        <p:spPr>
          <a:xfrm>
            <a:off x="1965134" y="2941395"/>
            <a:ext cx="8404283" cy="1942476"/>
          </a:xfrm>
          <a:custGeom>
            <a:avLst/>
            <a:gdLst>
              <a:gd name="connsiteX0" fmla="*/ 0 w 16747958"/>
              <a:gd name="connsiteY0" fmla="*/ 1540043 h 2237874"/>
              <a:gd name="connsiteX1" fmla="*/ 288758 w 16747958"/>
              <a:gd name="connsiteY1" fmla="*/ 1155032 h 2237874"/>
              <a:gd name="connsiteX2" fmla="*/ 433137 w 16747958"/>
              <a:gd name="connsiteY2" fmla="*/ 1010653 h 2237874"/>
              <a:gd name="connsiteX3" fmla="*/ 794084 w 16747958"/>
              <a:gd name="connsiteY3" fmla="*/ 721895 h 2237874"/>
              <a:gd name="connsiteX4" fmla="*/ 1179095 w 16747958"/>
              <a:gd name="connsiteY4" fmla="*/ 529390 h 2237874"/>
              <a:gd name="connsiteX5" fmla="*/ 1732547 w 16747958"/>
              <a:gd name="connsiteY5" fmla="*/ 336885 h 2237874"/>
              <a:gd name="connsiteX6" fmla="*/ 2093495 w 16747958"/>
              <a:gd name="connsiteY6" fmla="*/ 264695 h 2237874"/>
              <a:gd name="connsiteX7" fmla="*/ 2719137 w 16747958"/>
              <a:gd name="connsiteY7" fmla="*/ 144379 h 2237874"/>
              <a:gd name="connsiteX8" fmla="*/ 3537284 w 16747958"/>
              <a:gd name="connsiteY8" fmla="*/ 48127 h 2237874"/>
              <a:gd name="connsiteX9" fmla="*/ 4307305 w 16747958"/>
              <a:gd name="connsiteY9" fmla="*/ 0 h 2237874"/>
              <a:gd name="connsiteX10" fmla="*/ 5895474 w 16747958"/>
              <a:gd name="connsiteY10" fmla="*/ 48127 h 2237874"/>
              <a:gd name="connsiteX11" fmla="*/ 6545179 w 16747958"/>
              <a:gd name="connsiteY11" fmla="*/ 144379 h 2237874"/>
              <a:gd name="connsiteX12" fmla="*/ 7146758 w 16747958"/>
              <a:gd name="connsiteY12" fmla="*/ 240632 h 2237874"/>
              <a:gd name="connsiteX13" fmla="*/ 7531769 w 16747958"/>
              <a:gd name="connsiteY13" fmla="*/ 336885 h 2237874"/>
              <a:gd name="connsiteX14" fmla="*/ 7676147 w 16747958"/>
              <a:gd name="connsiteY14" fmla="*/ 360948 h 2237874"/>
              <a:gd name="connsiteX15" fmla="*/ 8061158 w 16747958"/>
              <a:gd name="connsiteY15" fmla="*/ 457200 h 2237874"/>
              <a:gd name="connsiteX16" fmla="*/ 8253663 w 16747958"/>
              <a:gd name="connsiteY16" fmla="*/ 529390 h 2237874"/>
              <a:gd name="connsiteX17" fmla="*/ 8614611 w 16747958"/>
              <a:gd name="connsiteY17" fmla="*/ 649706 h 2237874"/>
              <a:gd name="connsiteX18" fmla="*/ 8831179 w 16747958"/>
              <a:gd name="connsiteY18" fmla="*/ 721895 h 2237874"/>
              <a:gd name="connsiteX19" fmla="*/ 8999621 w 16747958"/>
              <a:gd name="connsiteY19" fmla="*/ 794085 h 2237874"/>
              <a:gd name="connsiteX20" fmla="*/ 9288379 w 16747958"/>
              <a:gd name="connsiteY20" fmla="*/ 890337 h 2237874"/>
              <a:gd name="connsiteX21" fmla="*/ 9480884 w 16747958"/>
              <a:gd name="connsiteY21" fmla="*/ 986590 h 2237874"/>
              <a:gd name="connsiteX22" fmla="*/ 9769642 w 16747958"/>
              <a:gd name="connsiteY22" fmla="*/ 1130969 h 2237874"/>
              <a:gd name="connsiteX23" fmla="*/ 9938084 w 16747958"/>
              <a:gd name="connsiteY23" fmla="*/ 1179095 h 2237874"/>
              <a:gd name="connsiteX24" fmla="*/ 10539663 w 16747958"/>
              <a:gd name="connsiteY24" fmla="*/ 1419727 h 2237874"/>
              <a:gd name="connsiteX25" fmla="*/ 10852484 w 16747958"/>
              <a:gd name="connsiteY25" fmla="*/ 1515979 h 2237874"/>
              <a:gd name="connsiteX26" fmla="*/ 11165305 w 16747958"/>
              <a:gd name="connsiteY26" fmla="*/ 1636295 h 2237874"/>
              <a:gd name="connsiteX27" fmla="*/ 12729411 w 16747958"/>
              <a:gd name="connsiteY27" fmla="*/ 2021306 h 2237874"/>
              <a:gd name="connsiteX28" fmla="*/ 13090358 w 16747958"/>
              <a:gd name="connsiteY28" fmla="*/ 2093495 h 2237874"/>
              <a:gd name="connsiteX29" fmla="*/ 13306926 w 16747958"/>
              <a:gd name="connsiteY29" fmla="*/ 2117558 h 2237874"/>
              <a:gd name="connsiteX30" fmla="*/ 13980695 w 16747958"/>
              <a:gd name="connsiteY30" fmla="*/ 2213811 h 2237874"/>
              <a:gd name="connsiteX31" fmla="*/ 14461958 w 16747958"/>
              <a:gd name="connsiteY31" fmla="*/ 2237874 h 2237874"/>
              <a:gd name="connsiteX32" fmla="*/ 14702590 w 16747958"/>
              <a:gd name="connsiteY32" fmla="*/ 2213811 h 2237874"/>
              <a:gd name="connsiteX33" fmla="*/ 14991347 w 16747958"/>
              <a:gd name="connsiteY33" fmla="*/ 2165685 h 2237874"/>
              <a:gd name="connsiteX34" fmla="*/ 15207916 w 16747958"/>
              <a:gd name="connsiteY34" fmla="*/ 2069432 h 2237874"/>
              <a:gd name="connsiteX35" fmla="*/ 15400421 w 16747958"/>
              <a:gd name="connsiteY35" fmla="*/ 1949116 h 2237874"/>
              <a:gd name="connsiteX36" fmla="*/ 15641053 w 16747958"/>
              <a:gd name="connsiteY36" fmla="*/ 1804737 h 2237874"/>
              <a:gd name="connsiteX37" fmla="*/ 15761369 w 16747958"/>
              <a:gd name="connsiteY37" fmla="*/ 1756611 h 2237874"/>
              <a:gd name="connsiteX38" fmla="*/ 15881684 w 16747958"/>
              <a:gd name="connsiteY38" fmla="*/ 1636295 h 2237874"/>
              <a:gd name="connsiteX39" fmla="*/ 16170442 w 16747958"/>
              <a:gd name="connsiteY39" fmla="*/ 1371600 h 2237874"/>
              <a:gd name="connsiteX40" fmla="*/ 16290758 w 16747958"/>
              <a:gd name="connsiteY40" fmla="*/ 1203158 h 2237874"/>
              <a:gd name="connsiteX41" fmla="*/ 16483263 w 16747958"/>
              <a:gd name="connsiteY41" fmla="*/ 986590 h 2237874"/>
              <a:gd name="connsiteX42" fmla="*/ 16579516 w 16747958"/>
              <a:gd name="connsiteY42" fmla="*/ 842211 h 2237874"/>
              <a:gd name="connsiteX43" fmla="*/ 16627642 w 16747958"/>
              <a:gd name="connsiteY43" fmla="*/ 770022 h 2237874"/>
              <a:gd name="connsiteX44" fmla="*/ 16675769 w 16747958"/>
              <a:gd name="connsiteY44" fmla="*/ 673769 h 2237874"/>
              <a:gd name="connsiteX45" fmla="*/ 16723895 w 16747958"/>
              <a:gd name="connsiteY45" fmla="*/ 601579 h 2237874"/>
              <a:gd name="connsiteX46" fmla="*/ 16747958 w 16747958"/>
              <a:gd name="connsiteY46" fmla="*/ 529390 h 2237874"/>
              <a:gd name="connsiteX0" fmla="*/ 0 w 16747958"/>
              <a:gd name="connsiteY0" fmla="*/ 1540043 h 2237874"/>
              <a:gd name="connsiteX1" fmla="*/ 433137 w 16747958"/>
              <a:gd name="connsiteY1" fmla="*/ 1010653 h 2237874"/>
              <a:gd name="connsiteX2" fmla="*/ 794084 w 16747958"/>
              <a:gd name="connsiteY2" fmla="*/ 721895 h 2237874"/>
              <a:gd name="connsiteX3" fmla="*/ 1179095 w 16747958"/>
              <a:gd name="connsiteY3" fmla="*/ 529390 h 2237874"/>
              <a:gd name="connsiteX4" fmla="*/ 1732547 w 16747958"/>
              <a:gd name="connsiteY4" fmla="*/ 336885 h 2237874"/>
              <a:gd name="connsiteX5" fmla="*/ 2093495 w 16747958"/>
              <a:gd name="connsiteY5" fmla="*/ 264695 h 2237874"/>
              <a:gd name="connsiteX6" fmla="*/ 2719137 w 16747958"/>
              <a:gd name="connsiteY6" fmla="*/ 144379 h 2237874"/>
              <a:gd name="connsiteX7" fmla="*/ 3537284 w 16747958"/>
              <a:gd name="connsiteY7" fmla="*/ 48127 h 2237874"/>
              <a:gd name="connsiteX8" fmla="*/ 4307305 w 16747958"/>
              <a:gd name="connsiteY8" fmla="*/ 0 h 2237874"/>
              <a:gd name="connsiteX9" fmla="*/ 5895474 w 16747958"/>
              <a:gd name="connsiteY9" fmla="*/ 48127 h 2237874"/>
              <a:gd name="connsiteX10" fmla="*/ 6545179 w 16747958"/>
              <a:gd name="connsiteY10" fmla="*/ 144379 h 2237874"/>
              <a:gd name="connsiteX11" fmla="*/ 7146758 w 16747958"/>
              <a:gd name="connsiteY11" fmla="*/ 240632 h 2237874"/>
              <a:gd name="connsiteX12" fmla="*/ 7531769 w 16747958"/>
              <a:gd name="connsiteY12" fmla="*/ 336885 h 2237874"/>
              <a:gd name="connsiteX13" fmla="*/ 7676147 w 16747958"/>
              <a:gd name="connsiteY13" fmla="*/ 360948 h 2237874"/>
              <a:gd name="connsiteX14" fmla="*/ 8061158 w 16747958"/>
              <a:gd name="connsiteY14" fmla="*/ 457200 h 2237874"/>
              <a:gd name="connsiteX15" fmla="*/ 8253663 w 16747958"/>
              <a:gd name="connsiteY15" fmla="*/ 529390 h 2237874"/>
              <a:gd name="connsiteX16" fmla="*/ 8614611 w 16747958"/>
              <a:gd name="connsiteY16" fmla="*/ 649706 h 2237874"/>
              <a:gd name="connsiteX17" fmla="*/ 8831179 w 16747958"/>
              <a:gd name="connsiteY17" fmla="*/ 721895 h 2237874"/>
              <a:gd name="connsiteX18" fmla="*/ 8999621 w 16747958"/>
              <a:gd name="connsiteY18" fmla="*/ 794085 h 2237874"/>
              <a:gd name="connsiteX19" fmla="*/ 9288379 w 16747958"/>
              <a:gd name="connsiteY19" fmla="*/ 890337 h 2237874"/>
              <a:gd name="connsiteX20" fmla="*/ 9480884 w 16747958"/>
              <a:gd name="connsiteY20" fmla="*/ 986590 h 2237874"/>
              <a:gd name="connsiteX21" fmla="*/ 9769642 w 16747958"/>
              <a:gd name="connsiteY21" fmla="*/ 1130969 h 2237874"/>
              <a:gd name="connsiteX22" fmla="*/ 9938084 w 16747958"/>
              <a:gd name="connsiteY22" fmla="*/ 1179095 h 2237874"/>
              <a:gd name="connsiteX23" fmla="*/ 10539663 w 16747958"/>
              <a:gd name="connsiteY23" fmla="*/ 1419727 h 2237874"/>
              <a:gd name="connsiteX24" fmla="*/ 10852484 w 16747958"/>
              <a:gd name="connsiteY24" fmla="*/ 1515979 h 2237874"/>
              <a:gd name="connsiteX25" fmla="*/ 11165305 w 16747958"/>
              <a:gd name="connsiteY25" fmla="*/ 1636295 h 2237874"/>
              <a:gd name="connsiteX26" fmla="*/ 12729411 w 16747958"/>
              <a:gd name="connsiteY26" fmla="*/ 2021306 h 2237874"/>
              <a:gd name="connsiteX27" fmla="*/ 13090358 w 16747958"/>
              <a:gd name="connsiteY27" fmla="*/ 2093495 h 2237874"/>
              <a:gd name="connsiteX28" fmla="*/ 13306926 w 16747958"/>
              <a:gd name="connsiteY28" fmla="*/ 2117558 h 2237874"/>
              <a:gd name="connsiteX29" fmla="*/ 13980695 w 16747958"/>
              <a:gd name="connsiteY29" fmla="*/ 2213811 h 2237874"/>
              <a:gd name="connsiteX30" fmla="*/ 14461958 w 16747958"/>
              <a:gd name="connsiteY30" fmla="*/ 2237874 h 2237874"/>
              <a:gd name="connsiteX31" fmla="*/ 14702590 w 16747958"/>
              <a:gd name="connsiteY31" fmla="*/ 2213811 h 2237874"/>
              <a:gd name="connsiteX32" fmla="*/ 14991347 w 16747958"/>
              <a:gd name="connsiteY32" fmla="*/ 2165685 h 2237874"/>
              <a:gd name="connsiteX33" fmla="*/ 15207916 w 16747958"/>
              <a:gd name="connsiteY33" fmla="*/ 2069432 h 2237874"/>
              <a:gd name="connsiteX34" fmla="*/ 15400421 w 16747958"/>
              <a:gd name="connsiteY34" fmla="*/ 1949116 h 2237874"/>
              <a:gd name="connsiteX35" fmla="*/ 15641053 w 16747958"/>
              <a:gd name="connsiteY35" fmla="*/ 1804737 h 2237874"/>
              <a:gd name="connsiteX36" fmla="*/ 15761369 w 16747958"/>
              <a:gd name="connsiteY36" fmla="*/ 1756611 h 2237874"/>
              <a:gd name="connsiteX37" fmla="*/ 15881684 w 16747958"/>
              <a:gd name="connsiteY37" fmla="*/ 1636295 h 2237874"/>
              <a:gd name="connsiteX38" fmla="*/ 16170442 w 16747958"/>
              <a:gd name="connsiteY38" fmla="*/ 1371600 h 2237874"/>
              <a:gd name="connsiteX39" fmla="*/ 16290758 w 16747958"/>
              <a:gd name="connsiteY39" fmla="*/ 1203158 h 2237874"/>
              <a:gd name="connsiteX40" fmla="*/ 16483263 w 16747958"/>
              <a:gd name="connsiteY40" fmla="*/ 986590 h 2237874"/>
              <a:gd name="connsiteX41" fmla="*/ 16579516 w 16747958"/>
              <a:gd name="connsiteY41" fmla="*/ 842211 h 2237874"/>
              <a:gd name="connsiteX42" fmla="*/ 16627642 w 16747958"/>
              <a:gd name="connsiteY42" fmla="*/ 770022 h 2237874"/>
              <a:gd name="connsiteX43" fmla="*/ 16675769 w 16747958"/>
              <a:gd name="connsiteY43" fmla="*/ 673769 h 2237874"/>
              <a:gd name="connsiteX44" fmla="*/ 16723895 w 16747958"/>
              <a:gd name="connsiteY44" fmla="*/ 601579 h 2237874"/>
              <a:gd name="connsiteX45" fmla="*/ 16747958 w 16747958"/>
              <a:gd name="connsiteY45"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1732547 w 16747958"/>
              <a:gd name="connsiteY3" fmla="*/ 336885 h 2237874"/>
              <a:gd name="connsiteX4" fmla="*/ 2093495 w 16747958"/>
              <a:gd name="connsiteY4" fmla="*/ 264695 h 2237874"/>
              <a:gd name="connsiteX5" fmla="*/ 2719137 w 16747958"/>
              <a:gd name="connsiteY5" fmla="*/ 144379 h 2237874"/>
              <a:gd name="connsiteX6" fmla="*/ 3537284 w 16747958"/>
              <a:gd name="connsiteY6" fmla="*/ 48127 h 2237874"/>
              <a:gd name="connsiteX7" fmla="*/ 4307305 w 16747958"/>
              <a:gd name="connsiteY7" fmla="*/ 0 h 2237874"/>
              <a:gd name="connsiteX8" fmla="*/ 5895474 w 16747958"/>
              <a:gd name="connsiteY8" fmla="*/ 48127 h 2237874"/>
              <a:gd name="connsiteX9" fmla="*/ 6545179 w 16747958"/>
              <a:gd name="connsiteY9" fmla="*/ 144379 h 2237874"/>
              <a:gd name="connsiteX10" fmla="*/ 7146758 w 16747958"/>
              <a:gd name="connsiteY10" fmla="*/ 240632 h 2237874"/>
              <a:gd name="connsiteX11" fmla="*/ 7531769 w 16747958"/>
              <a:gd name="connsiteY11" fmla="*/ 336885 h 2237874"/>
              <a:gd name="connsiteX12" fmla="*/ 7676147 w 16747958"/>
              <a:gd name="connsiteY12" fmla="*/ 360948 h 2237874"/>
              <a:gd name="connsiteX13" fmla="*/ 8061158 w 16747958"/>
              <a:gd name="connsiteY13" fmla="*/ 457200 h 2237874"/>
              <a:gd name="connsiteX14" fmla="*/ 8253663 w 16747958"/>
              <a:gd name="connsiteY14" fmla="*/ 529390 h 2237874"/>
              <a:gd name="connsiteX15" fmla="*/ 8614611 w 16747958"/>
              <a:gd name="connsiteY15" fmla="*/ 649706 h 2237874"/>
              <a:gd name="connsiteX16" fmla="*/ 8831179 w 16747958"/>
              <a:gd name="connsiteY16" fmla="*/ 721895 h 2237874"/>
              <a:gd name="connsiteX17" fmla="*/ 8999621 w 16747958"/>
              <a:gd name="connsiteY17" fmla="*/ 794085 h 2237874"/>
              <a:gd name="connsiteX18" fmla="*/ 9288379 w 16747958"/>
              <a:gd name="connsiteY18" fmla="*/ 890337 h 2237874"/>
              <a:gd name="connsiteX19" fmla="*/ 9480884 w 16747958"/>
              <a:gd name="connsiteY19" fmla="*/ 986590 h 2237874"/>
              <a:gd name="connsiteX20" fmla="*/ 9769642 w 16747958"/>
              <a:gd name="connsiteY20" fmla="*/ 1130969 h 2237874"/>
              <a:gd name="connsiteX21" fmla="*/ 9938084 w 16747958"/>
              <a:gd name="connsiteY21" fmla="*/ 1179095 h 2237874"/>
              <a:gd name="connsiteX22" fmla="*/ 10539663 w 16747958"/>
              <a:gd name="connsiteY22" fmla="*/ 1419727 h 2237874"/>
              <a:gd name="connsiteX23" fmla="*/ 10852484 w 16747958"/>
              <a:gd name="connsiteY23" fmla="*/ 1515979 h 2237874"/>
              <a:gd name="connsiteX24" fmla="*/ 11165305 w 16747958"/>
              <a:gd name="connsiteY24" fmla="*/ 1636295 h 2237874"/>
              <a:gd name="connsiteX25" fmla="*/ 12729411 w 16747958"/>
              <a:gd name="connsiteY25" fmla="*/ 2021306 h 2237874"/>
              <a:gd name="connsiteX26" fmla="*/ 13090358 w 16747958"/>
              <a:gd name="connsiteY26" fmla="*/ 2093495 h 2237874"/>
              <a:gd name="connsiteX27" fmla="*/ 13306926 w 16747958"/>
              <a:gd name="connsiteY27" fmla="*/ 2117558 h 2237874"/>
              <a:gd name="connsiteX28" fmla="*/ 13980695 w 16747958"/>
              <a:gd name="connsiteY28" fmla="*/ 2213811 h 2237874"/>
              <a:gd name="connsiteX29" fmla="*/ 14461958 w 16747958"/>
              <a:gd name="connsiteY29" fmla="*/ 2237874 h 2237874"/>
              <a:gd name="connsiteX30" fmla="*/ 14702590 w 16747958"/>
              <a:gd name="connsiteY30" fmla="*/ 2213811 h 2237874"/>
              <a:gd name="connsiteX31" fmla="*/ 14991347 w 16747958"/>
              <a:gd name="connsiteY31" fmla="*/ 2165685 h 2237874"/>
              <a:gd name="connsiteX32" fmla="*/ 15207916 w 16747958"/>
              <a:gd name="connsiteY32" fmla="*/ 2069432 h 2237874"/>
              <a:gd name="connsiteX33" fmla="*/ 15400421 w 16747958"/>
              <a:gd name="connsiteY33" fmla="*/ 1949116 h 2237874"/>
              <a:gd name="connsiteX34" fmla="*/ 15641053 w 16747958"/>
              <a:gd name="connsiteY34" fmla="*/ 1804737 h 2237874"/>
              <a:gd name="connsiteX35" fmla="*/ 15761369 w 16747958"/>
              <a:gd name="connsiteY35" fmla="*/ 1756611 h 2237874"/>
              <a:gd name="connsiteX36" fmla="*/ 15881684 w 16747958"/>
              <a:gd name="connsiteY36" fmla="*/ 1636295 h 2237874"/>
              <a:gd name="connsiteX37" fmla="*/ 16170442 w 16747958"/>
              <a:gd name="connsiteY37" fmla="*/ 1371600 h 2237874"/>
              <a:gd name="connsiteX38" fmla="*/ 16290758 w 16747958"/>
              <a:gd name="connsiteY38" fmla="*/ 1203158 h 2237874"/>
              <a:gd name="connsiteX39" fmla="*/ 16483263 w 16747958"/>
              <a:gd name="connsiteY39" fmla="*/ 986590 h 2237874"/>
              <a:gd name="connsiteX40" fmla="*/ 16579516 w 16747958"/>
              <a:gd name="connsiteY40" fmla="*/ 842211 h 2237874"/>
              <a:gd name="connsiteX41" fmla="*/ 16627642 w 16747958"/>
              <a:gd name="connsiteY41" fmla="*/ 770022 h 2237874"/>
              <a:gd name="connsiteX42" fmla="*/ 16675769 w 16747958"/>
              <a:gd name="connsiteY42" fmla="*/ 673769 h 2237874"/>
              <a:gd name="connsiteX43" fmla="*/ 16723895 w 16747958"/>
              <a:gd name="connsiteY43" fmla="*/ 601579 h 2237874"/>
              <a:gd name="connsiteX44" fmla="*/ 16747958 w 16747958"/>
              <a:gd name="connsiteY44"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2719137 w 16747958"/>
              <a:gd name="connsiteY4" fmla="*/ 144379 h 2237874"/>
              <a:gd name="connsiteX5" fmla="*/ 3537284 w 16747958"/>
              <a:gd name="connsiteY5" fmla="*/ 48127 h 2237874"/>
              <a:gd name="connsiteX6" fmla="*/ 4307305 w 16747958"/>
              <a:gd name="connsiteY6" fmla="*/ 0 h 2237874"/>
              <a:gd name="connsiteX7" fmla="*/ 5895474 w 16747958"/>
              <a:gd name="connsiteY7" fmla="*/ 48127 h 2237874"/>
              <a:gd name="connsiteX8" fmla="*/ 6545179 w 16747958"/>
              <a:gd name="connsiteY8" fmla="*/ 144379 h 2237874"/>
              <a:gd name="connsiteX9" fmla="*/ 7146758 w 16747958"/>
              <a:gd name="connsiteY9" fmla="*/ 240632 h 2237874"/>
              <a:gd name="connsiteX10" fmla="*/ 7531769 w 16747958"/>
              <a:gd name="connsiteY10" fmla="*/ 336885 h 2237874"/>
              <a:gd name="connsiteX11" fmla="*/ 7676147 w 16747958"/>
              <a:gd name="connsiteY11" fmla="*/ 360948 h 2237874"/>
              <a:gd name="connsiteX12" fmla="*/ 8061158 w 16747958"/>
              <a:gd name="connsiteY12" fmla="*/ 457200 h 2237874"/>
              <a:gd name="connsiteX13" fmla="*/ 8253663 w 16747958"/>
              <a:gd name="connsiteY13" fmla="*/ 529390 h 2237874"/>
              <a:gd name="connsiteX14" fmla="*/ 8614611 w 16747958"/>
              <a:gd name="connsiteY14" fmla="*/ 649706 h 2237874"/>
              <a:gd name="connsiteX15" fmla="*/ 8831179 w 16747958"/>
              <a:gd name="connsiteY15" fmla="*/ 721895 h 2237874"/>
              <a:gd name="connsiteX16" fmla="*/ 8999621 w 16747958"/>
              <a:gd name="connsiteY16" fmla="*/ 794085 h 2237874"/>
              <a:gd name="connsiteX17" fmla="*/ 9288379 w 16747958"/>
              <a:gd name="connsiteY17" fmla="*/ 890337 h 2237874"/>
              <a:gd name="connsiteX18" fmla="*/ 9480884 w 16747958"/>
              <a:gd name="connsiteY18" fmla="*/ 986590 h 2237874"/>
              <a:gd name="connsiteX19" fmla="*/ 9769642 w 16747958"/>
              <a:gd name="connsiteY19" fmla="*/ 1130969 h 2237874"/>
              <a:gd name="connsiteX20" fmla="*/ 9938084 w 16747958"/>
              <a:gd name="connsiteY20" fmla="*/ 1179095 h 2237874"/>
              <a:gd name="connsiteX21" fmla="*/ 10539663 w 16747958"/>
              <a:gd name="connsiteY21" fmla="*/ 1419727 h 2237874"/>
              <a:gd name="connsiteX22" fmla="*/ 10852484 w 16747958"/>
              <a:gd name="connsiteY22" fmla="*/ 1515979 h 2237874"/>
              <a:gd name="connsiteX23" fmla="*/ 11165305 w 16747958"/>
              <a:gd name="connsiteY23" fmla="*/ 1636295 h 2237874"/>
              <a:gd name="connsiteX24" fmla="*/ 12729411 w 16747958"/>
              <a:gd name="connsiteY24" fmla="*/ 2021306 h 2237874"/>
              <a:gd name="connsiteX25" fmla="*/ 13090358 w 16747958"/>
              <a:gd name="connsiteY25" fmla="*/ 2093495 h 2237874"/>
              <a:gd name="connsiteX26" fmla="*/ 13306926 w 16747958"/>
              <a:gd name="connsiteY26" fmla="*/ 2117558 h 2237874"/>
              <a:gd name="connsiteX27" fmla="*/ 13980695 w 16747958"/>
              <a:gd name="connsiteY27" fmla="*/ 2213811 h 2237874"/>
              <a:gd name="connsiteX28" fmla="*/ 14461958 w 16747958"/>
              <a:gd name="connsiteY28" fmla="*/ 2237874 h 2237874"/>
              <a:gd name="connsiteX29" fmla="*/ 14702590 w 16747958"/>
              <a:gd name="connsiteY29" fmla="*/ 2213811 h 2237874"/>
              <a:gd name="connsiteX30" fmla="*/ 14991347 w 16747958"/>
              <a:gd name="connsiteY30" fmla="*/ 2165685 h 2237874"/>
              <a:gd name="connsiteX31" fmla="*/ 15207916 w 16747958"/>
              <a:gd name="connsiteY31" fmla="*/ 2069432 h 2237874"/>
              <a:gd name="connsiteX32" fmla="*/ 15400421 w 16747958"/>
              <a:gd name="connsiteY32" fmla="*/ 1949116 h 2237874"/>
              <a:gd name="connsiteX33" fmla="*/ 15641053 w 16747958"/>
              <a:gd name="connsiteY33" fmla="*/ 1804737 h 2237874"/>
              <a:gd name="connsiteX34" fmla="*/ 15761369 w 16747958"/>
              <a:gd name="connsiteY34" fmla="*/ 1756611 h 2237874"/>
              <a:gd name="connsiteX35" fmla="*/ 15881684 w 16747958"/>
              <a:gd name="connsiteY35" fmla="*/ 1636295 h 2237874"/>
              <a:gd name="connsiteX36" fmla="*/ 16170442 w 16747958"/>
              <a:gd name="connsiteY36" fmla="*/ 1371600 h 2237874"/>
              <a:gd name="connsiteX37" fmla="*/ 16290758 w 16747958"/>
              <a:gd name="connsiteY37" fmla="*/ 1203158 h 2237874"/>
              <a:gd name="connsiteX38" fmla="*/ 16483263 w 16747958"/>
              <a:gd name="connsiteY38" fmla="*/ 986590 h 2237874"/>
              <a:gd name="connsiteX39" fmla="*/ 16579516 w 16747958"/>
              <a:gd name="connsiteY39" fmla="*/ 842211 h 2237874"/>
              <a:gd name="connsiteX40" fmla="*/ 16627642 w 16747958"/>
              <a:gd name="connsiteY40" fmla="*/ 770022 h 2237874"/>
              <a:gd name="connsiteX41" fmla="*/ 16675769 w 16747958"/>
              <a:gd name="connsiteY41" fmla="*/ 673769 h 2237874"/>
              <a:gd name="connsiteX42" fmla="*/ 16723895 w 16747958"/>
              <a:gd name="connsiteY42" fmla="*/ 601579 h 2237874"/>
              <a:gd name="connsiteX43" fmla="*/ 16747958 w 16747958"/>
              <a:gd name="connsiteY43" fmla="*/ 529390 h 2237874"/>
              <a:gd name="connsiteX0" fmla="*/ 0 w 16747958"/>
              <a:gd name="connsiteY0" fmla="*/ 1540043 h 2237874"/>
              <a:gd name="connsiteX1" fmla="*/ 433137 w 16747958"/>
              <a:gd name="connsiteY1" fmla="*/ 1010653 h 2237874"/>
              <a:gd name="connsiteX2" fmla="*/ 1179095 w 16747958"/>
              <a:gd name="connsiteY2" fmla="*/ 529390 h 2237874"/>
              <a:gd name="connsiteX3" fmla="*/ 2093495 w 16747958"/>
              <a:gd name="connsiteY3" fmla="*/ 264695 h 2237874"/>
              <a:gd name="connsiteX4" fmla="*/ 3537284 w 16747958"/>
              <a:gd name="connsiteY4" fmla="*/ 48127 h 2237874"/>
              <a:gd name="connsiteX5" fmla="*/ 4307305 w 16747958"/>
              <a:gd name="connsiteY5" fmla="*/ 0 h 2237874"/>
              <a:gd name="connsiteX6" fmla="*/ 5895474 w 16747958"/>
              <a:gd name="connsiteY6" fmla="*/ 48127 h 2237874"/>
              <a:gd name="connsiteX7" fmla="*/ 6545179 w 16747958"/>
              <a:gd name="connsiteY7" fmla="*/ 144379 h 2237874"/>
              <a:gd name="connsiteX8" fmla="*/ 7146758 w 16747958"/>
              <a:gd name="connsiteY8" fmla="*/ 240632 h 2237874"/>
              <a:gd name="connsiteX9" fmla="*/ 7531769 w 16747958"/>
              <a:gd name="connsiteY9" fmla="*/ 336885 h 2237874"/>
              <a:gd name="connsiteX10" fmla="*/ 7676147 w 16747958"/>
              <a:gd name="connsiteY10" fmla="*/ 360948 h 2237874"/>
              <a:gd name="connsiteX11" fmla="*/ 8061158 w 16747958"/>
              <a:gd name="connsiteY11" fmla="*/ 457200 h 2237874"/>
              <a:gd name="connsiteX12" fmla="*/ 8253663 w 16747958"/>
              <a:gd name="connsiteY12" fmla="*/ 529390 h 2237874"/>
              <a:gd name="connsiteX13" fmla="*/ 8614611 w 16747958"/>
              <a:gd name="connsiteY13" fmla="*/ 649706 h 2237874"/>
              <a:gd name="connsiteX14" fmla="*/ 8831179 w 16747958"/>
              <a:gd name="connsiteY14" fmla="*/ 721895 h 2237874"/>
              <a:gd name="connsiteX15" fmla="*/ 8999621 w 16747958"/>
              <a:gd name="connsiteY15" fmla="*/ 794085 h 2237874"/>
              <a:gd name="connsiteX16" fmla="*/ 9288379 w 16747958"/>
              <a:gd name="connsiteY16" fmla="*/ 890337 h 2237874"/>
              <a:gd name="connsiteX17" fmla="*/ 9480884 w 16747958"/>
              <a:gd name="connsiteY17" fmla="*/ 986590 h 2237874"/>
              <a:gd name="connsiteX18" fmla="*/ 9769642 w 16747958"/>
              <a:gd name="connsiteY18" fmla="*/ 1130969 h 2237874"/>
              <a:gd name="connsiteX19" fmla="*/ 9938084 w 16747958"/>
              <a:gd name="connsiteY19" fmla="*/ 1179095 h 2237874"/>
              <a:gd name="connsiteX20" fmla="*/ 10539663 w 16747958"/>
              <a:gd name="connsiteY20" fmla="*/ 1419727 h 2237874"/>
              <a:gd name="connsiteX21" fmla="*/ 10852484 w 16747958"/>
              <a:gd name="connsiteY21" fmla="*/ 1515979 h 2237874"/>
              <a:gd name="connsiteX22" fmla="*/ 11165305 w 16747958"/>
              <a:gd name="connsiteY22" fmla="*/ 1636295 h 2237874"/>
              <a:gd name="connsiteX23" fmla="*/ 12729411 w 16747958"/>
              <a:gd name="connsiteY23" fmla="*/ 2021306 h 2237874"/>
              <a:gd name="connsiteX24" fmla="*/ 13090358 w 16747958"/>
              <a:gd name="connsiteY24" fmla="*/ 2093495 h 2237874"/>
              <a:gd name="connsiteX25" fmla="*/ 13306926 w 16747958"/>
              <a:gd name="connsiteY25" fmla="*/ 2117558 h 2237874"/>
              <a:gd name="connsiteX26" fmla="*/ 13980695 w 16747958"/>
              <a:gd name="connsiteY26" fmla="*/ 2213811 h 2237874"/>
              <a:gd name="connsiteX27" fmla="*/ 14461958 w 16747958"/>
              <a:gd name="connsiteY27" fmla="*/ 2237874 h 2237874"/>
              <a:gd name="connsiteX28" fmla="*/ 14702590 w 16747958"/>
              <a:gd name="connsiteY28" fmla="*/ 2213811 h 2237874"/>
              <a:gd name="connsiteX29" fmla="*/ 14991347 w 16747958"/>
              <a:gd name="connsiteY29" fmla="*/ 2165685 h 2237874"/>
              <a:gd name="connsiteX30" fmla="*/ 15207916 w 16747958"/>
              <a:gd name="connsiteY30" fmla="*/ 2069432 h 2237874"/>
              <a:gd name="connsiteX31" fmla="*/ 15400421 w 16747958"/>
              <a:gd name="connsiteY31" fmla="*/ 1949116 h 2237874"/>
              <a:gd name="connsiteX32" fmla="*/ 15641053 w 16747958"/>
              <a:gd name="connsiteY32" fmla="*/ 1804737 h 2237874"/>
              <a:gd name="connsiteX33" fmla="*/ 15761369 w 16747958"/>
              <a:gd name="connsiteY33" fmla="*/ 1756611 h 2237874"/>
              <a:gd name="connsiteX34" fmla="*/ 15881684 w 16747958"/>
              <a:gd name="connsiteY34" fmla="*/ 1636295 h 2237874"/>
              <a:gd name="connsiteX35" fmla="*/ 16170442 w 16747958"/>
              <a:gd name="connsiteY35" fmla="*/ 1371600 h 2237874"/>
              <a:gd name="connsiteX36" fmla="*/ 16290758 w 16747958"/>
              <a:gd name="connsiteY36" fmla="*/ 1203158 h 2237874"/>
              <a:gd name="connsiteX37" fmla="*/ 16483263 w 16747958"/>
              <a:gd name="connsiteY37" fmla="*/ 986590 h 2237874"/>
              <a:gd name="connsiteX38" fmla="*/ 16579516 w 16747958"/>
              <a:gd name="connsiteY38" fmla="*/ 842211 h 2237874"/>
              <a:gd name="connsiteX39" fmla="*/ 16627642 w 16747958"/>
              <a:gd name="connsiteY39" fmla="*/ 770022 h 2237874"/>
              <a:gd name="connsiteX40" fmla="*/ 16675769 w 16747958"/>
              <a:gd name="connsiteY40" fmla="*/ 673769 h 2237874"/>
              <a:gd name="connsiteX41" fmla="*/ 16723895 w 16747958"/>
              <a:gd name="connsiteY41" fmla="*/ 601579 h 2237874"/>
              <a:gd name="connsiteX42" fmla="*/ 16747958 w 16747958"/>
              <a:gd name="connsiteY42" fmla="*/ 529390 h 2237874"/>
              <a:gd name="connsiteX0" fmla="*/ 0 w 16747958"/>
              <a:gd name="connsiteY0" fmla="*/ 1512145 h 2209976"/>
              <a:gd name="connsiteX1" fmla="*/ 433137 w 16747958"/>
              <a:gd name="connsiteY1" fmla="*/ 982755 h 2209976"/>
              <a:gd name="connsiteX2" fmla="*/ 1179095 w 16747958"/>
              <a:gd name="connsiteY2" fmla="*/ 501492 h 2209976"/>
              <a:gd name="connsiteX3" fmla="*/ 2093495 w 16747958"/>
              <a:gd name="connsiteY3" fmla="*/ 236797 h 2209976"/>
              <a:gd name="connsiteX4" fmla="*/ 3537284 w 16747958"/>
              <a:gd name="connsiteY4" fmla="*/ 20229 h 2209976"/>
              <a:gd name="connsiteX5" fmla="*/ 5895474 w 16747958"/>
              <a:gd name="connsiteY5" fmla="*/ 20229 h 2209976"/>
              <a:gd name="connsiteX6" fmla="*/ 6545179 w 16747958"/>
              <a:gd name="connsiteY6" fmla="*/ 116481 h 2209976"/>
              <a:gd name="connsiteX7" fmla="*/ 7146758 w 16747958"/>
              <a:gd name="connsiteY7" fmla="*/ 212734 h 2209976"/>
              <a:gd name="connsiteX8" fmla="*/ 7531769 w 16747958"/>
              <a:gd name="connsiteY8" fmla="*/ 308987 h 2209976"/>
              <a:gd name="connsiteX9" fmla="*/ 7676147 w 16747958"/>
              <a:gd name="connsiteY9" fmla="*/ 333050 h 2209976"/>
              <a:gd name="connsiteX10" fmla="*/ 8061158 w 16747958"/>
              <a:gd name="connsiteY10" fmla="*/ 429302 h 2209976"/>
              <a:gd name="connsiteX11" fmla="*/ 8253663 w 16747958"/>
              <a:gd name="connsiteY11" fmla="*/ 501492 h 2209976"/>
              <a:gd name="connsiteX12" fmla="*/ 8614611 w 16747958"/>
              <a:gd name="connsiteY12" fmla="*/ 621808 h 2209976"/>
              <a:gd name="connsiteX13" fmla="*/ 8831179 w 16747958"/>
              <a:gd name="connsiteY13" fmla="*/ 693997 h 2209976"/>
              <a:gd name="connsiteX14" fmla="*/ 8999621 w 16747958"/>
              <a:gd name="connsiteY14" fmla="*/ 766187 h 2209976"/>
              <a:gd name="connsiteX15" fmla="*/ 9288379 w 16747958"/>
              <a:gd name="connsiteY15" fmla="*/ 862439 h 2209976"/>
              <a:gd name="connsiteX16" fmla="*/ 9480884 w 16747958"/>
              <a:gd name="connsiteY16" fmla="*/ 958692 h 2209976"/>
              <a:gd name="connsiteX17" fmla="*/ 9769642 w 16747958"/>
              <a:gd name="connsiteY17" fmla="*/ 1103071 h 2209976"/>
              <a:gd name="connsiteX18" fmla="*/ 9938084 w 16747958"/>
              <a:gd name="connsiteY18" fmla="*/ 1151197 h 2209976"/>
              <a:gd name="connsiteX19" fmla="*/ 10539663 w 16747958"/>
              <a:gd name="connsiteY19" fmla="*/ 1391829 h 2209976"/>
              <a:gd name="connsiteX20" fmla="*/ 10852484 w 16747958"/>
              <a:gd name="connsiteY20" fmla="*/ 1488081 h 2209976"/>
              <a:gd name="connsiteX21" fmla="*/ 11165305 w 16747958"/>
              <a:gd name="connsiteY21" fmla="*/ 1608397 h 2209976"/>
              <a:gd name="connsiteX22" fmla="*/ 12729411 w 16747958"/>
              <a:gd name="connsiteY22" fmla="*/ 1993408 h 2209976"/>
              <a:gd name="connsiteX23" fmla="*/ 13090358 w 16747958"/>
              <a:gd name="connsiteY23" fmla="*/ 2065597 h 2209976"/>
              <a:gd name="connsiteX24" fmla="*/ 13306926 w 16747958"/>
              <a:gd name="connsiteY24" fmla="*/ 2089660 h 2209976"/>
              <a:gd name="connsiteX25" fmla="*/ 13980695 w 16747958"/>
              <a:gd name="connsiteY25" fmla="*/ 2185913 h 2209976"/>
              <a:gd name="connsiteX26" fmla="*/ 14461958 w 16747958"/>
              <a:gd name="connsiteY26" fmla="*/ 2209976 h 2209976"/>
              <a:gd name="connsiteX27" fmla="*/ 14702590 w 16747958"/>
              <a:gd name="connsiteY27" fmla="*/ 2185913 h 2209976"/>
              <a:gd name="connsiteX28" fmla="*/ 14991347 w 16747958"/>
              <a:gd name="connsiteY28" fmla="*/ 2137787 h 2209976"/>
              <a:gd name="connsiteX29" fmla="*/ 15207916 w 16747958"/>
              <a:gd name="connsiteY29" fmla="*/ 2041534 h 2209976"/>
              <a:gd name="connsiteX30" fmla="*/ 15400421 w 16747958"/>
              <a:gd name="connsiteY30" fmla="*/ 1921218 h 2209976"/>
              <a:gd name="connsiteX31" fmla="*/ 15641053 w 16747958"/>
              <a:gd name="connsiteY31" fmla="*/ 1776839 h 2209976"/>
              <a:gd name="connsiteX32" fmla="*/ 15761369 w 16747958"/>
              <a:gd name="connsiteY32" fmla="*/ 1728713 h 2209976"/>
              <a:gd name="connsiteX33" fmla="*/ 15881684 w 16747958"/>
              <a:gd name="connsiteY33" fmla="*/ 1608397 h 2209976"/>
              <a:gd name="connsiteX34" fmla="*/ 16170442 w 16747958"/>
              <a:gd name="connsiteY34" fmla="*/ 1343702 h 2209976"/>
              <a:gd name="connsiteX35" fmla="*/ 16290758 w 16747958"/>
              <a:gd name="connsiteY35" fmla="*/ 1175260 h 2209976"/>
              <a:gd name="connsiteX36" fmla="*/ 16483263 w 16747958"/>
              <a:gd name="connsiteY36" fmla="*/ 958692 h 2209976"/>
              <a:gd name="connsiteX37" fmla="*/ 16579516 w 16747958"/>
              <a:gd name="connsiteY37" fmla="*/ 814313 h 2209976"/>
              <a:gd name="connsiteX38" fmla="*/ 16627642 w 16747958"/>
              <a:gd name="connsiteY38" fmla="*/ 742124 h 2209976"/>
              <a:gd name="connsiteX39" fmla="*/ 16675769 w 16747958"/>
              <a:gd name="connsiteY39" fmla="*/ 645871 h 2209976"/>
              <a:gd name="connsiteX40" fmla="*/ 16723895 w 16747958"/>
              <a:gd name="connsiteY40" fmla="*/ 573681 h 2209976"/>
              <a:gd name="connsiteX41" fmla="*/ 16747958 w 16747958"/>
              <a:gd name="connsiteY41" fmla="*/ 501492 h 220997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531769 w 16747958"/>
              <a:gd name="connsiteY7" fmla="*/ 314347 h 2215336"/>
              <a:gd name="connsiteX8" fmla="*/ 7676147 w 16747958"/>
              <a:gd name="connsiteY8" fmla="*/ 338410 h 2215336"/>
              <a:gd name="connsiteX9" fmla="*/ 8061158 w 16747958"/>
              <a:gd name="connsiteY9" fmla="*/ 434662 h 2215336"/>
              <a:gd name="connsiteX10" fmla="*/ 8253663 w 16747958"/>
              <a:gd name="connsiteY10" fmla="*/ 506852 h 2215336"/>
              <a:gd name="connsiteX11" fmla="*/ 8614611 w 16747958"/>
              <a:gd name="connsiteY11" fmla="*/ 627168 h 2215336"/>
              <a:gd name="connsiteX12" fmla="*/ 8831179 w 16747958"/>
              <a:gd name="connsiteY12" fmla="*/ 699357 h 2215336"/>
              <a:gd name="connsiteX13" fmla="*/ 8999621 w 16747958"/>
              <a:gd name="connsiteY13" fmla="*/ 771547 h 2215336"/>
              <a:gd name="connsiteX14" fmla="*/ 9288379 w 16747958"/>
              <a:gd name="connsiteY14" fmla="*/ 867799 h 2215336"/>
              <a:gd name="connsiteX15" fmla="*/ 9480884 w 16747958"/>
              <a:gd name="connsiteY15" fmla="*/ 964052 h 2215336"/>
              <a:gd name="connsiteX16" fmla="*/ 9769642 w 16747958"/>
              <a:gd name="connsiteY16" fmla="*/ 1108431 h 2215336"/>
              <a:gd name="connsiteX17" fmla="*/ 9938084 w 16747958"/>
              <a:gd name="connsiteY17" fmla="*/ 1156557 h 2215336"/>
              <a:gd name="connsiteX18" fmla="*/ 10539663 w 16747958"/>
              <a:gd name="connsiteY18" fmla="*/ 1397189 h 2215336"/>
              <a:gd name="connsiteX19" fmla="*/ 10852484 w 16747958"/>
              <a:gd name="connsiteY19" fmla="*/ 1493441 h 2215336"/>
              <a:gd name="connsiteX20" fmla="*/ 11165305 w 16747958"/>
              <a:gd name="connsiteY20" fmla="*/ 1613757 h 2215336"/>
              <a:gd name="connsiteX21" fmla="*/ 12729411 w 16747958"/>
              <a:gd name="connsiteY21" fmla="*/ 1998768 h 2215336"/>
              <a:gd name="connsiteX22" fmla="*/ 13090358 w 16747958"/>
              <a:gd name="connsiteY22" fmla="*/ 2070957 h 2215336"/>
              <a:gd name="connsiteX23" fmla="*/ 13306926 w 16747958"/>
              <a:gd name="connsiteY23" fmla="*/ 2095020 h 2215336"/>
              <a:gd name="connsiteX24" fmla="*/ 13980695 w 16747958"/>
              <a:gd name="connsiteY24" fmla="*/ 2191273 h 2215336"/>
              <a:gd name="connsiteX25" fmla="*/ 14461958 w 16747958"/>
              <a:gd name="connsiteY25" fmla="*/ 2215336 h 2215336"/>
              <a:gd name="connsiteX26" fmla="*/ 14702590 w 16747958"/>
              <a:gd name="connsiteY26" fmla="*/ 2191273 h 2215336"/>
              <a:gd name="connsiteX27" fmla="*/ 14991347 w 16747958"/>
              <a:gd name="connsiteY27" fmla="*/ 2143147 h 2215336"/>
              <a:gd name="connsiteX28" fmla="*/ 15207916 w 16747958"/>
              <a:gd name="connsiteY28" fmla="*/ 2046894 h 2215336"/>
              <a:gd name="connsiteX29" fmla="*/ 15400421 w 16747958"/>
              <a:gd name="connsiteY29" fmla="*/ 1926578 h 2215336"/>
              <a:gd name="connsiteX30" fmla="*/ 15641053 w 16747958"/>
              <a:gd name="connsiteY30" fmla="*/ 1782199 h 2215336"/>
              <a:gd name="connsiteX31" fmla="*/ 15761369 w 16747958"/>
              <a:gd name="connsiteY31" fmla="*/ 1734073 h 2215336"/>
              <a:gd name="connsiteX32" fmla="*/ 15881684 w 16747958"/>
              <a:gd name="connsiteY32" fmla="*/ 1613757 h 2215336"/>
              <a:gd name="connsiteX33" fmla="*/ 16170442 w 16747958"/>
              <a:gd name="connsiteY33" fmla="*/ 1349062 h 2215336"/>
              <a:gd name="connsiteX34" fmla="*/ 16290758 w 16747958"/>
              <a:gd name="connsiteY34" fmla="*/ 1180620 h 2215336"/>
              <a:gd name="connsiteX35" fmla="*/ 16483263 w 16747958"/>
              <a:gd name="connsiteY35" fmla="*/ 964052 h 2215336"/>
              <a:gd name="connsiteX36" fmla="*/ 16579516 w 16747958"/>
              <a:gd name="connsiteY36" fmla="*/ 819673 h 2215336"/>
              <a:gd name="connsiteX37" fmla="*/ 16627642 w 16747958"/>
              <a:gd name="connsiteY37" fmla="*/ 747484 h 2215336"/>
              <a:gd name="connsiteX38" fmla="*/ 16675769 w 16747958"/>
              <a:gd name="connsiteY38" fmla="*/ 651231 h 2215336"/>
              <a:gd name="connsiteX39" fmla="*/ 16723895 w 16747958"/>
              <a:gd name="connsiteY39" fmla="*/ 579041 h 2215336"/>
              <a:gd name="connsiteX40" fmla="*/ 16747958 w 16747958"/>
              <a:gd name="connsiteY4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7676147 w 16747958"/>
              <a:gd name="connsiteY7" fmla="*/ 338410 h 2215336"/>
              <a:gd name="connsiteX8" fmla="*/ 8061158 w 16747958"/>
              <a:gd name="connsiteY8" fmla="*/ 434662 h 2215336"/>
              <a:gd name="connsiteX9" fmla="*/ 8253663 w 16747958"/>
              <a:gd name="connsiteY9" fmla="*/ 506852 h 2215336"/>
              <a:gd name="connsiteX10" fmla="*/ 8614611 w 16747958"/>
              <a:gd name="connsiteY10" fmla="*/ 627168 h 2215336"/>
              <a:gd name="connsiteX11" fmla="*/ 8831179 w 16747958"/>
              <a:gd name="connsiteY11" fmla="*/ 699357 h 2215336"/>
              <a:gd name="connsiteX12" fmla="*/ 8999621 w 16747958"/>
              <a:gd name="connsiteY12" fmla="*/ 771547 h 2215336"/>
              <a:gd name="connsiteX13" fmla="*/ 9288379 w 16747958"/>
              <a:gd name="connsiteY13" fmla="*/ 867799 h 2215336"/>
              <a:gd name="connsiteX14" fmla="*/ 9480884 w 16747958"/>
              <a:gd name="connsiteY14" fmla="*/ 964052 h 2215336"/>
              <a:gd name="connsiteX15" fmla="*/ 9769642 w 16747958"/>
              <a:gd name="connsiteY15" fmla="*/ 1108431 h 2215336"/>
              <a:gd name="connsiteX16" fmla="*/ 9938084 w 16747958"/>
              <a:gd name="connsiteY16" fmla="*/ 1156557 h 2215336"/>
              <a:gd name="connsiteX17" fmla="*/ 10539663 w 16747958"/>
              <a:gd name="connsiteY17" fmla="*/ 1397189 h 2215336"/>
              <a:gd name="connsiteX18" fmla="*/ 10852484 w 16747958"/>
              <a:gd name="connsiteY18" fmla="*/ 1493441 h 2215336"/>
              <a:gd name="connsiteX19" fmla="*/ 11165305 w 16747958"/>
              <a:gd name="connsiteY19" fmla="*/ 1613757 h 2215336"/>
              <a:gd name="connsiteX20" fmla="*/ 12729411 w 16747958"/>
              <a:gd name="connsiteY20" fmla="*/ 1998768 h 2215336"/>
              <a:gd name="connsiteX21" fmla="*/ 13090358 w 16747958"/>
              <a:gd name="connsiteY21" fmla="*/ 2070957 h 2215336"/>
              <a:gd name="connsiteX22" fmla="*/ 13306926 w 16747958"/>
              <a:gd name="connsiteY22" fmla="*/ 2095020 h 2215336"/>
              <a:gd name="connsiteX23" fmla="*/ 13980695 w 16747958"/>
              <a:gd name="connsiteY23" fmla="*/ 2191273 h 2215336"/>
              <a:gd name="connsiteX24" fmla="*/ 14461958 w 16747958"/>
              <a:gd name="connsiteY24" fmla="*/ 2215336 h 2215336"/>
              <a:gd name="connsiteX25" fmla="*/ 14702590 w 16747958"/>
              <a:gd name="connsiteY25" fmla="*/ 2191273 h 2215336"/>
              <a:gd name="connsiteX26" fmla="*/ 14991347 w 16747958"/>
              <a:gd name="connsiteY26" fmla="*/ 2143147 h 2215336"/>
              <a:gd name="connsiteX27" fmla="*/ 15207916 w 16747958"/>
              <a:gd name="connsiteY27" fmla="*/ 2046894 h 2215336"/>
              <a:gd name="connsiteX28" fmla="*/ 15400421 w 16747958"/>
              <a:gd name="connsiteY28" fmla="*/ 1926578 h 2215336"/>
              <a:gd name="connsiteX29" fmla="*/ 15641053 w 16747958"/>
              <a:gd name="connsiteY29" fmla="*/ 1782199 h 2215336"/>
              <a:gd name="connsiteX30" fmla="*/ 15761369 w 16747958"/>
              <a:gd name="connsiteY30" fmla="*/ 1734073 h 2215336"/>
              <a:gd name="connsiteX31" fmla="*/ 15881684 w 16747958"/>
              <a:gd name="connsiteY31" fmla="*/ 1613757 h 2215336"/>
              <a:gd name="connsiteX32" fmla="*/ 16170442 w 16747958"/>
              <a:gd name="connsiteY32" fmla="*/ 1349062 h 2215336"/>
              <a:gd name="connsiteX33" fmla="*/ 16290758 w 16747958"/>
              <a:gd name="connsiteY33" fmla="*/ 1180620 h 2215336"/>
              <a:gd name="connsiteX34" fmla="*/ 16483263 w 16747958"/>
              <a:gd name="connsiteY34" fmla="*/ 964052 h 2215336"/>
              <a:gd name="connsiteX35" fmla="*/ 16579516 w 16747958"/>
              <a:gd name="connsiteY35" fmla="*/ 819673 h 2215336"/>
              <a:gd name="connsiteX36" fmla="*/ 16627642 w 16747958"/>
              <a:gd name="connsiteY36" fmla="*/ 747484 h 2215336"/>
              <a:gd name="connsiteX37" fmla="*/ 16675769 w 16747958"/>
              <a:gd name="connsiteY37" fmla="*/ 651231 h 2215336"/>
              <a:gd name="connsiteX38" fmla="*/ 16723895 w 16747958"/>
              <a:gd name="connsiteY38" fmla="*/ 579041 h 2215336"/>
              <a:gd name="connsiteX39" fmla="*/ 16747958 w 16747958"/>
              <a:gd name="connsiteY3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831179 w 16747958"/>
              <a:gd name="connsiteY10" fmla="*/ 699357 h 2215336"/>
              <a:gd name="connsiteX11" fmla="*/ 8999621 w 16747958"/>
              <a:gd name="connsiteY11" fmla="*/ 771547 h 2215336"/>
              <a:gd name="connsiteX12" fmla="*/ 9288379 w 16747958"/>
              <a:gd name="connsiteY12" fmla="*/ 867799 h 2215336"/>
              <a:gd name="connsiteX13" fmla="*/ 9480884 w 16747958"/>
              <a:gd name="connsiteY13" fmla="*/ 964052 h 2215336"/>
              <a:gd name="connsiteX14" fmla="*/ 9769642 w 16747958"/>
              <a:gd name="connsiteY14" fmla="*/ 1108431 h 2215336"/>
              <a:gd name="connsiteX15" fmla="*/ 9938084 w 16747958"/>
              <a:gd name="connsiteY15" fmla="*/ 1156557 h 2215336"/>
              <a:gd name="connsiteX16" fmla="*/ 10539663 w 16747958"/>
              <a:gd name="connsiteY16" fmla="*/ 1397189 h 2215336"/>
              <a:gd name="connsiteX17" fmla="*/ 10852484 w 16747958"/>
              <a:gd name="connsiteY17" fmla="*/ 1493441 h 2215336"/>
              <a:gd name="connsiteX18" fmla="*/ 11165305 w 16747958"/>
              <a:gd name="connsiteY18" fmla="*/ 1613757 h 2215336"/>
              <a:gd name="connsiteX19" fmla="*/ 12729411 w 16747958"/>
              <a:gd name="connsiteY19" fmla="*/ 1998768 h 2215336"/>
              <a:gd name="connsiteX20" fmla="*/ 13090358 w 16747958"/>
              <a:gd name="connsiteY20" fmla="*/ 2070957 h 2215336"/>
              <a:gd name="connsiteX21" fmla="*/ 13306926 w 16747958"/>
              <a:gd name="connsiteY21" fmla="*/ 2095020 h 2215336"/>
              <a:gd name="connsiteX22" fmla="*/ 13980695 w 16747958"/>
              <a:gd name="connsiteY22" fmla="*/ 2191273 h 2215336"/>
              <a:gd name="connsiteX23" fmla="*/ 14461958 w 16747958"/>
              <a:gd name="connsiteY23" fmla="*/ 2215336 h 2215336"/>
              <a:gd name="connsiteX24" fmla="*/ 14702590 w 16747958"/>
              <a:gd name="connsiteY24" fmla="*/ 2191273 h 2215336"/>
              <a:gd name="connsiteX25" fmla="*/ 14991347 w 16747958"/>
              <a:gd name="connsiteY25" fmla="*/ 2143147 h 2215336"/>
              <a:gd name="connsiteX26" fmla="*/ 15207916 w 16747958"/>
              <a:gd name="connsiteY26" fmla="*/ 2046894 h 2215336"/>
              <a:gd name="connsiteX27" fmla="*/ 15400421 w 16747958"/>
              <a:gd name="connsiteY27" fmla="*/ 1926578 h 2215336"/>
              <a:gd name="connsiteX28" fmla="*/ 15641053 w 16747958"/>
              <a:gd name="connsiteY28" fmla="*/ 1782199 h 2215336"/>
              <a:gd name="connsiteX29" fmla="*/ 15761369 w 16747958"/>
              <a:gd name="connsiteY29" fmla="*/ 1734073 h 2215336"/>
              <a:gd name="connsiteX30" fmla="*/ 15881684 w 16747958"/>
              <a:gd name="connsiteY30" fmla="*/ 1613757 h 2215336"/>
              <a:gd name="connsiteX31" fmla="*/ 16170442 w 16747958"/>
              <a:gd name="connsiteY31" fmla="*/ 1349062 h 2215336"/>
              <a:gd name="connsiteX32" fmla="*/ 16290758 w 16747958"/>
              <a:gd name="connsiteY32" fmla="*/ 1180620 h 2215336"/>
              <a:gd name="connsiteX33" fmla="*/ 16483263 w 16747958"/>
              <a:gd name="connsiteY33" fmla="*/ 964052 h 2215336"/>
              <a:gd name="connsiteX34" fmla="*/ 16579516 w 16747958"/>
              <a:gd name="connsiteY34" fmla="*/ 819673 h 2215336"/>
              <a:gd name="connsiteX35" fmla="*/ 16627642 w 16747958"/>
              <a:gd name="connsiteY35" fmla="*/ 747484 h 2215336"/>
              <a:gd name="connsiteX36" fmla="*/ 16675769 w 16747958"/>
              <a:gd name="connsiteY36" fmla="*/ 651231 h 2215336"/>
              <a:gd name="connsiteX37" fmla="*/ 16723895 w 16747958"/>
              <a:gd name="connsiteY37" fmla="*/ 579041 h 2215336"/>
              <a:gd name="connsiteX38" fmla="*/ 16747958 w 16747958"/>
              <a:gd name="connsiteY3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253663 w 16747958"/>
              <a:gd name="connsiteY8" fmla="*/ 506852 h 2215336"/>
              <a:gd name="connsiteX9" fmla="*/ 8614611 w 16747958"/>
              <a:gd name="connsiteY9" fmla="*/ 627168 h 2215336"/>
              <a:gd name="connsiteX10" fmla="*/ 8999621 w 16747958"/>
              <a:gd name="connsiteY10" fmla="*/ 771547 h 2215336"/>
              <a:gd name="connsiteX11" fmla="*/ 9288379 w 16747958"/>
              <a:gd name="connsiteY11" fmla="*/ 867799 h 2215336"/>
              <a:gd name="connsiteX12" fmla="*/ 9480884 w 16747958"/>
              <a:gd name="connsiteY12" fmla="*/ 964052 h 2215336"/>
              <a:gd name="connsiteX13" fmla="*/ 9769642 w 16747958"/>
              <a:gd name="connsiteY13" fmla="*/ 1108431 h 2215336"/>
              <a:gd name="connsiteX14" fmla="*/ 9938084 w 16747958"/>
              <a:gd name="connsiteY14" fmla="*/ 1156557 h 2215336"/>
              <a:gd name="connsiteX15" fmla="*/ 10539663 w 16747958"/>
              <a:gd name="connsiteY15" fmla="*/ 1397189 h 2215336"/>
              <a:gd name="connsiteX16" fmla="*/ 10852484 w 16747958"/>
              <a:gd name="connsiteY16" fmla="*/ 1493441 h 2215336"/>
              <a:gd name="connsiteX17" fmla="*/ 11165305 w 16747958"/>
              <a:gd name="connsiteY17" fmla="*/ 1613757 h 2215336"/>
              <a:gd name="connsiteX18" fmla="*/ 12729411 w 16747958"/>
              <a:gd name="connsiteY18" fmla="*/ 1998768 h 2215336"/>
              <a:gd name="connsiteX19" fmla="*/ 13090358 w 16747958"/>
              <a:gd name="connsiteY19" fmla="*/ 2070957 h 2215336"/>
              <a:gd name="connsiteX20" fmla="*/ 13306926 w 16747958"/>
              <a:gd name="connsiteY20" fmla="*/ 2095020 h 2215336"/>
              <a:gd name="connsiteX21" fmla="*/ 13980695 w 16747958"/>
              <a:gd name="connsiteY21" fmla="*/ 2191273 h 2215336"/>
              <a:gd name="connsiteX22" fmla="*/ 14461958 w 16747958"/>
              <a:gd name="connsiteY22" fmla="*/ 2215336 h 2215336"/>
              <a:gd name="connsiteX23" fmla="*/ 14702590 w 16747958"/>
              <a:gd name="connsiteY23" fmla="*/ 2191273 h 2215336"/>
              <a:gd name="connsiteX24" fmla="*/ 14991347 w 16747958"/>
              <a:gd name="connsiteY24" fmla="*/ 2143147 h 2215336"/>
              <a:gd name="connsiteX25" fmla="*/ 15207916 w 16747958"/>
              <a:gd name="connsiteY25" fmla="*/ 2046894 h 2215336"/>
              <a:gd name="connsiteX26" fmla="*/ 15400421 w 16747958"/>
              <a:gd name="connsiteY26" fmla="*/ 1926578 h 2215336"/>
              <a:gd name="connsiteX27" fmla="*/ 15641053 w 16747958"/>
              <a:gd name="connsiteY27" fmla="*/ 1782199 h 2215336"/>
              <a:gd name="connsiteX28" fmla="*/ 15761369 w 16747958"/>
              <a:gd name="connsiteY28" fmla="*/ 1734073 h 2215336"/>
              <a:gd name="connsiteX29" fmla="*/ 15881684 w 16747958"/>
              <a:gd name="connsiteY29" fmla="*/ 1613757 h 2215336"/>
              <a:gd name="connsiteX30" fmla="*/ 16170442 w 16747958"/>
              <a:gd name="connsiteY30" fmla="*/ 1349062 h 2215336"/>
              <a:gd name="connsiteX31" fmla="*/ 16290758 w 16747958"/>
              <a:gd name="connsiteY31" fmla="*/ 1180620 h 2215336"/>
              <a:gd name="connsiteX32" fmla="*/ 16483263 w 16747958"/>
              <a:gd name="connsiteY32" fmla="*/ 964052 h 2215336"/>
              <a:gd name="connsiteX33" fmla="*/ 16579516 w 16747958"/>
              <a:gd name="connsiteY33" fmla="*/ 819673 h 2215336"/>
              <a:gd name="connsiteX34" fmla="*/ 16627642 w 16747958"/>
              <a:gd name="connsiteY34" fmla="*/ 747484 h 2215336"/>
              <a:gd name="connsiteX35" fmla="*/ 16675769 w 16747958"/>
              <a:gd name="connsiteY35" fmla="*/ 651231 h 2215336"/>
              <a:gd name="connsiteX36" fmla="*/ 16723895 w 16747958"/>
              <a:gd name="connsiteY36" fmla="*/ 579041 h 2215336"/>
              <a:gd name="connsiteX37" fmla="*/ 16747958 w 16747958"/>
              <a:gd name="connsiteY3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480884 w 16747958"/>
              <a:gd name="connsiteY11" fmla="*/ 964052 h 2215336"/>
              <a:gd name="connsiteX12" fmla="*/ 9769642 w 16747958"/>
              <a:gd name="connsiteY12" fmla="*/ 1108431 h 2215336"/>
              <a:gd name="connsiteX13" fmla="*/ 9938084 w 16747958"/>
              <a:gd name="connsiteY13" fmla="*/ 1156557 h 2215336"/>
              <a:gd name="connsiteX14" fmla="*/ 10539663 w 16747958"/>
              <a:gd name="connsiteY14" fmla="*/ 1397189 h 2215336"/>
              <a:gd name="connsiteX15" fmla="*/ 10852484 w 16747958"/>
              <a:gd name="connsiteY15" fmla="*/ 1493441 h 2215336"/>
              <a:gd name="connsiteX16" fmla="*/ 11165305 w 16747958"/>
              <a:gd name="connsiteY16" fmla="*/ 1613757 h 2215336"/>
              <a:gd name="connsiteX17" fmla="*/ 12729411 w 16747958"/>
              <a:gd name="connsiteY17" fmla="*/ 1998768 h 2215336"/>
              <a:gd name="connsiteX18" fmla="*/ 13090358 w 16747958"/>
              <a:gd name="connsiteY18" fmla="*/ 2070957 h 2215336"/>
              <a:gd name="connsiteX19" fmla="*/ 13306926 w 16747958"/>
              <a:gd name="connsiteY19" fmla="*/ 2095020 h 2215336"/>
              <a:gd name="connsiteX20" fmla="*/ 13980695 w 16747958"/>
              <a:gd name="connsiteY20" fmla="*/ 2191273 h 2215336"/>
              <a:gd name="connsiteX21" fmla="*/ 14461958 w 16747958"/>
              <a:gd name="connsiteY21" fmla="*/ 2215336 h 2215336"/>
              <a:gd name="connsiteX22" fmla="*/ 14702590 w 16747958"/>
              <a:gd name="connsiteY22" fmla="*/ 2191273 h 2215336"/>
              <a:gd name="connsiteX23" fmla="*/ 14991347 w 16747958"/>
              <a:gd name="connsiteY23" fmla="*/ 2143147 h 2215336"/>
              <a:gd name="connsiteX24" fmla="*/ 15207916 w 16747958"/>
              <a:gd name="connsiteY24" fmla="*/ 2046894 h 2215336"/>
              <a:gd name="connsiteX25" fmla="*/ 15400421 w 16747958"/>
              <a:gd name="connsiteY25" fmla="*/ 1926578 h 2215336"/>
              <a:gd name="connsiteX26" fmla="*/ 15641053 w 16747958"/>
              <a:gd name="connsiteY26" fmla="*/ 1782199 h 2215336"/>
              <a:gd name="connsiteX27" fmla="*/ 15761369 w 16747958"/>
              <a:gd name="connsiteY27" fmla="*/ 1734073 h 2215336"/>
              <a:gd name="connsiteX28" fmla="*/ 15881684 w 16747958"/>
              <a:gd name="connsiteY28" fmla="*/ 1613757 h 2215336"/>
              <a:gd name="connsiteX29" fmla="*/ 16170442 w 16747958"/>
              <a:gd name="connsiteY29" fmla="*/ 1349062 h 2215336"/>
              <a:gd name="connsiteX30" fmla="*/ 16290758 w 16747958"/>
              <a:gd name="connsiteY30" fmla="*/ 1180620 h 2215336"/>
              <a:gd name="connsiteX31" fmla="*/ 16483263 w 16747958"/>
              <a:gd name="connsiteY31" fmla="*/ 964052 h 2215336"/>
              <a:gd name="connsiteX32" fmla="*/ 16579516 w 16747958"/>
              <a:gd name="connsiteY32" fmla="*/ 819673 h 2215336"/>
              <a:gd name="connsiteX33" fmla="*/ 16627642 w 16747958"/>
              <a:gd name="connsiteY33" fmla="*/ 747484 h 2215336"/>
              <a:gd name="connsiteX34" fmla="*/ 16675769 w 16747958"/>
              <a:gd name="connsiteY34" fmla="*/ 651231 h 2215336"/>
              <a:gd name="connsiteX35" fmla="*/ 16723895 w 16747958"/>
              <a:gd name="connsiteY35" fmla="*/ 579041 h 2215336"/>
              <a:gd name="connsiteX36" fmla="*/ 16747958 w 16747958"/>
              <a:gd name="connsiteY3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769642 w 16747958"/>
              <a:gd name="connsiteY11" fmla="*/ 1108431 h 2215336"/>
              <a:gd name="connsiteX12" fmla="*/ 9938084 w 16747958"/>
              <a:gd name="connsiteY12" fmla="*/ 1156557 h 2215336"/>
              <a:gd name="connsiteX13" fmla="*/ 10539663 w 16747958"/>
              <a:gd name="connsiteY13" fmla="*/ 1397189 h 2215336"/>
              <a:gd name="connsiteX14" fmla="*/ 10852484 w 16747958"/>
              <a:gd name="connsiteY14" fmla="*/ 1493441 h 2215336"/>
              <a:gd name="connsiteX15" fmla="*/ 11165305 w 16747958"/>
              <a:gd name="connsiteY15" fmla="*/ 1613757 h 2215336"/>
              <a:gd name="connsiteX16" fmla="*/ 12729411 w 16747958"/>
              <a:gd name="connsiteY16" fmla="*/ 1998768 h 2215336"/>
              <a:gd name="connsiteX17" fmla="*/ 13090358 w 16747958"/>
              <a:gd name="connsiteY17" fmla="*/ 2070957 h 2215336"/>
              <a:gd name="connsiteX18" fmla="*/ 13306926 w 16747958"/>
              <a:gd name="connsiteY18" fmla="*/ 2095020 h 2215336"/>
              <a:gd name="connsiteX19" fmla="*/ 13980695 w 16747958"/>
              <a:gd name="connsiteY19" fmla="*/ 2191273 h 2215336"/>
              <a:gd name="connsiteX20" fmla="*/ 14461958 w 16747958"/>
              <a:gd name="connsiteY20" fmla="*/ 2215336 h 2215336"/>
              <a:gd name="connsiteX21" fmla="*/ 14702590 w 16747958"/>
              <a:gd name="connsiteY21" fmla="*/ 2191273 h 2215336"/>
              <a:gd name="connsiteX22" fmla="*/ 14991347 w 16747958"/>
              <a:gd name="connsiteY22" fmla="*/ 2143147 h 2215336"/>
              <a:gd name="connsiteX23" fmla="*/ 15207916 w 16747958"/>
              <a:gd name="connsiteY23" fmla="*/ 2046894 h 2215336"/>
              <a:gd name="connsiteX24" fmla="*/ 15400421 w 16747958"/>
              <a:gd name="connsiteY24" fmla="*/ 1926578 h 2215336"/>
              <a:gd name="connsiteX25" fmla="*/ 15641053 w 16747958"/>
              <a:gd name="connsiteY25" fmla="*/ 1782199 h 2215336"/>
              <a:gd name="connsiteX26" fmla="*/ 15761369 w 16747958"/>
              <a:gd name="connsiteY26" fmla="*/ 1734073 h 2215336"/>
              <a:gd name="connsiteX27" fmla="*/ 15881684 w 16747958"/>
              <a:gd name="connsiteY27" fmla="*/ 1613757 h 2215336"/>
              <a:gd name="connsiteX28" fmla="*/ 16170442 w 16747958"/>
              <a:gd name="connsiteY28" fmla="*/ 1349062 h 2215336"/>
              <a:gd name="connsiteX29" fmla="*/ 16290758 w 16747958"/>
              <a:gd name="connsiteY29" fmla="*/ 1180620 h 2215336"/>
              <a:gd name="connsiteX30" fmla="*/ 16483263 w 16747958"/>
              <a:gd name="connsiteY30" fmla="*/ 964052 h 2215336"/>
              <a:gd name="connsiteX31" fmla="*/ 16579516 w 16747958"/>
              <a:gd name="connsiteY31" fmla="*/ 819673 h 2215336"/>
              <a:gd name="connsiteX32" fmla="*/ 16627642 w 16747958"/>
              <a:gd name="connsiteY32" fmla="*/ 747484 h 2215336"/>
              <a:gd name="connsiteX33" fmla="*/ 16675769 w 16747958"/>
              <a:gd name="connsiteY33" fmla="*/ 651231 h 2215336"/>
              <a:gd name="connsiteX34" fmla="*/ 16723895 w 16747958"/>
              <a:gd name="connsiteY34" fmla="*/ 579041 h 2215336"/>
              <a:gd name="connsiteX35" fmla="*/ 16747958 w 16747958"/>
              <a:gd name="connsiteY3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0852484 w 16747958"/>
              <a:gd name="connsiteY13" fmla="*/ 1493441 h 2215336"/>
              <a:gd name="connsiteX14" fmla="*/ 11165305 w 16747958"/>
              <a:gd name="connsiteY14" fmla="*/ 1613757 h 2215336"/>
              <a:gd name="connsiteX15" fmla="*/ 12729411 w 16747958"/>
              <a:gd name="connsiteY15" fmla="*/ 1998768 h 2215336"/>
              <a:gd name="connsiteX16" fmla="*/ 13090358 w 16747958"/>
              <a:gd name="connsiteY16" fmla="*/ 2070957 h 2215336"/>
              <a:gd name="connsiteX17" fmla="*/ 13306926 w 16747958"/>
              <a:gd name="connsiteY17" fmla="*/ 2095020 h 2215336"/>
              <a:gd name="connsiteX18" fmla="*/ 13980695 w 16747958"/>
              <a:gd name="connsiteY18" fmla="*/ 2191273 h 2215336"/>
              <a:gd name="connsiteX19" fmla="*/ 14461958 w 16747958"/>
              <a:gd name="connsiteY19" fmla="*/ 2215336 h 2215336"/>
              <a:gd name="connsiteX20" fmla="*/ 14702590 w 16747958"/>
              <a:gd name="connsiteY20" fmla="*/ 2191273 h 2215336"/>
              <a:gd name="connsiteX21" fmla="*/ 14991347 w 16747958"/>
              <a:gd name="connsiteY21" fmla="*/ 2143147 h 2215336"/>
              <a:gd name="connsiteX22" fmla="*/ 15207916 w 16747958"/>
              <a:gd name="connsiteY22" fmla="*/ 2046894 h 2215336"/>
              <a:gd name="connsiteX23" fmla="*/ 15400421 w 16747958"/>
              <a:gd name="connsiteY23" fmla="*/ 1926578 h 2215336"/>
              <a:gd name="connsiteX24" fmla="*/ 15641053 w 16747958"/>
              <a:gd name="connsiteY24" fmla="*/ 1782199 h 2215336"/>
              <a:gd name="connsiteX25" fmla="*/ 15761369 w 16747958"/>
              <a:gd name="connsiteY25" fmla="*/ 1734073 h 2215336"/>
              <a:gd name="connsiteX26" fmla="*/ 15881684 w 16747958"/>
              <a:gd name="connsiteY26" fmla="*/ 1613757 h 2215336"/>
              <a:gd name="connsiteX27" fmla="*/ 16170442 w 16747958"/>
              <a:gd name="connsiteY27" fmla="*/ 1349062 h 2215336"/>
              <a:gd name="connsiteX28" fmla="*/ 16290758 w 16747958"/>
              <a:gd name="connsiteY28" fmla="*/ 1180620 h 2215336"/>
              <a:gd name="connsiteX29" fmla="*/ 16483263 w 16747958"/>
              <a:gd name="connsiteY29" fmla="*/ 964052 h 2215336"/>
              <a:gd name="connsiteX30" fmla="*/ 16579516 w 16747958"/>
              <a:gd name="connsiteY30" fmla="*/ 819673 h 2215336"/>
              <a:gd name="connsiteX31" fmla="*/ 16627642 w 16747958"/>
              <a:gd name="connsiteY31" fmla="*/ 747484 h 2215336"/>
              <a:gd name="connsiteX32" fmla="*/ 16675769 w 16747958"/>
              <a:gd name="connsiteY32" fmla="*/ 651231 h 2215336"/>
              <a:gd name="connsiteX33" fmla="*/ 16723895 w 16747958"/>
              <a:gd name="connsiteY33" fmla="*/ 579041 h 2215336"/>
              <a:gd name="connsiteX34" fmla="*/ 16747958 w 16747958"/>
              <a:gd name="connsiteY3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090358 w 16747958"/>
              <a:gd name="connsiteY15" fmla="*/ 2070957 h 2215336"/>
              <a:gd name="connsiteX16" fmla="*/ 13306926 w 16747958"/>
              <a:gd name="connsiteY16" fmla="*/ 2095020 h 2215336"/>
              <a:gd name="connsiteX17" fmla="*/ 13980695 w 16747958"/>
              <a:gd name="connsiteY17" fmla="*/ 2191273 h 2215336"/>
              <a:gd name="connsiteX18" fmla="*/ 14461958 w 16747958"/>
              <a:gd name="connsiteY18" fmla="*/ 2215336 h 2215336"/>
              <a:gd name="connsiteX19" fmla="*/ 14702590 w 16747958"/>
              <a:gd name="connsiteY19" fmla="*/ 2191273 h 2215336"/>
              <a:gd name="connsiteX20" fmla="*/ 14991347 w 16747958"/>
              <a:gd name="connsiteY20" fmla="*/ 2143147 h 2215336"/>
              <a:gd name="connsiteX21" fmla="*/ 15207916 w 16747958"/>
              <a:gd name="connsiteY21" fmla="*/ 2046894 h 2215336"/>
              <a:gd name="connsiteX22" fmla="*/ 15400421 w 16747958"/>
              <a:gd name="connsiteY22" fmla="*/ 1926578 h 2215336"/>
              <a:gd name="connsiteX23" fmla="*/ 15641053 w 16747958"/>
              <a:gd name="connsiteY23" fmla="*/ 1782199 h 2215336"/>
              <a:gd name="connsiteX24" fmla="*/ 15761369 w 16747958"/>
              <a:gd name="connsiteY24" fmla="*/ 1734073 h 2215336"/>
              <a:gd name="connsiteX25" fmla="*/ 15881684 w 16747958"/>
              <a:gd name="connsiteY25" fmla="*/ 1613757 h 2215336"/>
              <a:gd name="connsiteX26" fmla="*/ 16170442 w 16747958"/>
              <a:gd name="connsiteY26" fmla="*/ 1349062 h 2215336"/>
              <a:gd name="connsiteX27" fmla="*/ 16290758 w 16747958"/>
              <a:gd name="connsiteY27" fmla="*/ 1180620 h 2215336"/>
              <a:gd name="connsiteX28" fmla="*/ 16483263 w 16747958"/>
              <a:gd name="connsiteY28" fmla="*/ 964052 h 2215336"/>
              <a:gd name="connsiteX29" fmla="*/ 16579516 w 16747958"/>
              <a:gd name="connsiteY29" fmla="*/ 819673 h 2215336"/>
              <a:gd name="connsiteX30" fmla="*/ 16627642 w 16747958"/>
              <a:gd name="connsiteY30" fmla="*/ 747484 h 2215336"/>
              <a:gd name="connsiteX31" fmla="*/ 16675769 w 16747958"/>
              <a:gd name="connsiteY31" fmla="*/ 651231 h 2215336"/>
              <a:gd name="connsiteX32" fmla="*/ 16723895 w 16747958"/>
              <a:gd name="connsiteY32" fmla="*/ 579041 h 2215336"/>
              <a:gd name="connsiteX33" fmla="*/ 16747958 w 16747958"/>
              <a:gd name="connsiteY3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675769 w 16747958"/>
              <a:gd name="connsiteY30" fmla="*/ 651231 h 2215336"/>
              <a:gd name="connsiteX31" fmla="*/ 16723895 w 16747958"/>
              <a:gd name="connsiteY31" fmla="*/ 579041 h 2215336"/>
              <a:gd name="connsiteX32" fmla="*/ 16747958 w 16747958"/>
              <a:gd name="connsiteY3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23895 w 16747958"/>
              <a:gd name="connsiteY30" fmla="*/ 579041 h 2215336"/>
              <a:gd name="connsiteX31" fmla="*/ 16747958 w 16747958"/>
              <a:gd name="connsiteY3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579516 w 16747958"/>
              <a:gd name="connsiteY28" fmla="*/ 819673 h 2215336"/>
              <a:gd name="connsiteX29" fmla="*/ 16627642 w 16747958"/>
              <a:gd name="connsiteY29" fmla="*/ 747484 h 2215336"/>
              <a:gd name="connsiteX30" fmla="*/ 16747958 w 16747958"/>
              <a:gd name="connsiteY3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290758 w 16747958"/>
              <a:gd name="connsiteY26" fmla="*/ 1180620 h 2215336"/>
              <a:gd name="connsiteX27" fmla="*/ 16483263 w 16747958"/>
              <a:gd name="connsiteY27" fmla="*/ 964052 h 2215336"/>
              <a:gd name="connsiteX28" fmla="*/ 16627642 w 16747958"/>
              <a:gd name="connsiteY28" fmla="*/ 747484 h 2215336"/>
              <a:gd name="connsiteX29" fmla="*/ 16747958 w 16747958"/>
              <a:gd name="connsiteY2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761369 w 16747958"/>
              <a:gd name="connsiteY23" fmla="*/ 1734073 h 2215336"/>
              <a:gd name="connsiteX24" fmla="*/ 15881684 w 16747958"/>
              <a:gd name="connsiteY24" fmla="*/ 1613757 h 2215336"/>
              <a:gd name="connsiteX25" fmla="*/ 16170442 w 16747958"/>
              <a:gd name="connsiteY25" fmla="*/ 1349062 h 2215336"/>
              <a:gd name="connsiteX26" fmla="*/ 16483263 w 16747958"/>
              <a:gd name="connsiteY26" fmla="*/ 964052 h 2215336"/>
              <a:gd name="connsiteX27" fmla="*/ 16627642 w 16747958"/>
              <a:gd name="connsiteY27" fmla="*/ 747484 h 2215336"/>
              <a:gd name="connsiteX28" fmla="*/ 16747958 w 16747958"/>
              <a:gd name="connsiteY2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400421 w 16747958"/>
              <a:gd name="connsiteY21" fmla="*/ 1926578 h 2215336"/>
              <a:gd name="connsiteX22" fmla="*/ 15641053 w 16747958"/>
              <a:gd name="connsiteY22" fmla="*/ 1782199 h 2215336"/>
              <a:gd name="connsiteX23" fmla="*/ 15881684 w 16747958"/>
              <a:gd name="connsiteY23" fmla="*/ 1613757 h 2215336"/>
              <a:gd name="connsiteX24" fmla="*/ 16170442 w 16747958"/>
              <a:gd name="connsiteY24" fmla="*/ 1349062 h 2215336"/>
              <a:gd name="connsiteX25" fmla="*/ 16483263 w 16747958"/>
              <a:gd name="connsiteY25" fmla="*/ 964052 h 2215336"/>
              <a:gd name="connsiteX26" fmla="*/ 16627642 w 16747958"/>
              <a:gd name="connsiteY26" fmla="*/ 747484 h 2215336"/>
              <a:gd name="connsiteX27" fmla="*/ 16747958 w 16747958"/>
              <a:gd name="connsiteY27"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5881684 w 16747958"/>
              <a:gd name="connsiteY22" fmla="*/ 1613757 h 2215336"/>
              <a:gd name="connsiteX23" fmla="*/ 16170442 w 16747958"/>
              <a:gd name="connsiteY23" fmla="*/ 1349062 h 2215336"/>
              <a:gd name="connsiteX24" fmla="*/ 16483263 w 16747958"/>
              <a:gd name="connsiteY24" fmla="*/ 964052 h 2215336"/>
              <a:gd name="connsiteX25" fmla="*/ 16627642 w 16747958"/>
              <a:gd name="connsiteY25" fmla="*/ 747484 h 2215336"/>
              <a:gd name="connsiteX26" fmla="*/ 16747958 w 16747958"/>
              <a:gd name="connsiteY26"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702590 w 16747958"/>
              <a:gd name="connsiteY18" fmla="*/ 2191273 h 2215336"/>
              <a:gd name="connsiteX19" fmla="*/ 14991347 w 16747958"/>
              <a:gd name="connsiteY19" fmla="*/ 2143147 h 2215336"/>
              <a:gd name="connsiteX20" fmla="*/ 15207916 w 16747958"/>
              <a:gd name="connsiteY20" fmla="*/ 2046894 h 2215336"/>
              <a:gd name="connsiteX21" fmla="*/ 15641053 w 16747958"/>
              <a:gd name="connsiteY21" fmla="*/ 1782199 h 2215336"/>
              <a:gd name="connsiteX22" fmla="*/ 16170442 w 16747958"/>
              <a:gd name="connsiteY22" fmla="*/ 1349062 h 2215336"/>
              <a:gd name="connsiteX23" fmla="*/ 16483263 w 16747958"/>
              <a:gd name="connsiteY23" fmla="*/ 964052 h 2215336"/>
              <a:gd name="connsiteX24" fmla="*/ 16627642 w 16747958"/>
              <a:gd name="connsiteY24" fmla="*/ 747484 h 2215336"/>
              <a:gd name="connsiteX25" fmla="*/ 16747958 w 16747958"/>
              <a:gd name="connsiteY25"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207916 w 16747958"/>
              <a:gd name="connsiteY19" fmla="*/ 2046894 h 2215336"/>
              <a:gd name="connsiteX20" fmla="*/ 15641053 w 16747958"/>
              <a:gd name="connsiteY20" fmla="*/ 1782199 h 2215336"/>
              <a:gd name="connsiteX21" fmla="*/ 16170442 w 16747958"/>
              <a:gd name="connsiteY21" fmla="*/ 1349062 h 2215336"/>
              <a:gd name="connsiteX22" fmla="*/ 16483263 w 16747958"/>
              <a:gd name="connsiteY22" fmla="*/ 964052 h 2215336"/>
              <a:gd name="connsiteX23" fmla="*/ 16627642 w 16747958"/>
              <a:gd name="connsiteY23" fmla="*/ 747484 h 2215336"/>
              <a:gd name="connsiteX24" fmla="*/ 16747958 w 16747958"/>
              <a:gd name="connsiteY24"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3980695 w 16747958"/>
              <a:gd name="connsiteY16" fmla="*/ 2191273 h 2215336"/>
              <a:gd name="connsiteX17" fmla="*/ 14461958 w 16747958"/>
              <a:gd name="connsiteY17" fmla="*/ 2215336 h 2215336"/>
              <a:gd name="connsiteX18" fmla="*/ 14991347 w 16747958"/>
              <a:gd name="connsiteY18" fmla="*/ 2143147 h 2215336"/>
              <a:gd name="connsiteX19" fmla="*/ 15641053 w 16747958"/>
              <a:gd name="connsiteY19" fmla="*/ 1782199 h 2215336"/>
              <a:gd name="connsiteX20" fmla="*/ 16170442 w 16747958"/>
              <a:gd name="connsiteY20" fmla="*/ 1349062 h 2215336"/>
              <a:gd name="connsiteX21" fmla="*/ 16483263 w 16747958"/>
              <a:gd name="connsiteY21" fmla="*/ 964052 h 2215336"/>
              <a:gd name="connsiteX22" fmla="*/ 16627642 w 16747958"/>
              <a:gd name="connsiteY22" fmla="*/ 747484 h 2215336"/>
              <a:gd name="connsiteX23" fmla="*/ 16747958 w 16747958"/>
              <a:gd name="connsiteY23"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3306926 w 16747958"/>
              <a:gd name="connsiteY15" fmla="*/ 2095020 h 2215336"/>
              <a:gd name="connsiteX16" fmla="*/ 14461958 w 16747958"/>
              <a:gd name="connsiteY16" fmla="*/ 2215336 h 2215336"/>
              <a:gd name="connsiteX17" fmla="*/ 14991347 w 16747958"/>
              <a:gd name="connsiteY17" fmla="*/ 2143147 h 2215336"/>
              <a:gd name="connsiteX18" fmla="*/ 15641053 w 16747958"/>
              <a:gd name="connsiteY18" fmla="*/ 1782199 h 2215336"/>
              <a:gd name="connsiteX19" fmla="*/ 16170442 w 16747958"/>
              <a:gd name="connsiteY19" fmla="*/ 1349062 h 2215336"/>
              <a:gd name="connsiteX20" fmla="*/ 16483263 w 16747958"/>
              <a:gd name="connsiteY20" fmla="*/ 964052 h 2215336"/>
              <a:gd name="connsiteX21" fmla="*/ 16627642 w 16747958"/>
              <a:gd name="connsiteY21" fmla="*/ 747484 h 2215336"/>
              <a:gd name="connsiteX22" fmla="*/ 16747958 w 16747958"/>
              <a:gd name="connsiteY22"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627642 w 16747958"/>
              <a:gd name="connsiteY20" fmla="*/ 747484 h 2215336"/>
              <a:gd name="connsiteX21" fmla="*/ 16747958 w 16747958"/>
              <a:gd name="connsiteY21"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8999621 w 16747958"/>
              <a:gd name="connsiteY9" fmla="*/ 771547 h 2215336"/>
              <a:gd name="connsiteX10" fmla="*/ 9288379 w 16747958"/>
              <a:gd name="connsiteY10" fmla="*/ 867799 h 2215336"/>
              <a:gd name="connsiteX11" fmla="*/ 9938084 w 16747958"/>
              <a:gd name="connsiteY11" fmla="*/ 1156557 h 2215336"/>
              <a:gd name="connsiteX12" fmla="*/ 10539663 w 16747958"/>
              <a:gd name="connsiteY12" fmla="*/ 1397189 h 2215336"/>
              <a:gd name="connsiteX13" fmla="*/ 11165305 w 16747958"/>
              <a:gd name="connsiteY13" fmla="*/ 1613757 h 2215336"/>
              <a:gd name="connsiteX14" fmla="*/ 12729411 w 16747958"/>
              <a:gd name="connsiteY14" fmla="*/ 1998768 h 2215336"/>
              <a:gd name="connsiteX15" fmla="*/ 14461958 w 16747958"/>
              <a:gd name="connsiteY15" fmla="*/ 2215336 h 2215336"/>
              <a:gd name="connsiteX16" fmla="*/ 14991347 w 16747958"/>
              <a:gd name="connsiteY16" fmla="*/ 2143147 h 2215336"/>
              <a:gd name="connsiteX17" fmla="*/ 15641053 w 16747958"/>
              <a:gd name="connsiteY17" fmla="*/ 1782199 h 2215336"/>
              <a:gd name="connsiteX18" fmla="*/ 16170442 w 16747958"/>
              <a:gd name="connsiteY18" fmla="*/ 1349062 h 2215336"/>
              <a:gd name="connsiteX19" fmla="*/ 16483263 w 16747958"/>
              <a:gd name="connsiteY19" fmla="*/ 964052 h 2215336"/>
              <a:gd name="connsiteX20" fmla="*/ 16747958 w 16747958"/>
              <a:gd name="connsiteY20"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288379 w 16747958"/>
              <a:gd name="connsiteY9" fmla="*/ 867799 h 2215336"/>
              <a:gd name="connsiteX10" fmla="*/ 9938084 w 16747958"/>
              <a:gd name="connsiteY10" fmla="*/ 1156557 h 2215336"/>
              <a:gd name="connsiteX11" fmla="*/ 10539663 w 16747958"/>
              <a:gd name="connsiteY11" fmla="*/ 1397189 h 2215336"/>
              <a:gd name="connsiteX12" fmla="*/ 11165305 w 16747958"/>
              <a:gd name="connsiteY12" fmla="*/ 1613757 h 2215336"/>
              <a:gd name="connsiteX13" fmla="*/ 12729411 w 16747958"/>
              <a:gd name="connsiteY13" fmla="*/ 1998768 h 2215336"/>
              <a:gd name="connsiteX14" fmla="*/ 14461958 w 16747958"/>
              <a:gd name="connsiteY14" fmla="*/ 2215336 h 2215336"/>
              <a:gd name="connsiteX15" fmla="*/ 14991347 w 16747958"/>
              <a:gd name="connsiteY15" fmla="*/ 2143147 h 2215336"/>
              <a:gd name="connsiteX16" fmla="*/ 15641053 w 16747958"/>
              <a:gd name="connsiteY16" fmla="*/ 1782199 h 2215336"/>
              <a:gd name="connsiteX17" fmla="*/ 16170442 w 16747958"/>
              <a:gd name="connsiteY17" fmla="*/ 1349062 h 2215336"/>
              <a:gd name="connsiteX18" fmla="*/ 16483263 w 16747958"/>
              <a:gd name="connsiteY18" fmla="*/ 964052 h 2215336"/>
              <a:gd name="connsiteX19" fmla="*/ 16747958 w 16747958"/>
              <a:gd name="connsiteY19"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061158 w 16747958"/>
              <a:gd name="connsiteY7" fmla="*/ 434662 h 2215336"/>
              <a:gd name="connsiteX8" fmla="*/ 8614611 w 16747958"/>
              <a:gd name="connsiteY8" fmla="*/ 627168 h 2215336"/>
              <a:gd name="connsiteX9" fmla="*/ 9938084 w 16747958"/>
              <a:gd name="connsiteY9" fmla="*/ 1156557 h 2215336"/>
              <a:gd name="connsiteX10" fmla="*/ 10539663 w 16747958"/>
              <a:gd name="connsiteY10" fmla="*/ 1397189 h 2215336"/>
              <a:gd name="connsiteX11" fmla="*/ 11165305 w 16747958"/>
              <a:gd name="connsiteY11" fmla="*/ 1613757 h 2215336"/>
              <a:gd name="connsiteX12" fmla="*/ 12729411 w 16747958"/>
              <a:gd name="connsiteY12" fmla="*/ 1998768 h 2215336"/>
              <a:gd name="connsiteX13" fmla="*/ 14461958 w 16747958"/>
              <a:gd name="connsiteY13" fmla="*/ 2215336 h 2215336"/>
              <a:gd name="connsiteX14" fmla="*/ 14991347 w 16747958"/>
              <a:gd name="connsiteY14" fmla="*/ 2143147 h 2215336"/>
              <a:gd name="connsiteX15" fmla="*/ 15641053 w 16747958"/>
              <a:gd name="connsiteY15" fmla="*/ 1782199 h 2215336"/>
              <a:gd name="connsiteX16" fmla="*/ 16170442 w 16747958"/>
              <a:gd name="connsiteY16" fmla="*/ 1349062 h 2215336"/>
              <a:gd name="connsiteX17" fmla="*/ 16483263 w 16747958"/>
              <a:gd name="connsiteY17" fmla="*/ 964052 h 2215336"/>
              <a:gd name="connsiteX18" fmla="*/ 16747958 w 16747958"/>
              <a:gd name="connsiteY18" fmla="*/ 506852 h 2215336"/>
              <a:gd name="connsiteX0" fmla="*/ 0 w 16747958"/>
              <a:gd name="connsiteY0" fmla="*/ 1517505 h 2215336"/>
              <a:gd name="connsiteX1" fmla="*/ 433137 w 16747958"/>
              <a:gd name="connsiteY1" fmla="*/ 988115 h 2215336"/>
              <a:gd name="connsiteX2" fmla="*/ 1179095 w 16747958"/>
              <a:gd name="connsiteY2" fmla="*/ 506852 h 2215336"/>
              <a:gd name="connsiteX3" fmla="*/ 2093495 w 16747958"/>
              <a:gd name="connsiteY3" fmla="*/ 242157 h 2215336"/>
              <a:gd name="connsiteX4" fmla="*/ 3537284 w 16747958"/>
              <a:gd name="connsiteY4" fmla="*/ 25589 h 2215336"/>
              <a:gd name="connsiteX5" fmla="*/ 5895474 w 16747958"/>
              <a:gd name="connsiteY5" fmla="*/ 25589 h 2215336"/>
              <a:gd name="connsiteX6" fmla="*/ 7146758 w 16747958"/>
              <a:gd name="connsiteY6" fmla="*/ 218094 h 2215336"/>
              <a:gd name="connsiteX7" fmla="*/ 8614611 w 16747958"/>
              <a:gd name="connsiteY7" fmla="*/ 627168 h 2215336"/>
              <a:gd name="connsiteX8" fmla="*/ 9938084 w 16747958"/>
              <a:gd name="connsiteY8" fmla="*/ 1156557 h 2215336"/>
              <a:gd name="connsiteX9" fmla="*/ 10539663 w 16747958"/>
              <a:gd name="connsiteY9" fmla="*/ 1397189 h 2215336"/>
              <a:gd name="connsiteX10" fmla="*/ 11165305 w 16747958"/>
              <a:gd name="connsiteY10" fmla="*/ 1613757 h 2215336"/>
              <a:gd name="connsiteX11" fmla="*/ 12729411 w 16747958"/>
              <a:gd name="connsiteY11" fmla="*/ 1998768 h 2215336"/>
              <a:gd name="connsiteX12" fmla="*/ 14461958 w 16747958"/>
              <a:gd name="connsiteY12" fmla="*/ 2215336 h 2215336"/>
              <a:gd name="connsiteX13" fmla="*/ 14991347 w 16747958"/>
              <a:gd name="connsiteY13" fmla="*/ 2143147 h 2215336"/>
              <a:gd name="connsiteX14" fmla="*/ 15641053 w 16747958"/>
              <a:gd name="connsiteY14" fmla="*/ 1782199 h 2215336"/>
              <a:gd name="connsiteX15" fmla="*/ 16170442 w 16747958"/>
              <a:gd name="connsiteY15" fmla="*/ 1349062 h 2215336"/>
              <a:gd name="connsiteX16" fmla="*/ 16483263 w 16747958"/>
              <a:gd name="connsiteY16" fmla="*/ 964052 h 2215336"/>
              <a:gd name="connsiteX17" fmla="*/ 16747958 w 16747958"/>
              <a:gd name="connsiteY17" fmla="*/ 506852 h 2215336"/>
              <a:gd name="connsiteX0" fmla="*/ 0 w 16747958"/>
              <a:gd name="connsiteY0" fmla="*/ 1517505 h 2215336"/>
              <a:gd name="connsiteX1" fmla="*/ 1179095 w 16747958"/>
              <a:gd name="connsiteY1" fmla="*/ 506852 h 2215336"/>
              <a:gd name="connsiteX2" fmla="*/ 2093495 w 16747958"/>
              <a:gd name="connsiteY2" fmla="*/ 242157 h 2215336"/>
              <a:gd name="connsiteX3" fmla="*/ 3537284 w 16747958"/>
              <a:gd name="connsiteY3" fmla="*/ 25589 h 2215336"/>
              <a:gd name="connsiteX4" fmla="*/ 5895474 w 16747958"/>
              <a:gd name="connsiteY4" fmla="*/ 25589 h 2215336"/>
              <a:gd name="connsiteX5" fmla="*/ 7146758 w 16747958"/>
              <a:gd name="connsiteY5" fmla="*/ 218094 h 2215336"/>
              <a:gd name="connsiteX6" fmla="*/ 8614611 w 16747958"/>
              <a:gd name="connsiteY6" fmla="*/ 627168 h 2215336"/>
              <a:gd name="connsiteX7" fmla="*/ 9938084 w 16747958"/>
              <a:gd name="connsiteY7" fmla="*/ 1156557 h 2215336"/>
              <a:gd name="connsiteX8" fmla="*/ 10539663 w 16747958"/>
              <a:gd name="connsiteY8" fmla="*/ 1397189 h 2215336"/>
              <a:gd name="connsiteX9" fmla="*/ 11165305 w 16747958"/>
              <a:gd name="connsiteY9" fmla="*/ 1613757 h 2215336"/>
              <a:gd name="connsiteX10" fmla="*/ 12729411 w 16747958"/>
              <a:gd name="connsiteY10" fmla="*/ 1998768 h 2215336"/>
              <a:gd name="connsiteX11" fmla="*/ 14461958 w 16747958"/>
              <a:gd name="connsiteY11" fmla="*/ 2215336 h 2215336"/>
              <a:gd name="connsiteX12" fmla="*/ 14991347 w 16747958"/>
              <a:gd name="connsiteY12" fmla="*/ 2143147 h 2215336"/>
              <a:gd name="connsiteX13" fmla="*/ 15641053 w 16747958"/>
              <a:gd name="connsiteY13" fmla="*/ 1782199 h 2215336"/>
              <a:gd name="connsiteX14" fmla="*/ 16170442 w 16747958"/>
              <a:gd name="connsiteY14" fmla="*/ 1349062 h 2215336"/>
              <a:gd name="connsiteX15" fmla="*/ 16483263 w 16747958"/>
              <a:gd name="connsiteY15" fmla="*/ 964052 h 2215336"/>
              <a:gd name="connsiteX16" fmla="*/ 16747958 w 16747958"/>
              <a:gd name="connsiteY16" fmla="*/ 506852 h 2215336"/>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0539663 w 16747958"/>
              <a:gd name="connsiteY7" fmla="*/ 1371722 h 2189869"/>
              <a:gd name="connsiteX8" fmla="*/ 11165305 w 16747958"/>
              <a:gd name="connsiteY8" fmla="*/ 1588290 h 2189869"/>
              <a:gd name="connsiteX9" fmla="*/ 12729411 w 16747958"/>
              <a:gd name="connsiteY9" fmla="*/ 1973301 h 2189869"/>
              <a:gd name="connsiteX10" fmla="*/ 14461958 w 16747958"/>
              <a:gd name="connsiteY10" fmla="*/ 2189869 h 2189869"/>
              <a:gd name="connsiteX11" fmla="*/ 14991347 w 16747958"/>
              <a:gd name="connsiteY11" fmla="*/ 2117680 h 2189869"/>
              <a:gd name="connsiteX12" fmla="*/ 15641053 w 16747958"/>
              <a:gd name="connsiteY12" fmla="*/ 1756732 h 2189869"/>
              <a:gd name="connsiteX13" fmla="*/ 16170442 w 16747958"/>
              <a:gd name="connsiteY13" fmla="*/ 1323595 h 2189869"/>
              <a:gd name="connsiteX14" fmla="*/ 16483263 w 16747958"/>
              <a:gd name="connsiteY14" fmla="*/ 938585 h 2189869"/>
              <a:gd name="connsiteX15" fmla="*/ 16747958 w 16747958"/>
              <a:gd name="connsiteY15"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170442 w 16747958"/>
              <a:gd name="connsiteY12" fmla="*/ 1323595 h 2189869"/>
              <a:gd name="connsiteX13" fmla="*/ 16483263 w 16747958"/>
              <a:gd name="connsiteY13" fmla="*/ 938585 h 2189869"/>
              <a:gd name="connsiteX14" fmla="*/ 16747958 w 16747958"/>
              <a:gd name="connsiteY14"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4991347 w 16747958"/>
              <a:gd name="connsiteY10" fmla="*/ 2117680 h 2189869"/>
              <a:gd name="connsiteX11" fmla="*/ 15641053 w 16747958"/>
              <a:gd name="connsiteY11" fmla="*/ 1756732 h 2189869"/>
              <a:gd name="connsiteX12" fmla="*/ 16483263 w 16747958"/>
              <a:gd name="connsiteY12" fmla="*/ 938585 h 2189869"/>
              <a:gd name="connsiteX13" fmla="*/ 16747958 w 16747958"/>
              <a:gd name="connsiteY13" fmla="*/ 481385 h 2189869"/>
              <a:gd name="connsiteX0" fmla="*/ 0 w 16747958"/>
              <a:gd name="connsiteY0" fmla="*/ 1492038 h 2189869"/>
              <a:gd name="connsiteX1" fmla="*/ 1179095 w 16747958"/>
              <a:gd name="connsiteY1" fmla="*/ 481385 h 2189869"/>
              <a:gd name="connsiteX2" fmla="*/ 2093495 w 16747958"/>
              <a:gd name="connsiteY2" fmla="*/ 216690 h 2189869"/>
              <a:gd name="connsiteX3" fmla="*/ 5895474 w 16747958"/>
              <a:gd name="connsiteY3" fmla="*/ 122 h 2189869"/>
              <a:gd name="connsiteX4" fmla="*/ 7146758 w 16747958"/>
              <a:gd name="connsiteY4" fmla="*/ 192627 h 2189869"/>
              <a:gd name="connsiteX5" fmla="*/ 8614611 w 16747958"/>
              <a:gd name="connsiteY5" fmla="*/ 601701 h 2189869"/>
              <a:gd name="connsiteX6" fmla="*/ 9938084 w 16747958"/>
              <a:gd name="connsiteY6" fmla="*/ 1131090 h 2189869"/>
              <a:gd name="connsiteX7" fmla="*/ 11165305 w 16747958"/>
              <a:gd name="connsiteY7" fmla="*/ 1588290 h 2189869"/>
              <a:gd name="connsiteX8" fmla="*/ 12729411 w 16747958"/>
              <a:gd name="connsiteY8" fmla="*/ 1973301 h 2189869"/>
              <a:gd name="connsiteX9" fmla="*/ 14461958 w 16747958"/>
              <a:gd name="connsiteY9" fmla="*/ 2189869 h 2189869"/>
              <a:gd name="connsiteX10" fmla="*/ 15641053 w 16747958"/>
              <a:gd name="connsiteY10" fmla="*/ 1756732 h 2189869"/>
              <a:gd name="connsiteX11" fmla="*/ 16483263 w 16747958"/>
              <a:gd name="connsiteY11" fmla="*/ 938585 h 2189869"/>
              <a:gd name="connsiteX12" fmla="*/ 16747958 w 16747958"/>
              <a:gd name="connsiteY12" fmla="*/ 481385 h 2189869"/>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492038 h 2226990"/>
              <a:gd name="connsiteX1" fmla="*/ 1179095 w 16747958"/>
              <a:gd name="connsiteY1" fmla="*/ 481385 h 2226990"/>
              <a:gd name="connsiteX2" fmla="*/ 2093495 w 16747958"/>
              <a:gd name="connsiteY2" fmla="*/ 216690 h 2226990"/>
              <a:gd name="connsiteX3" fmla="*/ 5895474 w 16747958"/>
              <a:gd name="connsiteY3" fmla="*/ 122 h 2226990"/>
              <a:gd name="connsiteX4" fmla="*/ 7146758 w 16747958"/>
              <a:gd name="connsiteY4" fmla="*/ 192627 h 2226990"/>
              <a:gd name="connsiteX5" fmla="*/ 8614611 w 16747958"/>
              <a:gd name="connsiteY5" fmla="*/ 601701 h 2226990"/>
              <a:gd name="connsiteX6" fmla="*/ 9938084 w 16747958"/>
              <a:gd name="connsiteY6" fmla="*/ 1131090 h 2226990"/>
              <a:gd name="connsiteX7" fmla="*/ 11165305 w 16747958"/>
              <a:gd name="connsiteY7" fmla="*/ 1588290 h 2226990"/>
              <a:gd name="connsiteX8" fmla="*/ 12729411 w 16747958"/>
              <a:gd name="connsiteY8" fmla="*/ 1973301 h 2226990"/>
              <a:gd name="connsiteX9" fmla="*/ 14461958 w 16747958"/>
              <a:gd name="connsiteY9" fmla="*/ 2189869 h 2226990"/>
              <a:gd name="connsiteX10" fmla="*/ 15641053 w 16747958"/>
              <a:gd name="connsiteY10" fmla="*/ 1756732 h 2226990"/>
              <a:gd name="connsiteX11" fmla="*/ 16483263 w 16747958"/>
              <a:gd name="connsiteY11" fmla="*/ 938585 h 2226990"/>
              <a:gd name="connsiteX12" fmla="*/ 16747958 w 16747958"/>
              <a:gd name="connsiteY12" fmla="*/ 481385 h 2226990"/>
              <a:gd name="connsiteX0" fmla="*/ 0 w 16747958"/>
              <a:gd name="connsiteY0" fmla="*/ 1504379 h 2239331"/>
              <a:gd name="connsiteX1" fmla="*/ 1179095 w 16747958"/>
              <a:gd name="connsiteY1" fmla="*/ 493726 h 2239331"/>
              <a:gd name="connsiteX2" fmla="*/ 2093495 w 16747958"/>
              <a:gd name="connsiteY2" fmla="*/ 229031 h 2239331"/>
              <a:gd name="connsiteX3" fmla="*/ 5895474 w 16747958"/>
              <a:gd name="connsiteY3" fmla="*/ 12463 h 2239331"/>
              <a:gd name="connsiteX4" fmla="*/ 8614611 w 16747958"/>
              <a:gd name="connsiteY4" fmla="*/ 614042 h 2239331"/>
              <a:gd name="connsiteX5" fmla="*/ 9938084 w 16747958"/>
              <a:gd name="connsiteY5" fmla="*/ 1143431 h 2239331"/>
              <a:gd name="connsiteX6" fmla="*/ 11165305 w 16747958"/>
              <a:gd name="connsiteY6" fmla="*/ 1600631 h 2239331"/>
              <a:gd name="connsiteX7" fmla="*/ 12729411 w 16747958"/>
              <a:gd name="connsiteY7" fmla="*/ 1985642 h 2239331"/>
              <a:gd name="connsiteX8" fmla="*/ 14461958 w 16747958"/>
              <a:gd name="connsiteY8" fmla="*/ 2202210 h 2239331"/>
              <a:gd name="connsiteX9" fmla="*/ 15641053 w 16747958"/>
              <a:gd name="connsiteY9" fmla="*/ 1769073 h 2239331"/>
              <a:gd name="connsiteX10" fmla="*/ 16483263 w 16747958"/>
              <a:gd name="connsiteY10" fmla="*/ 950926 h 2239331"/>
              <a:gd name="connsiteX11" fmla="*/ 16747958 w 16747958"/>
              <a:gd name="connsiteY11" fmla="*/ 493726 h 2239331"/>
              <a:gd name="connsiteX0" fmla="*/ 0 w 16747958"/>
              <a:gd name="connsiteY0" fmla="*/ 1504379 h 1991537"/>
              <a:gd name="connsiteX1" fmla="*/ 1179095 w 16747958"/>
              <a:gd name="connsiteY1" fmla="*/ 493726 h 1991537"/>
              <a:gd name="connsiteX2" fmla="*/ 2093495 w 16747958"/>
              <a:gd name="connsiteY2" fmla="*/ 229031 h 1991537"/>
              <a:gd name="connsiteX3" fmla="*/ 5895474 w 16747958"/>
              <a:gd name="connsiteY3" fmla="*/ 12463 h 1991537"/>
              <a:gd name="connsiteX4" fmla="*/ 8614611 w 16747958"/>
              <a:gd name="connsiteY4" fmla="*/ 614042 h 1991537"/>
              <a:gd name="connsiteX5" fmla="*/ 9938084 w 16747958"/>
              <a:gd name="connsiteY5" fmla="*/ 1143431 h 1991537"/>
              <a:gd name="connsiteX6" fmla="*/ 11165305 w 16747958"/>
              <a:gd name="connsiteY6" fmla="*/ 1600631 h 1991537"/>
              <a:gd name="connsiteX7" fmla="*/ 12729411 w 16747958"/>
              <a:gd name="connsiteY7" fmla="*/ 1985642 h 1991537"/>
              <a:gd name="connsiteX8" fmla="*/ 15641053 w 16747958"/>
              <a:gd name="connsiteY8" fmla="*/ 1769073 h 1991537"/>
              <a:gd name="connsiteX9" fmla="*/ 16483263 w 16747958"/>
              <a:gd name="connsiteY9" fmla="*/ 950926 h 1991537"/>
              <a:gd name="connsiteX10" fmla="*/ 16747958 w 16747958"/>
              <a:gd name="connsiteY10" fmla="*/ 493726 h 1991537"/>
              <a:gd name="connsiteX0" fmla="*/ 0 w 16747958"/>
              <a:gd name="connsiteY0" fmla="*/ 1504379 h 2020274"/>
              <a:gd name="connsiteX1" fmla="*/ 1179095 w 16747958"/>
              <a:gd name="connsiteY1" fmla="*/ 493726 h 2020274"/>
              <a:gd name="connsiteX2" fmla="*/ 2093495 w 16747958"/>
              <a:gd name="connsiteY2" fmla="*/ 229031 h 2020274"/>
              <a:gd name="connsiteX3" fmla="*/ 5895474 w 16747958"/>
              <a:gd name="connsiteY3" fmla="*/ 12463 h 2020274"/>
              <a:gd name="connsiteX4" fmla="*/ 8614611 w 16747958"/>
              <a:gd name="connsiteY4" fmla="*/ 614042 h 2020274"/>
              <a:gd name="connsiteX5" fmla="*/ 9938084 w 16747958"/>
              <a:gd name="connsiteY5" fmla="*/ 1143431 h 2020274"/>
              <a:gd name="connsiteX6" fmla="*/ 12729411 w 16747958"/>
              <a:gd name="connsiteY6" fmla="*/ 1985642 h 2020274"/>
              <a:gd name="connsiteX7" fmla="*/ 15641053 w 16747958"/>
              <a:gd name="connsiteY7" fmla="*/ 1769073 h 2020274"/>
              <a:gd name="connsiteX8" fmla="*/ 16483263 w 16747958"/>
              <a:gd name="connsiteY8" fmla="*/ 950926 h 2020274"/>
              <a:gd name="connsiteX9" fmla="*/ 16747958 w 16747958"/>
              <a:gd name="connsiteY9" fmla="*/ 493726 h 2020274"/>
              <a:gd name="connsiteX0" fmla="*/ 0 w 16747958"/>
              <a:gd name="connsiteY0" fmla="*/ 1504379 h 2031854"/>
              <a:gd name="connsiteX1" fmla="*/ 1179095 w 16747958"/>
              <a:gd name="connsiteY1" fmla="*/ 493726 h 2031854"/>
              <a:gd name="connsiteX2" fmla="*/ 2093495 w 16747958"/>
              <a:gd name="connsiteY2" fmla="*/ 229031 h 2031854"/>
              <a:gd name="connsiteX3" fmla="*/ 5895474 w 16747958"/>
              <a:gd name="connsiteY3" fmla="*/ 12463 h 2031854"/>
              <a:gd name="connsiteX4" fmla="*/ 8614611 w 16747958"/>
              <a:gd name="connsiteY4" fmla="*/ 614042 h 2031854"/>
              <a:gd name="connsiteX5" fmla="*/ 9938084 w 16747958"/>
              <a:gd name="connsiteY5" fmla="*/ 1143431 h 2031854"/>
              <a:gd name="connsiteX6" fmla="*/ 12729411 w 16747958"/>
              <a:gd name="connsiteY6" fmla="*/ 1985642 h 2031854"/>
              <a:gd name="connsiteX7" fmla="*/ 15641053 w 16747958"/>
              <a:gd name="connsiteY7" fmla="*/ 1769073 h 2031854"/>
              <a:gd name="connsiteX8" fmla="*/ 16747958 w 16747958"/>
              <a:gd name="connsiteY8" fmla="*/ 493726 h 2031854"/>
              <a:gd name="connsiteX0" fmla="*/ 0 w 16747958"/>
              <a:gd name="connsiteY0" fmla="*/ 1520541 h 2048016"/>
              <a:gd name="connsiteX1" fmla="*/ 2093495 w 16747958"/>
              <a:gd name="connsiteY1" fmla="*/ 245193 h 2048016"/>
              <a:gd name="connsiteX2" fmla="*/ 5895474 w 16747958"/>
              <a:gd name="connsiteY2" fmla="*/ 28625 h 2048016"/>
              <a:gd name="connsiteX3" fmla="*/ 8614611 w 16747958"/>
              <a:gd name="connsiteY3" fmla="*/ 630204 h 2048016"/>
              <a:gd name="connsiteX4" fmla="*/ 9938084 w 16747958"/>
              <a:gd name="connsiteY4" fmla="*/ 1159593 h 2048016"/>
              <a:gd name="connsiteX5" fmla="*/ 12729411 w 16747958"/>
              <a:gd name="connsiteY5" fmla="*/ 2001804 h 2048016"/>
              <a:gd name="connsiteX6" fmla="*/ 15641053 w 16747958"/>
              <a:gd name="connsiteY6" fmla="*/ 1785235 h 2048016"/>
              <a:gd name="connsiteX7" fmla="*/ 16747958 w 16747958"/>
              <a:gd name="connsiteY7" fmla="*/ 509888 h 2048016"/>
              <a:gd name="connsiteX0" fmla="*/ 0 w 17268220"/>
              <a:gd name="connsiteY0" fmla="*/ 3898403 h 3898403"/>
              <a:gd name="connsiteX1" fmla="*/ 2613757 w 17268220"/>
              <a:gd name="connsiteY1" fmla="*/ 368586 h 3898403"/>
              <a:gd name="connsiteX2" fmla="*/ 6415736 w 17268220"/>
              <a:gd name="connsiteY2" fmla="*/ 152018 h 3898403"/>
              <a:gd name="connsiteX3" fmla="*/ 9134873 w 17268220"/>
              <a:gd name="connsiteY3" fmla="*/ 753597 h 3898403"/>
              <a:gd name="connsiteX4" fmla="*/ 10458346 w 17268220"/>
              <a:gd name="connsiteY4" fmla="*/ 1282986 h 3898403"/>
              <a:gd name="connsiteX5" fmla="*/ 13249673 w 17268220"/>
              <a:gd name="connsiteY5" fmla="*/ 2125197 h 3898403"/>
              <a:gd name="connsiteX6" fmla="*/ 16161315 w 17268220"/>
              <a:gd name="connsiteY6" fmla="*/ 1908628 h 3898403"/>
              <a:gd name="connsiteX7" fmla="*/ 17268220 w 17268220"/>
              <a:gd name="connsiteY7" fmla="*/ 633281 h 3898403"/>
              <a:gd name="connsiteX0" fmla="*/ 0 w 17268220"/>
              <a:gd name="connsiteY0" fmla="*/ 3535937 h 3535937"/>
              <a:gd name="connsiteX1" fmla="*/ 2613757 w 17268220"/>
              <a:gd name="connsiteY1" fmla="*/ 6120 h 3535937"/>
              <a:gd name="connsiteX2" fmla="*/ 5454040 w 17268220"/>
              <a:gd name="connsiteY2" fmla="*/ 2627345 h 3535937"/>
              <a:gd name="connsiteX3" fmla="*/ 9134873 w 17268220"/>
              <a:gd name="connsiteY3" fmla="*/ 391131 h 3535937"/>
              <a:gd name="connsiteX4" fmla="*/ 10458346 w 17268220"/>
              <a:gd name="connsiteY4" fmla="*/ 920520 h 3535937"/>
              <a:gd name="connsiteX5" fmla="*/ 13249673 w 17268220"/>
              <a:gd name="connsiteY5" fmla="*/ 1762731 h 3535937"/>
              <a:gd name="connsiteX6" fmla="*/ 16161315 w 17268220"/>
              <a:gd name="connsiteY6" fmla="*/ 1546162 h 3535937"/>
              <a:gd name="connsiteX7" fmla="*/ 17268220 w 17268220"/>
              <a:gd name="connsiteY7" fmla="*/ 270815 h 3535937"/>
              <a:gd name="connsiteX0" fmla="*/ 0 w 17268220"/>
              <a:gd name="connsiteY0" fmla="*/ 4129212 h 4129212"/>
              <a:gd name="connsiteX1" fmla="*/ 2613757 w 17268220"/>
              <a:gd name="connsiteY1" fmla="*/ 599395 h 4129212"/>
              <a:gd name="connsiteX2" fmla="*/ 5454040 w 17268220"/>
              <a:gd name="connsiteY2" fmla="*/ 3220620 h 4129212"/>
              <a:gd name="connsiteX3" fmla="*/ 9402887 w 17268220"/>
              <a:gd name="connsiteY3" fmla="*/ 38475 h 4129212"/>
              <a:gd name="connsiteX4" fmla="*/ 10458346 w 17268220"/>
              <a:gd name="connsiteY4" fmla="*/ 1513795 h 4129212"/>
              <a:gd name="connsiteX5" fmla="*/ 13249673 w 17268220"/>
              <a:gd name="connsiteY5" fmla="*/ 2356006 h 4129212"/>
              <a:gd name="connsiteX6" fmla="*/ 16161315 w 17268220"/>
              <a:gd name="connsiteY6" fmla="*/ 2139437 h 4129212"/>
              <a:gd name="connsiteX7" fmla="*/ 17268220 w 17268220"/>
              <a:gd name="connsiteY7" fmla="*/ 864090 h 4129212"/>
              <a:gd name="connsiteX0" fmla="*/ 0 w 17268220"/>
              <a:gd name="connsiteY0" fmla="*/ 4097433 h 4097433"/>
              <a:gd name="connsiteX1" fmla="*/ 2613757 w 17268220"/>
              <a:gd name="connsiteY1" fmla="*/ 567616 h 4097433"/>
              <a:gd name="connsiteX2" fmla="*/ 5454040 w 17268220"/>
              <a:gd name="connsiteY2" fmla="*/ 3188841 h 4097433"/>
              <a:gd name="connsiteX3" fmla="*/ 9402887 w 17268220"/>
              <a:gd name="connsiteY3" fmla="*/ 6696 h 4097433"/>
              <a:gd name="connsiteX4" fmla="*/ 11057436 w 17268220"/>
              <a:gd name="connsiteY4" fmla="*/ 2349120 h 4097433"/>
              <a:gd name="connsiteX5" fmla="*/ 13249673 w 17268220"/>
              <a:gd name="connsiteY5" fmla="*/ 2324227 h 4097433"/>
              <a:gd name="connsiteX6" fmla="*/ 16161315 w 17268220"/>
              <a:gd name="connsiteY6" fmla="*/ 2107658 h 4097433"/>
              <a:gd name="connsiteX7" fmla="*/ 17268220 w 17268220"/>
              <a:gd name="connsiteY7" fmla="*/ 832311 h 4097433"/>
              <a:gd name="connsiteX0" fmla="*/ 0 w 17268220"/>
              <a:gd name="connsiteY0" fmla="*/ 4098379 h 4098379"/>
              <a:gd name="connsiteX1" fmla="*/ 2613757 w 17268220"/>
              <a:gd name="connsiteY1" fmla="*/ 568562 h 4098379"/>
              <a:gd name="connsiteX2" fmla="*/ 5454040 w 17268220"/>
              <a:gd name="connsiteY2" fmla="*/ 3189787 h 4098379"/>
              <a:gd name="connsiteX3" fmla="*/ 9402887 w 17268220"/>
              <a:gd name="connsiteY3" fmla="*/ 7642 h 4098379"/>
              <a:gd name="connsiteX4" fmla="*/ 11057436 w 17268220"/>
              <a:gd name="connsiteY4" fmla="*/ 2350066 h 4098379"/>
              <a:gd name="connsiteX5" fmla="*/ 14195604 w 17268220"/>
              <a:gd name="connsiteY5" fmla="*/ 3980552 h 4098379"/>
              <a:gd name="connsiteX6" fmla="*/ 16161315 w 17268220"/>
              <a:gd name="connsiteY6" fmla="*/ 2108604 h 4098379"/>
              <a:gd name="connsiteX7" fmla="*/ 17268220 w 17268220"/>
              <a:gd name="connsiteY7" fmla="*/ 833257 h 4098379"/>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6161315 w 18009199"/>
              <a:gd name="connsiteY6" fmla="*/ 2221278 h 4211053"/>
              <a:gd name="connsiteX7" fmla="*/ 18009199 w 18009199"/>
              <a:gd name="connsiteY7" fmla="*/ 0 h 4211053"/>
              <a:gd name="connsiteX0" fmla="*/ 0 w 18009199"/>
              <a:gd name="connsiteY0" fmla="*/ 4211053 h 4211053"/>
              <a:gd name="connsiteX1" fmla="*/ 2613757 w 18009199"/>
              <a:gd name="connsiteY1" fmla="*/ 681236 h 4211053"/>
              <a:gd name="connsiteX2" fmla="*/ 5454040 w 18009199"/>
              <a:gd name="connsiteY2" fmla="*/ 3302461 h 4211053"/>
              <a:gd name="connsiteX3" fmla="*/ 9402887 w 18009199"/>
              <a:gd name="connsiteY3" fmla="*/ 120316 h 4211053"/>
              <a:gd name="connsiteX4" fmla="*/ 11057436 w 18009199"/>
              <a:gd name="connsiteY4" fmla="*/ 2462740 h 4211053"/>
              <a:gd name="connsiteX5" fmla="*/ 14195604 w 18009199"/>
              <a:gd name="connsiteY5" fmla="*/ 4093226 h 4211053"/>
              <a:gd name="connsiteX6" fmla="*/ 15782943 w 18009199"/>
              <a:gd name="connsiteY6" fmla="*/ 1858671 h 4211053"/>
              <a:gd name="connsiteX7" fmla="*/ 18009199 w 18009199"/>
              <a:gd name="connsiteY7" fmla="*/ 0 h 4211053"/>
              <a:gd name="connsiteX0" fmla="*/ 0 w 18009199"/>
              <a:gd name="connsiteY0" fmla="*/ 4211053 h 4211124"/>
              <a:gd name="connsiteX1" fmla="*/ 2613757 w 18009199"/>
              <a:gd name="connsiteY1" fmla="*/ 681236 h 4211124"/>
              <a:gd name="connsiteX2" fmla="*/ 5454040 w 18009199"/>
              <a:gd name="connsiteY2" fmla="*/ 3302461 h 4211124"/>
              <a:gd name="connsiteX3" fmla="*/ 9402887 w 18009199"/>
              <a:gd name="connsiteY3" fmla="*/ 120316 h 4211124"/>
              <a:gd name="connsiteX4" fmla="*/ 11057436 w 18009199"/>
              <a:gd name="connsiteY4" fmla="*/ 2462740 h 4211124"/>
              <a:gd name="connsiteX5" fmla="*/ 14195604 w 18009199"/>
              <a:gd name="connsiteY5" fmla="*/ 4093226 h 4211124"/>
              <a:gd name="connsiteX6" fmla="*/ 15782943 w 18009199"/>
              <a:gd name="connsiteY6" fmla="*/ 1858671 h 4211124"/>
              <a:gd name="connsiteX7" fmla="*/ 18009199 w 18009199"/>
              <a:gd name="connsiteY7" fmla="*/ 0 h 4211124"/>
              <a:gd name="connsiteX0" fmla="*/ 0 w 18009414"/>
              <a:gd name="connsiteY0" fmla="*/ 4211056 h 4211127"/>
              <a:gd name="connsiteX1" fmla="*/ 2613757 w 18009414"/>
              <a:gd name="connsiteY1" fmla="*/ 681239 h 4211127"/>
              <a:gd name="connsiteX2" fmla="*/ 5454040 w 18009414"/>
              <a:gd name="connsiteY2" fmla="*/ 3302464 h 4211127"/>
              <a:gd name="connsiteX3" fmla="*/ 9402887 w 18009414"/>
              <a:gd name="connsiteY3" fmla="*/ 120319 h 4211127"/>
              <a:gd name="connsiteX4" fmla="*/ 11057436 w 18009414"/>
              <a:gd name="connsiteY4" fmla="*/ 2462743 h 4211127"/>
              <a:gd name="connsiteX5" fmla="*/ 14195604 w 18009414"/>
              <a:gd name="connsiteY5" fmla="*/ 4093229 h 4211127"/>
              <a:gd name="connsiteX6" fmla="*/ 15782943 w 18009414"/>
              <a:gd name="connsiteY6" fmla="*/ 1858674 h 4211127"/>
              <a:gd name="connsiteX7" fmla="*/ 18009199 w 18009414"/>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057436 w 18009451"/>
              <a:gd name="connsiteY4" fmla="*/ 24627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1"/>
              <a:gd name="connsiteY0" fmla="*/ 4211056 h 4211127"/>
              <a:gd name="connsiteX1" fmla="*/ 2613757 w 18009451"/>
              <a:gd name="connsiteY1" fmla="*/ 681239 h 4211127"/>
              <a:gd name="connsiteX2" fmla="*/ 5454040 w 18009451"/>
              <a:gd name="connsiteY2" fmla="*/ 3302464 h 4211127"/>
              <a:gd name="connsiteX3" fmla="*/ 9402887 w 18009451"/>
              <a:gd name="connsiteY3" fmla="*/ 120319 h 4211127"/>
              <a:gd name="connsiteX4" fmla="*/ 11293919 w 18009451"/>
              <a:gd name="connsiteY4" fmla="*/ 2919943 h 4211127"/>
              <a:gd name="connsiteX5" fmla="*/ 14195604 w 18009451"/>
              <a:gd name="connsiteY5" fmla="*/ 4093229 h 4211127"/>
              <a:gd name="connsiteX6" fmla="*/ 16019426 w 18009451"/>
              <a:gd name="connsiteY6" fmla="*/ 2016329 h 4211127"/>
              <a:gd name="connsiteX7" fmla="*/ 18009199 w 18009451"/>
              <a:gd name="connsiteY7" fmla="*/ 3 h 4211127"/>
              <a:gd name="connsiteX0" fmla="*/ 0 w 18009456"/>
              <a:gd name="connsiteY0" fmla="*/ 4211056 h 4424833"/>
              <a:gd name="connsiteX1" fmla="*/ 2613757 w 18009456"/>
              <a:gd name="connsiteY1" fmla="*/ 681239 h 4424833"/>
              <a:gd name="connsiteX2" fmla="*/ 5454040 w 18009456"/>
              <a:gd name="connsiteY2" fmla="*/ 3302464 h 4424833"/>
              <a:gd name="connsiteX3" fmla="*/ 9402887 w 18009456"/>
              <a:gd name="connsiteY3" fmla="*/ 120319 h 4424833"/>
              <a:gd name="connsiteX4" fmla="*/ 11293919 w 18009456"/>
              <a:gd name="connsiteY4" fmla="*/ 2919943 h 4424833"/>
              <a:gd name="connsiteX5" fmla="*/ 14037948 w 18009456"/>
              <a:gd name="connsiteY5" fmla="*/ 4408539 h 4424833"/>
              <a:gd name="connsiteX6" fmla="*/ 16019426 w 18009456"/>
              <a:gd name="connsiteY6" fmla="*/ 2016329 h 4424833"/>
              <a:gd name="connsiteX7" fmla="*/ 18009199 w 18009456"/>
              <a:gd name="connsiteY7" fmla="*/ 3 h 4424833"/>
              <a:gd name="connsiteX0" fmla="*/ 0 w 18356297"/>
              <a:gd name="connsiteY0" fmla="*/ 4242587 h 4424833"/>
              <a:gd name="connsiteX1" fmla="*/ 2960598 w 18356297"/>
              <a:gd name="connsiteY1" fmla="*/ 681239 h 4424833"/>
              <a:gd name="connsiteX2" fmla="*/ 5800881 w 18356297"/>
              <a:gd name="connsiteY2" fmla="*/ 3302464 h 4424833"/>
              <a:gd name="connsiteX3" fmla="*/ 9749728 w 18356297"/>
              <a:gd name="connsiteY3" fmla="*/ 120319 h 4424833"/>
              <a:gd name="connsiteX4" fmla="*/ 11640760 w 18356297"/>
              <a:gd name="connsiteY4" fmla="*/ 2919943 h 4424833"/>
              <a:gd name="connsiteX5" fmla="*/ 14384789 w 18356297"/>
              <a:gd name="connsiteY5" fmla="*/ 4408539 h 4424833"/>
              <a:gd name="connsiteX6" fmla="*/ 16366267 w 18356297"/>
              <a:gd name="connsiteY6" fmla="*/ 2016329 h 4424833"/>
              <a:gd name="connsiteX7" fmla="*/ 18356040 w 18356297"/>
              <a:gd name="connsiteY7" fmla="*/ 3 h 4424833"/>
              <a:gd name="connsiteX0" fmla="*/ 0 w 18356297"/>
              <a:gd name="connsiteY0" fmla="*/ 4242587 h 4435715"/>
              <a:gd name="connsiteX1" fmla="*/ 2960598 w 18356297"/>
              <a:gd name="connsiteY1" fmla="*/ 681239 h 4435715"/>
              <a:gd name="connsiteX2" fmla="*/ 5800881 w 18356297"/>
              <a:gd name="connsiteY2" fmla="*/ 3302464 h 4435715"/>
              <a:gd name="connsiteX3" fmla="*/ 9749728 w 18356297"/>
              <a:gd name="connsiteY3" fmla="*/ 120319 h 4435715"/>
              <a:gd name="connsiteX4" fmla="*/ 11230857 w 18356297"/>
              <a:gd name="connsiteY4" fmla="*/ 3109130 h 4435715"/>
              <a:gd name="connsiteX5" fmla="*/ 14384789 w 18356297"/>
              <a:gd name="connsiteY5" fmla="*/ 4408539 h 4435715"/>
              <a:gd name="connsiteX6" fmla="*/ 16366267 w 18356297"/>
              <a:gd name="connsiteY6" fmla="*/ 2016329 h 4435715"/>
              <a:gd name="connsiteX7" fmla="*/ 18356040 w 18356297"/>
              <a:gd name="connsiteY7" fmla="*/ 3 h 4435715"/>
              <a:gd name="connsiteX0" fmla="*/ 0 w 18356292"/>
              <a:gd name="connsiteY0" fmla="*/ 4242587 h 4242658"/>
              <a:gd name="connsiteX1" fmla="*/ 2960598 w 18356292"/>
              <a:gd name="connsiteY1" fmla="*/ 681239 h 4242658"/>
              <a:gd name="connsiteX2" fmla="*/ 5800881 w 18356292"/>
              <a:gd name="connsiteY2" fmla="*/ 3302464 h 4242658"/>
              <a:gd name="connsiteX3" fmla="*/ 9749728 w 18356292"/>
              <a:gd name="connsiteY3" fmla="*/ 120319 h 4242658"/>
              <a:gd name="connsiteX4" fmla="*/ 11230857 w 18356292"/>
              <a:gd name="connsiteY4" fmla="*/ 3109130 h 4242658"/>
              <a:gd name="connsiteX5" fmla="*/ 14526679 w 18356292"/>
              <a:gd name="connsiteY5" fmla="*/ 4030167 h 4242658"/>
              <a:gd name="connsiteX6" fmla="*/ 16366267 w 18356292"/>
              <a:gd name="connsiteY6" fmla="*/ 2016329 h 4242658"/>
              <a:gd name="connsiteX7" fmla="*/ 18356040 w 18356292"/>
              <a:gd name="connsiteY7" fmla="*/ 3 h 4242658"/>
              <a:gd name="connsiteX0" fmla="*/ 0 w 18356231"/>
              <a:gd name="connsiteY0" fmla="*/ 4242590 h 4242661"/>
              <a:gd name="connsiteX1" fmla="*/ 2960598 w 18356231"/>
              <a:gd name="connsiteY1" fmla="*/ 681242 h 4242661"/>
              <a:gd name="connsiteX2" fmla="*/ 5800881 w 18356231"/>
              <a:gd name="connsiteY2" fmla="*/ 3302467 h 4242661"/>
              <a:gd name="connsiteX3" fmla="*/ 9749728 w 18356231"/>
              <a:gd name="connsiteY3" fmla="*/ 120322 h 4242661"/>
              <a:gd name="connsiteX4" fmla="*/ 11230857 w 18356231"/>
              <a:gd name="connsiteY4" fmla="*/ 3109133 h 4242661"/>
              <a:gd name="connsiteX5" fmla="*/ 14526679 w 18356231"/>
              <a:gd name="connsiteY5" fmla="*/ 4030170 h 4242661"/>
              <a:gd name="connsiteX6" fmla="*/ 15924833 w 18356231"/>
              <a:gd name="connsiteY6" fmla="*/ 1259588 h 4242661"/>
              <a:gd name="connsiteX7" fmla="*/ 18356040 w 18356231"/>
              <a:gd name="connsiteY7" fmla="*/ 6 h 424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56231" h="4242661">
                <a:moveTo>
                  <a:pt x="0" y="4242590"/>
                </a:moveTo>
                <a:cubicBezTo>
                  <a:pt x="10476" y="4260673"/>
                  <a:pt x="1993785" y="837929"/>
                  <a:pt x="2960598" y="681242"/>
                </a:cubicBezTo>
                <a:cubicBezTo>
                  <a:pt x="3927411" y="524555"/>
                  <a:pt x="4669359" y="3395954"/>
                  <a:pt x="5800881" y="3302467"/>
                </a:cubicBezTo>
                <a:cubicBezTo>
                  <a:pt x="6932403" y="3208980"/>
                  <a:pt x="8844732" y="152544"/>
                  <a:pt x="9749728" y="120322"/>
                </a:cubicBezTo>
                <a:cubicBezTo>
                  <a:pt x="10654724" y="88100"/>
                  <a:pt x="10434699" y="2457492"/>
                  <a:pt x="11230857" y="3109133"/>
                </a:cubicBezTo>
                <a:cubicBezTo>
                  <a:pt x="12027015" y="3760774"/>
                  <a:pt x="13744350" y="4338428"/>
                  <a:pt x="14526679" y="4030170"/>
                </a:cubicBezTo>
                <a:cubicBezTo>
                  <a:pt x="15309008" y="3721913"/>
                  <a:pt x="15286606" y="1931282"/>
                  <a:pt x="15924833" y="1259588"/>
                </a:cubicBezTo>
                <a:cubicBezTo>
                  <a:pt x="16563060" y="587894"/>
                  <a:pt x="18377683" y="-2311"/>
                  <a:pt x="18356040" y="6"/>
                </a:cubicBezTo>
              </a:path>
            </a:pathLst>
          </a:cu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8" name="Oval 11">
            <a:extLst>
              <a:ext uri="{FF2B5EF4-FFF2-40B4-BE49-F238E27FC236}">
                <a16:creationId xmlns:a16="http://schemas.microsoft.com/office/drawing/2014/main" id="{D5FA50B8-01F1-0E45-03E1-30AC948C65C5}"/>
              </a:ext>
            </a:extLst>
          </p:cNvPr>
          <p:cNvSpPr/>
          <p:nvPr/>
        </p:nvSpPr>
        <p:spPr>
          <a:xfrm>
            <a:off x="2000593" y="4549466"/>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29" name="Oval 37">
            <a:extLst>
              <a:ext uri="{FF2B5EF4-FFF2-40B4-BE49-F238E27FC236}">
                <a16:creationId xmlns:a16="http://schemas.microsoft.com/office/drawing/2014/main" id="{FC6DD6F7-DEB6-6683-C3CE-1B1EC76CE89F}"/>
              </a:ext>
            </a:extLst>
          </p:cNvPr>
          <p:cNvSpPr/>
          <p:nvPr/>
        </p:nvSpPr>
        <p:spPr>
          <a:xfrm>
            <a:off x="2682140" y="3570072"/>
            <a:ext cx="217079" cy="217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0" name="Oval 38">
            <a:extLst>
              <a:ext uri="{FF2B5EF4-FFF2-40B4-BE49-F238E27FC236}">
                <a16:creationId xmlns:a16="http://schemas.microsoft.com/office/drawing/2014/main" id="{6C08BDFE-C7E0-2134-6E8E-9C7CFEDC6D80}"/>
              </a:ext>
            </a:extLst>
          </p:cNvPr>
          <p:cNvSpPr/>
          <p:nvPr/>
        </p:nvSpPr>
        <p:spPr>
          <a:xfrm>
            <a:off x="3836053" y="3698611"/>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1" name="Oval 39">
            <a:extLst>
              <a:ext uri="{FF2B5EF4-FFF2-40B4-BE49-F238E27FC236}">
                <a16:creationId xmlns:a16="http://schemas.microsoft.com/office/drawing/2014/main" id="{952784A1-8052-F28A-0E69-BEA108518D5E}"/>
              </a:ext>
            </a:extLst>
          </p:cNvPr>
          <p:cNvSpPr/>
          <p:nvPr/>
        </p:nvSpPr>
        <p:spPr>
          <a:xfrm>
            <a:off x="4308975" y="4270398"/>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2" name="Oval 40">
            <a:extLst>
              <a:ext uri="{FF2B5EF4-FFF2-40B4-BE49-F238E27FC236}">
                <a16:creationId xmlns:a16="http://schemas.microsoft.com/office/drawing/2014/main" id="{253998B5-ECFF-0900-05F2-9E9833724B80}"/>
              </a:ext>
            </a:extLst>
          </p:cNvPr>
          <p:cNvSpPr/>
          <p:nvPr/>
        </p:nvSpPr>
        <p:spPr>
          <a:xfrm>
            <a:off x="4961935" y="41101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3" name="Oval 41">
            <a:extLst>
              <a:ext uri="{FF2B5EF4-FFF2-40B4-BE49-F238E27FC236}">
                <a16:creationId xmlns:a16="http://schemas.microsoft.com/office/drawing/2014/main" id="{15C994AB-523F-DF31-5E68-751DAB824101}"/>
              </a:ext>
            </a:extLst>
          </p:cNvPr>
          <p:cNvSpPr/>
          <p:nvPr/>
        </p:nvSpPr>
        <p:spPr>
          <a:xfrm>
            <a:off x="5678941" y="3365572"/>
            <a:ext cx="217079" cy="2170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4" name="Oval 42">
            <a:extLst>
              <a:ext uri="{FF2B5EF4-FFF2-40B4-BE49-F238E27FC236}">
                <a16:creationId xmlns:a16="http://schemas.microsoft.com/office/drawing/2014/main" id="{4F3DAFEC-D54E-8029-3A61-6063B59BBB6F}"/>
              </a:ext>
            </a:extLst>
          </p:cNvPr>
          <p:cNvSpPr/>
          <p:nvPr/>
        </p:nvSpPr>
        <p:spPr>
          <a:xfrm>
            <a:off x="6416186" y="2911182"/>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5" name="Oval 43">
            <a:extLst>
              <a:ext uri="{FF2B5EF4-FFF2-40B4-BE49-F238E27FC236}">
                <a16:creationId xmlns:a16="http://schemas.microsoft.com/office/drawing/2014/main" id="{F40DFF75-5E4B-9EE2-555F-9384099190F1}"/>
              </a:ext>
            </a:extLst>
          </p:cNvPr>
          <p:cNvSpPr/>
          <p:nvPr/>
        </p:nvSpPr>
        <p:spPr>
          <a:xfrm>
            <a:off x="6800343" y="3944893"/>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6" name="Oval 44">
            <a:extLst>
              <a:ext uri="{FF2B5EF4-FFF2-40B4-BE49-F238E27FC236}">
                <a16:creationId xmlns:a16="http://schemas.microsoft.com/office/drawing/2014/main" id="{DAE8FB78-122D-97D7-CED0-8DB0A19AB46E}"/>
              </a:ext>
            </a:extLst>
          </p:cNvPr>
          <p:cNvSpPr/>
          <p:nvPr/>
        </p:nvSpPr>
        <p:spPr>
          <a:xfrm>
            <a:off x="7353524" y="4445727"/>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7" name="Oval 45">
            <a:extLst>
              <a:ext uri="{FF2B5EF4-FFF2-40B4-BE49-F238E27FC236}">
                <a16:creationId xmlns:a16="http://schemas.microsoft.com/office/drawing/2014/main" id="{7C213711-5513-C266-8E37-9630D2A8CDCD}"/>
              </a:ext>
            </a:extLst>
          </p:cNvPr>
          <p:cNvSpPr/>
          <p:nvPr/>
        </p:nvSpPr>
        <p:spPr>
          <a:xfrm>
            <a:off x="8150535" y="4718478"/>
            <a:ext cx="217079" cy="217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8" name="Oval 46">
            <a:extLst>
              <a:ext uri="{FF2B5EF4-FFF2-40B4-BE49-F238E27FC236}">
                <a16:creationId xmlns:a16="http://schemas.microsoft.com/office/drawing/2014/main" id="{D7D33721-82D7-696C-6024-639434C163D6}"/>
              </a:ext>
            </a:extLst>
          </p:cNvPr>
          <p:cNvSpPr/>
          <p:nvPr/>
        </p:nvSpPr>
        <p:spPr>
          <a:xfrm>
            <a:off x="8725053" y="4396296"/>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39" name="Oval 47">
            <a:extLst>
              <a:ext uri="{FF2B5EF4-FFF2-40B4-BE49-F238E27FC236}">
                <a16:creationId xmlns:a16="http://schemas.microsoft.com/office/drawing/2014/main" id="{FF5551D3-A2C3-66DA-4D5A-C8F04F584400}"/>
              </a:ext>
            </a:extLst>
          </p:cNvPr>
          <p:cNvSpPr/>
          <p:nvPr/>
        </p:nvSpPr>
        <p:spPr>
          <a:xfrm>
            <a:off x="9078978" y="3486292"/>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0" name="Oval 48">
            <a:extLst>
              <a:ext uri="{FF2B5EF4-FFF2-40B4-BE49-F238E27FC236}">
                <a16:creationId xmlns:a16="http://schemas.microsoft.com/office/drawing/2014/main" id="{C0387DFC-3CBA-F6F3-E7F5-555500EA92C3}"/>
              </a:ext>
            </a:extLst>
          </p:cNvPr>
          <p:cNvSpPr/>
          <p:nvPr/>
        </p:nvSpPr>
        <p:spPr>
          <a:xfrm>
            <a:off x="10104959" y="2911181"/>
            <a:ext cx="217079" cy="21707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p:txBody>
      </p:sp>
      <p:sp>
        <p:nvSpPr>
          <p:cNvPr id="41" name="Subtitle 2">
            <a:extLst>
              <a:ext uri="{FF2B5EF4-FFF2-40B4-BE49-F238E27FC236}">
                <a16:creationId xmlns:a16="http://schemas.microsoft.com/office/drawing/2014/main" id="{088FF1D5-A06E-FD98-AD4A-06709F05141C}"/>
              </a:ext>
            </a:extLst>
          </p:cNvPr>
          <p:cNvSpPr txBox="1">
            <a:spLocks/>
          </p:cNvSpPr>
          <p:nvPr/>
        </p:nvSpPr>
        <p:spPr>
          <a:xfrm>
            <a:off x="2267699" y="455797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2" name="Subtitle 2">
            <a:extLst>
              <a:ext uri="{FF2B5EF4-FFF2-40B4-BE49-F238E27FC236}">
                <a16:creationId xmlns:a16="http://schemas.microsoft.com/office/drawing/2014/main" id="{0E93C13D-74C3-0074-C5A8-1F3D918C3E88}"/>
              </a:ext>
            </a:extLst>
          </p:cNvPr>
          <p:cNvSpPr txBox="1">
            <a:spLocks/>
          </p:cNvSpPr>
          <p:nvPr/>
        </p:nvSpPr>
        <p:spPr>
          <a:xfrm>
            <a:off x="4092507" y="370712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3" name="Subtitle 2">
            <a:extLst>
              <a:ext uri="{FF2B5EF4-FFF2-40B4-BE49-F238E27FC236}">
                <a16:creationId xmlns:a16="http://schemas.microsoft.com/office/drawing/2014/main" id="{C45F3EC9-7B8E-AE4C-D94E-B00F0222B521}"/>
              </a:ext>
            </a:extLst>
          </p:cNvPr>
          <p:cNvSpPr txBox="1">
            <a:spLocks/>
          </p:cNvSpPr>
          <p:nvPr/>
        </p:nvSpPr>
        <p:spPr>
          <a:xfrm>
            <a:off x="5250004" y="4118684"/>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4" name="Subtitle 2">
            <a:extLst>
              <a:ext uri="{FF2B5EF4-FFF2-40B4-BE49-F238E27FC236}">
                <a16:creationId xmlns:a16="http://schemas.microsoft.com/office/drawing/2014/main" id="{A91DBA1D-C4A6-9E1E-6D06-CF4C28539B87}"/>
              </a:ext>
            </a:extLst>
          </p:cNvPr>
          <p:cNvSpPr txBox="1">
            <a:spLocks/>
          </p:cNvSpPr>
          <p:nvPr/>
        </p:nvSpPr>
        <p:spPr>
          <a:xfrm>
            <a:off x="6704102" y="2919008"/>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5" name="Subtitle 2">
            <a:extLst>
              <a:ext uri="{FF2B5EF4-FFF2-40B4-BE49-F238E27FC236}">
                <a16:creationId xmlns:a16="http://schemas.microsoft.com/office/drawing/2014/main" id="{7EAA1CA2-0D5A-0A4B-5F8E-D399D25C5432}"/>
              </a:ext>
            </a:extLst>
          </p:cNvPr>
          <p:cNvSpPr txBox="1">
            <a:spLocks/>
          </p:cNvSpPr>
          <p:nvPr/>
        </p:nvSpPr>
        <p:spPr>
          <a:xfrm>
            <a:off x="7088558" y="3943870"/>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6" name="Subtitle 2">
            <a:extLst>
              <a:ext uri="{FF2B5EF4-FFF2-40B4-BE49-F238E27FC236}">
                <a16:creationId xmlns:a16="http://schemas.microsoft.com/office/drawing/2014/main" id="{A5A1FFEC-AB18-FA40-5040-2539A081E6D0}"/>
              </a:ext>
            </a:extLst>
          </p:cNvPr>
          <p:cNvSpPr txBox="1">
            <a:spLocks/>
          </p:cNvSpPr>
          <p:nvPr/>
        </p:nvSpPr>
        <p:spPr>
          <a:xfrm>
            <a:off x="9043716" y="4419929"/>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7" name="Subtitle 2">
            <a:extLst>
              <a:ext uri="{FF2B5EF4-FFF2-40B4-BE49-F238E27FC236}">
                <a16:creationId xmlns:a16="http://schemas.microsoft.com/office/drawing/2014/main" id="{8C75027A-066B-F948-F94A-A827B7CCD0B5}"/>
              </a:ext>
            </a:extLst>
          </p:cNvPr>
          <p:cNvSpPr txBox="1">
            <a:spLocks/>
          </p:cNvSpPr>
          <p:nvPr/>
        </p:nvSpPr>
        <p:spPr>
          <a:xfrm>
            <a:off x="9373995" y="3499203"/>
            <a:ext cx="807272"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8" name="Subtitle 2">
            <a:extLst>
              <a:ext uri="{FF2B5EF4-FFF2-40B4-BE49-F238E27FC236}">
                <a16:creationId xmlns:a16="http://schemas.microsoft.com/office/drawing/2014/main" id="{1C7C0139-BDEF-EAAF-DAF5-7253E39E1157}"/>
              </a:ext>
            </a:extLst>
          </p:cNvPr>
          <p:cNvSpPr txBox="1">
            <a:spLocks/>
          </p:cNvSpPr>
          <p:nvPr/>
        </p:nvSpPr>
        <p:spPr>
          <a:xfrm>
            <a:off x="1793089" y="3578584"/>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49" name="Subtitle 2">
            <a:extLst>
              <a:ext uri="{FF2B5EF4-FFF2-40B4-BE49-F238E27FC236}">
                <a16:creationId xmlns:a16="http://schemas.microsoft.com/office/drawing/2014/main" id="{08AF87D0-EC9C-E291-A91B-4F2E8EE84859}"/>
              </a:ext>
            </a:extLst>
          </p:cNvPr>
          <p:cNvSpPr txBox="1">
            <a:spLocks/>
          </p:cNvSpPr>
          <p:nvPr/>
        </p:nvSpPr>
        <p:spPr>
          <a:xfrm>
            <a:off x="3418310" y="428976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0" name="Subtitle 2">
            <a:extLst>
              <a:ext uri="{FF2B5EF4-FFF2-40B4-BE49-F238E27FC236}">
                <a16:creationId xmlns:a16="http://schemas.microsoft.com/office/drawing/2014/main" id="{425B1833-6E2C-5E7C-009B-21ED30F9CAC8}"/>
              </a:ext>
            </a:extLst>
          </p:cNvPr>
          <p:cNvSpPr txBox="1">
            <a:spLocks/>
          </p:cNvSpPr>
          <p:nvPr/>
        </p:nvSpPr>
        <p:spPr>
          <a:xfrm>
            <a:off x="4818216" y="3385633"/>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1" name="Subtitle 2">
            <a:extLst>
              <a:ext uri="{FF2B5EF4-FFF2-40B4-BE49-F238E27FC236}">
                <a16:creationId xmlns:a16="http://schemas.microsoft.com/office/drawing/2014/main" id="{68A2DBA3-B9B3-F3F9-6927-9A5D263F9F96}"/>
              </a:ext>
            </a:extLst>
          </p:cNvPr>
          <p:cNvSpPr txBox="1">
            <a:spLocks/>
          </p:cNvSpPr>
          <p:nvPr/>
        </p:nvSpPr>
        <p:spPr>
          <a:xfrm>
            <a:off x="6444667" y="4458600"/>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2" name="Subtitle 2">
            <a:extLst>
              <a:ext uri="{FF2B5EF4-FFF2-40B4-BE49-F238E27FC236}">
                <a16:creationId xmlns:a16="http://schemas.microsoft.com/office/drawing/2014/main" id="{D5531B9D-93E1-8627-87A5-E48C46A5EDC1}"/>
              </a:ext>
            </a:extLst>
          </p:cNvPr>
          <p:cNvSpPr txBox="1">
            <a:spLocks/>
          </p:cNvSpPr>
          <p:nvPr/>
        </p:nvSpPr>
        <p:spPr>
          <a:xfrm>
            <a:off x="7290230" y="4742986"/>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3" name="Subtitle 2">
            <a:extLst>
              <a:ext uri="{FF2B5EF4-FFF2-40B4-BE49-F238E27FC236}">
                <a16:creationId xmlns:a16="http://schemas.microsoft.com/office/drawing/2014/main" id="{A6E99A7C-97ED-F9FF-0928-89D275E1CB7E}"/>
              </a:ext>
            </a:extLst>
          </p:cNvPr>
          <p:cNvSpPr txBox="1">
            <a:spLocks/>
          </p:cNvSpPr>
          <p:nvPr/>
        </p:nvSpPr>
        <p:spPr>
          <a:xfrm>
            <a:off x="9250306" y="2931037"/>
            <a:ext cx="807273" cy="200055"/>
          </a:xfrm>
          <a:prstGeom prst="rect">
            <a:avLst/>
          </a:prstGeom>
        </p:spPr>
        <p:txBody>
          <a:bodyPr vert="horz" wrap="non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US" sz="1000" dirty="0">
                <a:latin typeface="+mn-lt"/>
                <a:ea typeface="Lato Light" panose="020F0502020204030203" pitchFamily="34" charset="0"/>
                <a:cs typeface="Mukta ExtraLight" panose="020B0000000000000000" pitchFamily="34" charset="77"/>
              </a:rPr>
              <a:t>Touchpoint</a:t>
            </a:r>
          </a:p>
        </p:txBody>
      </p:sp>
      <p:sp>
        <p:nvSpPr>
          <p:cNvPr id="54" name="Footer Placeholder 53">
            <a:extLst>
              <a:ext uri="{FF2B5EF4-FFF2-40B4-BE49-F238E27FC236}">
                <a16:creationId xmlns:a16="http://schemas.microsoft.com/office/drawing/2014/main" id="{3F54A4E1-1F4B-9D8A-C51A-96203706CD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881944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6F67D94E-DEBE-DCAD-1742-BBE462D05B1D}"/>
              </a:ext>
            </a:extLst>
          </p:cNvPr>
          <p:cNvGraphicFramePr>
            <a:graphicFrameLocks noChangeAspect="1"/>
          </p:cNvGraphicFramePr>
          <p:nvPr>
            <p:custDataLst>
              <p:tags r:id="rId1"/>
            </p:custDataLst>
            <p:extLst>
              <p:ext uri="{D42A27DB-BD31-4B8C-83A1-F6EECF244321}">
                <p14:modId xmlns:p14="http://schemas.microsoft.com/office/powerpoint/2010/main" val="342925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0" name="Objeto 29" hidden="1">
                        <a:extLst>
                          <a:ext uri="{FF2B5EF4-FFF2-40B4-BE49-F238E27FC236}">
                            <a16:creationId xmlns:a16="http://schemas.microsoft.com/office/drawing/2014/main" id="{6F67D94E-DEBE-DCAD-1742-BBE462D05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5" name="Rectangle 5">
            <a:extLst>
              <a:ext uri="{FF2B5EF4-FFF2-40B4-BE49-F238E27FC236}">
                <a16:creationId xmlns:a16="http://schemas.microsoft.com/office/drawing/2014/main" id="{0F4E7C7C-CA8E-17CB-C066-B85EC5B4510E}"/>
              </a:ext>
            </a:extLst>
          </p:cNvPr>
          <p:cNvSpPr/>
          <p:nvPr/>
        </p:nvSpPr>
        <p:spPr>
          <a:xfrm>
            <a:off x="371475" y="3771900"/>
            <a:ext cx="11449050" cy="2536824"/>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33" name="Marcador de texto 32">
            <a:extLst>
              <a:ext uri="{FF2B5EF4-FFF2-40B4-BE49-F238E27FC236}">
                <a16:creationId xmlns:a16="http://schemas.microsoft.com/office/drawing/2014/main" id="{1571731C-7884-3FF4-03DA-666EC4B9E02B}"/>
              </a:ext>
            </a:extLst>
          </p:cNvPr>
          <p:cNvSpPr>
            <a:spLocks noGrp="1"/>
          </p:cNvSpPr>
          <p:nvPr>
            <p:ph type="body" sz="quarter" idx="14"/>
          </p:nvPr>
        </p:nvSpPr>
        <p:spPr/>
        <p:txBody>
          <a:bodyPr/>
          <a:lstStyle/>
          <a:p>
            <a:r>
              <a:rPr lang="en-US" dirty="0"/>
              <a:t>Subtitle</a:t>
            </a:r>
          </a:p>
        </p:txBody>
      </p:sp>
      <p:sp>
        <p:nvSpPr>
          <p:cNvPr id="4" name="Freeform 63">
            <a:extLst>
              <a:ext uri="{FF2B5EF4-FFF2-40B4-BE49-F238E27FC236}">
                <a16:creationId xmlns:a16="http://schemas.microsoft.com/office/drawing/2014/main" id="{836B7A35-6954-5496-4D43-994E9A507710}"/>
              </a:ext>
            </a:extLst>
          </p:cNvPr>
          <p:cNvSpPr>
            <a:spLocks noChangeArrowheads="1"/>
          </p:cNvSpPr>
          <p:nvPr/>
        </p:nvSpPr>
        <p:spPr bwMode="auto">
          <a:xfrm>
            <a:off x="1742761"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70 w 3050"/>
              <a:gd name="T13" fmla="*/ 1525 h 3727"/>
              <a:gd name="T14" fmla="*/ 2470 w 3050"/>
              <a:gd name="T15" fmla="*/ 1525 h 3727"/>
              <a:gd name="T16" fmla="*/ 1525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2 w 3050"/>
              <a:gd name="T43" fmla="*/ 2992 h 3727"/>
              <a:gd name="T44" fmla="*/ 1112 w 3050"/>
              <a:gd name="T45" fmla="*/ 2992 h 3727"/>
              <a:gd name="T46" fmla="*/ 1042 w 3050"/>
              <a:gd name="T47" fmla="*/ 3242 h 3727"/>
              <a:gd name="T48" fmla="*/ 1042 w 3050"/>
              <a:gd name="T49" fmla="*/ 3242 h 3727"/>
              <a:gd name="T50" fmla="*/ 1525 w 3050"/>
              <a:gd name="T51" fmla="*/ 3726 h 3727"/>
              <a:gd name="T52" fmla="*/ 1525 w 3050"/>
              <a:gd name="T53" fmla="*/ 3726 h 3727"/>
              <a:gd name="T54" fmla="*/ 2009 w 3050"/>
              <a:gd name="T55" fmla="*/ 3242 h 3727"/>
              <a:gd name="T56" fmla="*/ 2009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49" y="1525"/>
                </a:moveTo>
                <a:lnTo>
                  <a:pt x="3049" y="1525"/>
                </a:lnTo>
                <a:cubicBezTo>
                  <a:pt x="3049" y="1118"/>
                  <a:pt x="2891" y="735"/>
                  <a:pt x="2603" y="447"/>
                </a:cubicBezTo>
                <a:lnTo>
                  <a:pt x="2603" y="447"/>
                </a:lnTo>
                <a:cubicBezTo>
                  <a:pt x="2315" y="159"/>
                  <a:pt x="1932"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2" y="2992"/>
                </a:cubicBezTo>
                <a:lnTo>
                  <a:pt x="1112" y="2992"/>
                </a:lnTo>
                <a:cubicBezTo>
                  <a:pt x="1067" y="3065"/>
                  <a:pt x="1042" y="3151"/>
                  <a:pt x="1042" y="3242"/>
                </a:cubicBezTo>
                <a:lnTo>
                  <a:pt x="1042" y="3242"/>
                </a:lnTo>
                <a:cubicBezTo>
                  <a:pt x="1042" y="3509"/>
                  <a:pt x="1258" y="3726"/>
                  <a:pt x="1525" y="3726"/>
                </a:cubicBezTo>
                <a:lnTo>
                  <a:pt x="1525" y="3726"/>
                </a:lnTo>
                <a:cubicBezTo>
                  <a:pt x="1792" y="3726"/>
                  <a:pt x="2009" y="3509"/>
                  <a:pt x="2009" y="3242"/>
                </a:cubicBezTo>
                <a:lnTo>
                  <a:pt x="2009" y="3242"/>
                </a:lnTo>
                <a:cubicBezTo>
                  <a:pt x="2009" y="3151"/>
                  <a:pt x="1984" y="3065"/>
                  <a:pt x="1939" y="2992"/>
                </a:cubicBezTo>
                <a:lnTo>
                  <a:pt x="1939" y="2992"/>
                </a:lnTo>
                <a:cubicBezTo>
                  <a:pt x="2188" y="2922"/>
                  <a:pt x="2416" y="2790"/>
                  <a:pt x="2603" y="2602"/>
                </a:cubicBezTo>
                <a:lnTo>
                  <a:pt x="2603" y="2602"/>
                </a:lnTo>
                <a:cubicBezTo>
                  <a:pt x="2891" y="2315"/>
                  <a:pt x="3049" y="1932"/>
                  <a:pt x="3049" y="1525"/>
                </a:cubicBezTo>
                <a:close/>
              </a:path>
            </a:pathLst>
          </a:custGeom>
          <a:solidFill>
            <a:schemeClr val="accent1">
              <a:alpha val="90000"/>
            </a:schemeClr>
          </a:solidFill>
          <a:ln>
            <a:noFill/>
          </a:ln>
          <a:effectLst/>
        </p:spPr>
        <p:txBody>
          <a:bodyPr wrap="none" anchor="ctr"/>
          <a:lstStyle/>
          <a:p>
            <a:endParaRPr lang="en-US" dirty="0">
              <a:latin typeface="Poppins" pitchFamily="2" charset="77"/>
            </a:endParaRPr>
          </a:p>
        </p:txBody>
      </p:sp>
      <p:sp>
        <p:nvSpPr>
          <p:cNvPr id="5" name="Freeform 64">
            <a:extLst>
              <a:ext uri="{FF2B5EF4-FFF2-40B4-BE49-F238E27FC236}">
                <a16:creationId xmlns:a16="http://schemas.microsoft.com/office/drawing/2014/main" id="{39056DED-1697-E4CE-80DA-686B3BE51525}"/>
              </a:ext>
            </a:extLst>
          </p:cNvPr>
          <p:cNvSpPr>
            <a:spLocks noChangeArrowheads="1"/>
          </p:cNvSpPr>
          <p:nvPr/>
        </p:nvSpPr>
        <p:spPr bwMode="auto">
          <a:xfrm>
            <a:off x="3445605"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5" y="580"/>
                  <a:pt x="2469" y="1004"/>
                  <a:pt x="2469" y="1525"/>
                </a:cubicBezTo>
                <a:lnTo>
                  <a:pt x="2469" y="1525"/>
                </a:lnTo>
                <a:cubicBezTo>
                  <a:pt x="2469" y="2046"/>
                  <a:pt x="2045"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4" y="159"/>
                  <a:pt x="447" y="447"/>
                </a:cubicBezTo>
                <a:lnTo>
                  <a:pt x="447" y="447"/>
                </a:lnTo>
                <a:cubicBezTo>
                  <a:pt x="159" y="735"/>
                  <a:pt x="0" y="1118"/>
                  <a:pt x="0" y="1525"/>
                </a:cubicBezTo>
                <a:lnTo>
                  <a:pt x="0" y="1525"/>
                </a:lnTo>
                <a:cubicBezTo>
                  <a:pt x="0" y="1932"/>
                  <a:pt x="159" y="2315"/>
                  <a:pt x="447" y="2602"/>
                </a:cubicBezTo>
                <a:lnTo>
                  <a:pt x="447" y="2602"/>
                </a:lnTo>
                <a:cubicBezTo>
                  <a:pt x="634" y="2790"/>
                  <a:pt x="862" y="2922"/>
                  <a:pt x="1111" y="2992"/>
                </a:cubicBezTo>
                <a:lnTo>
                  <a:pt x="1111"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8" y="2992"/>
                </a:cubicBezTo>
                <a:lnTo>
                  <a:pt x="1938" y="2992"/>
                </a:lnTo>
                <a:cubicBezTo>
                  <a:pt x="2187" y="2922"/>
                  <a:pt x="2415" y="2790"/>
                  <a:pt x="2603" y="2602"/>
                </a:cubicBezTo>
                <a:lnTo>
                  <a:pt x="2603" y="2602"/>
                </a:lnTo>
                <a:cubicBezTo>
                  <a:pt x="2891" y="2315"/>
                  <a:pt x="3049" y="1932"/>
                  <a:pt x="3049" y="1525"/>
                </a:cubicBezTo>
                <a:close/>
              </a:path>
            </a:pathLst>
          </a:custGeom>
          <a:solidFill>
            <a:schemeClr val="tx2"/>
          </a:solidFill>
          <a:ln>
            <a:noFill/>
          </a:ln>
          <a:effectLst/>
        </p:spPr>
        <p:txBody>
          <a:bodyPr wrap="none" anchor="ctr"/>
          <a:lstStyle/>
          <a:p>
            <a:endParaRPr lang="en-US" dirty="0">
              <a:latin typeface="Poppins" pitchFamily="2" charset="77"/>
            </a:endParaRPr>
          </a:p>
        </p:txBody>
      </p:sp>
      <p:sp>
        <p:nvSpPr>
          <p:cNvPr id="6" name="Freeform 65">
            <a:extLst>
              <a:ext uri="{FF2B5EF4-FFF2-40B4-BE49-F238E27FC236}">
                <a16:creationId xmlns:a16="http://schemas.microsoft.com/office/drawing/2014/main" id="{930B316A-D766-607B-2D18-57C647EA37C2}"/>
              </a:ext>
            </a:extLst>
          </p:cNvPr>
          <p:cNvSpPr>
            <a:spLocks noChangeArrowheads="1"/>
          </p:cNvSpPr>
          <p:nvPr/>
        </p:nvSpPr>
        <p:spPr bwMode="auto">
          <a:xfrm>
            <a:off x="5148449" y="1710732"/>
            <a:ext cx="1900594" cy="2320812"/>
          </a:xfrm>
          <a:custGeom>
            <a:avLst/>
            <a:gdLst>
              <a:gd name="T0" fmla="*/ 1525 w 3050"/>
              <a:gd name="T1" fmla="*/ 2470 h 3727"/>
              <a:gd name="T2" fmla="*/ 1525 w 3050"/>
              <a:gd name="T3" fmla="*/ 2470 h 3727"/>
              <a:gd name="T4" fmla="*/ 581 w 3050"/>
              <a:gd name="T5" fmla="*/ 1525 h 3727"/>
              <a:gd name="T6" fmla="*/ 581 w 3050"/>
              <a:gd name="T7" fmla="*/ 1525 h 3727"/>
              <a:gd name="T8" fmla="*/ 1525 w 3050"/>
              <a:gd name="T9" fmla="*/ 580 h 3727"/>
              <a:gd name="T10" fmla="*/ 1525 w 3050"/>
              <a:gd name="T11" fmla="*/ 580 h 3727"/>
              <a:gd name="T12" fmla="*/ 2469 w 3050"/>
              <a:gd name="T13" fmla="*/ 1525 h 3727"/>
              <a:gd name="T14" fmla="*/ 2469 w 3050"/>
              <a:gd name="T15" fmla="*/ 1525 h 3727"/>
              <a:gd name="T16" fmla="*/ 1525 w 3050"/>
              <a:gd name="T17" fmla="*/ 2470 h 3727"/>
              <a:gd name="T18" fmla="*/ 3049 w 3050"/>
              <a:gd name="T19" fmla="*/ 1525 h 3727"/>
              <a:gd name="T20" fmla="*/ 3049 w 3050"/>
              <a:gd name="T21" fmla="*/ 1525 h 3727"/>
              <a:gd name="T22" fmla="*/ 2602 w 3050"/>
              <a:gd name="T23" fmla="*/ 447 h 3727"/>
              <a:gd name="T24" fmla="*/ 2602 w 3050"/>
              <a:gd name="T25" fmla="*/ 447 h 3727"/>
              <a:gd name="T26" fmla="*/ 1525 w 3050"/>
              <a:gd name="T27" fmla="*/ 0 h 3727"/>
              <a:gd name="T28" fmla="*/ 1525 w 3050"/>
              <a:gd name="T29" fmla="*/ 0 h 3727"/>
              <a:gd name="T30" fmla="*/ 447 w 3050"/>
              <a:gd name="T31" fmla="*/ 447 h 3727"/>
              <a:gd name="T32" fmla="*/ 447 w 3050"/>
              <a:gd name="T33" fmla="*/ 447 h 3727"/>
              <a:gd name="T34" fmla="*/ 0 w 3050"/>
              <a:gd name="T35" fmla="*/ 1525 h 3727"/>
              <a:gd name="T36" fmla="*/ 0 w 3050"/>
              <a:gd name="T37" fmla="*/ 1525 h 3727"/>
              <a:gd name="T38" fmla="*/ 447 w 3050"/>
              <a:gd name="T39" fmla="*/ 2602 h 3727"/>
              <a:gd name="T40" fmla="*/ 447 w 3050"/>
              <a:gd name="T41" fmla="*/ 2602 h 3727"/>
              <a:gd name="T42" fmla="*/ 1111 w 3050"/>
              <a:gd name="T43" fmla="*/ 2992 h 3727"/>
              <a:gd name="T44" fmla="*/ 1111 w 3050"/>
              <a:gd name="T45" fmla="*/ 2992 h 3727"/>
              <a:gd name="T46" fmla="*/ 1041 w 3050"/>
              <a:gd name="T47" fmla="*/ 3242 h 3727"/>
              <a:gd name="T48" fmla="*/ 1041 w 3050"/>
              <a:gd name="T49" fmla="*/ 3242 h 3727"/>
              <a:gd name="T50" fmla="*/ 1525 w 3050"/>
              <a:gd name="T51" fmla="*/ 3726 h 3727"/>
              <a:gd name="T52" fmla="*/ 1525 w 3050"/>
              <a:gd name="T53" fmla="*/ 3726 h 3727"/>
              <a:gd name="T54" fmla="*/ 2008 w 3050"/>
              <a:gd name="T55" fmla="*/ 3242 h 3727"/>
              <a:gd name="T56" fmla="*/ 2008 w 3050"/>
              <a:gd name="T57" fmla="*/ 3242 h 3727"/>
              <a:gd name="T58" fmla="*/ 1938 w 3050"/>
              <a:gd name="T59" fmla="*/ 2992 h 3727"/>
              <a:gd name="T60" fmla="*/ 1938 w 3050"/>
              <a:gd name="T61" fmla="*/ 2992 h 3727"/>
              <a:gd name="T62" fmla="*/ 2602 w 3050"/>
              <a:gd name="T63" fmla="*/ 2602 h 3727"/>
              <a:gd name="T64" fmla="*/ 2602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5" y="580"/>
                  <a:pt x="2469" y="1004"/>
                  <a:pt x="2469" y="1525"/>
                </a:cubicBezTo>
                <a:lnTo>
                  <a:pt x="2469" y="1525"/>
                </a:lnTo>
                <a:cubicBezTo>
                  <a:pt x="2469" y="2046"/>
                  <a:pt x="2045" y="2470"/>
                  <a:pt x="1525" y="2470"/>
                </a:cubicBezTo>
                <a:close/>
                <a:moveTo>
                  <a:pt x="3049" y="1525"/>
                </a:moveTo>
                <a:lnTo>
                  <a:pt x="3049" y="1525"/>
                </a:lnTo>
                <a:cubicBezTo>
                  <a:pt x="3049" y="1118"/>
                  <a:pt x="2890" y="735"/>
                  <a:pt x="2602" y="447"/>
                </a:cubicBezTo>
                <a:lnTo>
                  <a:pt x="2602" y="447"/>
                </a:lnTo>
                <a:cubicBezTo>
                  <a:pt x="2314" y="159"/>
                  <a:pt x="1931"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1" y="3726"/>
                  <a:pt x="2008" y="3509"/>
                  <a:pt x="2008" y="3242"/>
                </a:cubicBezTo>
                <a:lnTo>
                  <a:pt x="2008" y="3242"/>
                </a:lnTo>
                <a:cubicBezTo>
                  <a:pt x="2008" y="3151"/>
                  <a:pt x="1983" y="3065"/>
                  <a:pt x="1938" y="2992"/>
                </a:cubicBezTo>
                <a:lnTo>
                  <a:pt x="1938" y="2992"/>
                </a:lnTo>
                <a:cubicBezTo>
                  <a:pt x="2187" y="2922"/>
                  <a:pt x="2414" y="2790"/>
                  <a:pt x="2602" y="2602"/>
                </a:cubicBezTo>
                <a:lnTo>
                  <a:pt x="2602" y="2602"/>
                </a:lnTo>
                <a:cubicBezTo>
                  <a:pt x="2890" y="2315"/>
                  <a:pt x="3049" y="1932"/>
                  <a:pt x="3049" y="1525"/>
                </a:cubicBezTo>
                <a:close/>
              </a:path>
            </a:pathLst>
          </a:custGeom>
          <a:solidFill>
            <a:schemeClr val="accent2"/>
          </a:solidFill>
          <a:ln>
            <a:noFill/>
          </a:ln>
          <a:effectLst/>
        </p:spPr>
        <p:txBody>
          <a:bodyPr wrap="none" anchor="ctr"/>
          <a:lstStyle/>
          <a:p>
            <a:endParaRPr lang="en-US" dirty="0">
              <a:latin typeface="Poppins" pitchFamily="2" charset="77"/>
            </a:endParaRPr>
          </a:p>
        </p:txBody>
      </p:sp>
      <p:sp>
        <p:nvSpPr>
          <p:cNvPr id="7" name="Freeform 66">
            <a:extLst>
              <a:ext uri="{FF2B5EF4-FFF2-40B4-BE49-F238E27FC236}">
                <a16:creationId xmlns:a16="http://schemas.microsoft.com/office/drawing/2014/main" id="{BFADAA0A-FDEB-CA47-E6CC-DFDA0EC3B354}"/>
              </a:ext>
            </a:extLst>
          </p:cNvPr>
          <p:cNvSpPr>
            <a:spLocks noChangeArrowheads="1"/>
          </p:cNvSpPr>
          <p:nvPr/>
        </p:nvSpPr>
        <p:spPr bwMode="auto">
          <a:xfrm>
            <a:off x="6851294" y="1710732"/>
            <a:ext cx="1900594" cy="2320812"/>
          </a:xfrm>
          <a:custGeom>
            <a:avLst/>
            <a:gdLst>
              <a:gd name="T0" fmla="*/ 1524 w 3050"/>
              <a:gd name="T1" fmla="*/ 2470 h 3727"/>
              <a:gd name="T2" fmla="*/ 1524 w 3050"/>
              <a:gd name="T3" fmla="*/ 2470 h 3727"/>
              <a:gd name="T4" fmla="*/ 580 w 3050"/>
              <a:gd name="T5" fmla="*/ 1525 h 3727"/>
              <a:gd name="T6" fmla="*/ 580 w 3050"/>
              <a:gd name="T7" fmla="*/ 1525 h 3727"/>
              <a:gd name="T8" fmla="*/ 1524 w 3050"/>
              <a:gd name="T9" fmla="*/ 580 h 3727"/>
              <a:gd name="T10" fmla="*/ 1524 w 3050"/>
              <a:gd name="T11" fmla="*/ 580 h 3727"/>
              <a:gd name="T12" fmla="*/ 2469 w 3050"/>
              <a:gd name="T13" fmla="*/ 1525 h 3727"/>
              <a:gd name="T14" fmla="*/ 2469 w 3050"/>
              <a:gd name="T15" fmla="*/ 1525 h 3727"/>
              <a:gd name="T16" fmla="*/ 1524 w 3050"/>
              <a:gd name="T17" fmla="*/ 2470 h 3727"/>
              <a:gd name="T18" fmla="*/ 3049 w 3050"/>
              <a:gd name="T19" fmla="*/ 1525 h 3727"/>
              <a:gd name="T20" fmla="*/ 3049 w 3050"/>
              <a:gd name="T21" fmla="*/ 1525 h 3727"/>
              <a:gd name="T22" fmla="*/ 2603 w 3050"/>
              <a:gd name="T23" fmla="*/ 447 h 3727"/>
              <a:gd name="T24" fmla="*/ 2603 w 3050"/>
              <a:gd name="T25" fmla="*/ 447 h 3727"/>
              <a:gd name="T26" fmla="*/ 1524 w 3050"/>
              <a:gd name="T27" fmla="*/ 0 h 3727"/>
              <a:gd name="T28" fmla="*/ 1524 w 3050"/>
              <a:gd name="T29" fmla="*/ 0 h 3727"/>
              <a:gd name="T30" fmla="*/ 446 w 3050"/>
              <a:gd name="T31" fmla="*/ 447 h 3727"/>
              <a:gd name="T32" fmla="*/ 446 w 3050"/>
              <a:gd name="T33" fmla="*/ 447 h 3727"/>
              <a:gd name="T34" fmla="*/ 0 w 3050"/>
              <a:gd name="T35" fmla="*/ 1525 h 3727"/>
              <a:gd name="T36" fmla="*/ 0 w 3050"/>
              <a:gd name="T37" fmla="*/ 1525 h 3727"/>
              <a:gd name="T38" fmla="*/ 446 w 3050"/>
              <a:gd name="T39" fmla="*/ 2602 h 3727"/>
              <a:gd name="T40" fmla="*/ 446 w 3050"/>
              <a:gd name="T41" fmla="*/ 2602 h 3727"/>
              <a:gd name="T42" fmla="*/ 1110 w 3050"/>
              <a:gd name="T43" fmla="*/ 2992 h 3727"/>
              <a:gd name="T44" fmla="*/ 1110 w 3050"/>
              <a:gd name="T45" fmla="*/ 2992 h 3727"/>
              <a:gd name="T46" fmla="*/ 1041 w 3050"/>
              <a:gd name="T47" fmla="*/ 3242 h 3727"/>
              <a:gd name="T48" fmla="*/ 1041 w 3050"/>
              <a:gd name="T49" fmla="*/ 3242 h 3727"/>
              <a:gd name="T50" fmla="*/ 1524 w 3050"/>
              <a:gd name="T51" fmla="*/ 3726 h 3727"/>
              <a:gd name="T52" fmla="*/ 1524 w 3050"/>
              <a:gd name="T53" fmla="*/ 3726 h 3727"/>
              <a:gd name="T54" fmla="*/ 2008 w 3050"/>
              <a:gd name="T55" fmla="*/ 3242 h 3727"/>
              <a:gd name="T56" fmla="*/ 2008 w 3050"/>
              <a:gd name="T57" fmla="*/ 3242 h 3727"/>
              <a:gd name="T58" fmla="*/ 1939 w 3050"/>
              <a:gd name="T59" fmla="*/ 2992 h 3727"/>
              <a:gd name="T60" fmla="*/ 1939 w 3050"/>
              <a:gd name="T61" fmla="*/ 2992 h 3727"/>
              <a:gd name="T62" fmla="*/ 2603 w 3050"/>
              <a:gd name="T63" fmla="*/ 2602 h 3727"/>
              <a:gd name="T64" fmla="*/ 2603 w 3050"/>
              <a:gd name="T65" fmla="*/ 2602 h 3727"/>
              <a:gd name="T66" fmla="*/ 3049 w 3050"/>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0" h="3727">
                <a:moveTo>
                  <a:pt x="1524" y="2470"/>
                </a:moveTo>
                <a:lnTo>
                  <a:pt x="1524" y="2470"/>
                </a:lnTo>
                <a:cubicBezTo>
                  <a:pt x="1004" y="2470"/>
                  <a:pt x="580" y="2046"/>
                  <a:pt x="580" y="1525"/>
                </a:cubicBezTo>
                <a:lnTo>
                  <a:pt x="580" y="1525"/>
                </a:lnTo>
                <a:cubicBezTo>
                  <a:pt x="580" y="1004"/>
                  <a:pt x="1004" y="580"/>
                  <a:pt x="1524" y="580"/>
                </a:cubicBezTo>
                <a:lnTo>
                  <a:pt x="1524" y="580"/>
                </a:lnTo>
                <a:cubicBezTo>
                  <a:pt x="2046" y="580"/>
                  <a:pt x="2469" y="1004"/>
                  <a:pt x="2469" y="1525"/>
                </a:cubicBezTo>
                <a:lnTo>
                  <a:pt x="2469" y="1525"/>
                </a:lnTo>
                <a:cubicBezTo>
                  <a:pt x="2469" y="2046"/>
                  <a:pt x="2046" y="2470"/>
                  <a:pt x="1524" y="2470"/>
                </a:cubicBezTo>
                <a:close/>
                <a:moveTo>
                  <a:pt x="3049" y="1525"/>
                </a:moveTo>
                <a:lnTo>
                  <a:pt x="3049" y="1525"/>
                </a:lnTo>
                <a:cubicBezTo>
                  <a:pt x="3049" y="1118"/>
                  <a:pt x="2891" y="735"/>
                  <a:pt x="2603" y="447"/>
                </a:cubicBezTo>
                <a:lnTo>
                  <a:pt x="2603" y="447"/>
                </a:lnTo>
                <a:cubicBezTo>
                  <a:pt x="2315" y="159"/>
                  <a:pt x="1932" y="0"/>
                  <a:pt x="1524" y="0"/>
                </a:cubicBezTo>
                <a:lnTo>
                  <a:pt x="1524" y="0"/>
                </a:lnTo>
                <a:cubicBezTo>
                  <a:pt x="1117" y="0"/>
                  <a:pt x="735" y="159"/>
                  <a:pt x="446" y="447"/>
                </a:cubicBezTo>
                <a:lnTo>
                  <a:pt x="446" y="447"/>
                </a:lnTo>
                <a:cubicBezTo>
                  <a:pt x="159" y="735"/>
                  <a:pt x="0" y="1118"/>
                  <a:pt x="0" y="1525"/>
                </a:cubicBezTo>
                <a:lnTo>
                  <a:pt x="0" y="1525"/>
                </a:lnTo>
                <a:cubicBezTo>
                  <a:pt x="0" y="1932"/>
                  <a:pt x="159" y="2315"/>
                  <a:pt x="446" y="2602"/>
                </a:cubicBezTo>
                <a:lnTo>
                  <a:pt x="446" y="2602"/>
                </a:lnTo>
                <a:cubicBezTo>
                  <a:pt x="634" y="2790"/>
                  <a:pt x="862" y="2922"/>
                  <a:pt x="1110" y="2992"/>
                </a:cubicBezTo>
                <a:lnTo>
                  <a:pt x="1110" y="2992"/>
                </a:lnTo>
                <a:cubicBezTo>
                  <a:pt x="1066" y="3065"/>
                  <a:pt x="1041" y="3151"/>
                  <a:pt x="1041" y="3242"/>
                </a:cubicBezTo>
                <a:lnTo>
                  <a:pt x="1041" y="3242"/>
                </a:lnTo>
                <a:cubicBezTo>
                  <a:pt x="1041" y="3509"/>
                  <a:pt x="1258" y="3726"/>
                  <a:pt x="1524" y="3726"/>
                </a:cubicBezTo>
                <a:lnTo>
                  <a:pt x="1524" y="3726"/>
                </a:lnTo>
                <a:cubicBezTo>
                  <a:pt x="1792" y="3726"/>
                  <a:pt x="2008" y="3509"/>
                  <a:pt x="2008" y="3242"/>
                </a:cubicBezTo>
                <a:lnTo>
                  <a:pt x="2008" y="3242"/>
                </a:lnTo>
                <a:cubicBezTo>
                  <a:pt x="2008" y="3151"/>
                  <a:pt x="1983" y="3065"/>
                  <a:pt x="1939" y="2992"/>
                </a:cubicBezTo>
                <a:lnTo>
                  <a:pt x="1939" y="2992"/>
                </a:lnTo>
                <a:cubicBezTo>
                  <a:pt x="2188" y="2922"/>
                  <a:pt x="2415" y="2790"/>
                  <a:pt x="2603" y="2602"/>
                </a:cubicBezTo>
                <a:lnTo>
                  <a:pt x="2603" y="2602"/>
                </a:lnTo>
                <a:cubicBezTo>
                  <a:pt x="2891" y="2315"/>
                  <a:pt x="3049" y="1932"/>
                  <a:pt x="3049" y="1525"/>
                </a:cubicBezTo>
                <a:close/>
              </a:path>
            </a:pathLst>
          </a:custGeom>
          <a:solidFill>
            <a:schemeClr val="accent4">
              <a:alpha val="89859"/>
            </a:schemeClr>
          </a:solidFill>
          <a:ln>
            <a:noFill/>
          </a:ln>
          <a:effectLst/>
        </p:spPr>
        <p:txBody>
          <a:bodyPr wrap="none" anchor="ctr"/>
          <a:lstStyle/>
          <a:p>
            <a:endParaRPr lang="en-US" dirty="0">
              <a:latin typeface="Poppins" pitchFamily="2" charset="77"/>
            </a:endParaRPr>
          </a:p>
        </p:txBody>
      </p:sp>
      <p:sp>
        <p:nvSpPr>
          <p:cNvPr id="8" name="Freeform 67">
            <a:extLst>
              <a:ext uri="{FF2B5EF4-FFF2-40B4-BE49-F238E27FC236}">
                <a16:creationId xmlns:a16="http://schemas.microsoft.com/office/drawing/2014/main" id="{E5097408-0A1E-A19C-EC86-B8297469B7AF}"/>
              </a:ext>
            </a:extLst>
          </p:cNvPr>
          <p:cNvSpPr>
            <a:spLocks noChangeArrowheads="1"/>
          </p:cNvSpPr>
          <p:nvPr/>
        </p:nvSpPr>
        <p:spPr bwMode="auto">
          <a:xfrm>
            <a:off x="8556884" y="1710732"/>
            <a:ext cx="1900594" cy="2320812"/>
          </a:xfrm>
          <a:custGeom>
            <a:avLst/>
            <a:gdLst>
              <a:gd name="T0" fmla="*/ 1525 w 3051"/>
              <a:gd name="T1" fmla="*/ 2470 h 3727"/>
              <a:gd name="T2" fmla="*/ 1525 w 3051"/>
              <a:gd name="T3" fmla="*/ 2470 h 3727"/>
              <a:gd name="T4" fmla="*/ 581 w 3051"/>
              <a:gd name="T5" fmla="*/ 1525 h 3727"/>
              <a:gd name="T6" fmla="*/ 581 w 3051"/>
              <a:gd name="T7" fmla="*/ 1525 h 3727"/>
              <a:gd name="T8" fmla="*/ 1525 w 3051"/>
              <a:gd name="T9" fmla="*/ 580 h 3727"/>
              <a:gd name="T10" fmla="*/ 1525 w 3051"/>
              <a:gd name="T11" fmla="*/ 580 h 3727"/>
              <a:gd name="T12" fmla="*/ 2470 w 3051"/>
              <a:gd name="T13" fmla="*/ 1525 h 3727"/>
              <a:gd name="T14" fmla="*/ 2470 w 3051"/>
              <a:gd name="T15" fmla="*/ 1525 h 3727"/>
              <a:gd name="T16" fmla="*/ 1525 w 3051"/>
              <a:gd name="T17" fmla="*/ 2470 h 3727"/>
              <a:gd name="T18" fmla="*/ 3050 w 3051"/>
              <a:gd name="T19" fmla="*/ 1525 h 3727"/>
              <a:gd name="T20" fmla="*/ 3050 w 3051"/>
              <a:gd name="T21" fmla="*/ 1525 h 3727"/>
              <a:gd name="T22" fmla="*/ 2603 w 3051"/>
              <a:gd name="T23" fmla="*/ 447 h 3727"/>
              <a:gd name="T24" fmla="*/ 2603 w 3051"/>
              <a:gd name="T25" fmla="*/ 447 h 3727"/>
              <a:gd name="T26" fmla="*/ 1525 w 3051"/>
              <a:gd name="T27" fmla="*/ 0 h 3727"/>
              <a:gd name="T28" fmla="*/ 1525 w 3051"/>
              <a:gd name="T29" fmla="*/ 0 h 3727"/>
              <a:gd name="T30" fmla="*/ 447 w 3051"/>
              <a:gd name="T31" fmla="*/ 447 h 3727"/>
              <a:gd name="T32" fmla="*/ 447 w 3051"/>
              <a:gd name="T33" fmla="*/ 447 h 3727"/>
              <a:gd name="T34" fmla="*/ 0 w 3051"/>
              <a:gd name="T35" fmla="*/ 1525 h 3727"/>
              <a:gd name="T36" fmla="*/ 0 w 3051"/>
              <a:gd name="T37" fmla="*/ 1525 h 3727"/>
              <a:gd name="T38" fmla="*/ 447 w 3051"/>
              <a:gd name="T39" fmla="*/ 2602 h 3727"/>
              <a:gd name="T40" fmla="*/ 447 w 3051"/>
              <a:gd name="T41" fmla="*/ 2602 h 3727"/>
              <a:gd name="T42" fmla="*/ 1111 w 3051"/>
              <a:gd name="T43" fmla="*/ 2992 h 3727"/>
              <a:gd name="T44" fmla="*/ 1111 w 3051"/>
              <a:gd name="T45" fmla="*/ 2992 h 3727"/>
              <a:gd name="T46" fmla="*/ 1041 w 3051"/>
              <a:gd name="T47" fmla="*/ 3242 h 3727"/>
              <a:gd name="T48" fmla="*/ 1041 w 3051"/>
              <a:gd name="T49" fmla="*/ 3242 h 3727"/>
              <a:gd name="T50" fmla="*/ 1525 w 3051"/>
              <a:gd name="T51" fmla="*/ 3726 h 3727"/>
              <a:gd name="T52" fmla="*/ 1525 w 3051"/>
              <a:gd name="T53" fmla="*/ 3726 h 3727"/>
              <a:gd name="T54" fmla="*/ 2009 w 3051"/>
              <a:gd name="T55" fmla="*/ 3242 h 3727"/>
              <a:gd name="T56" fmla="*/ 2009 w 3051"/>
              <a:gd name="T57" fmla="*/ 3242 h 3727"/>
              <a:gd name="T58" fmla="*/ 1939 w 3051"/>
              <a:gd name="T59" fmla="*/ 2992 h 3727"/>
              <a:gd name="T60" fmla="*/ 1939 w 3051"/>
              <a:gd name="T61" fmla="*/ 2992 h 3727"/>
              <a:gd name="T62" fmla="*/ 2603 w 3051"/>
              <a:gd name="T63" fmla="*/ 2602 h 3727"/>
              <a:gd name="T64" fmla="*/ 2603 w 3051"/>
              <a:gd name="T65" fmla="*/ 2602 h 3727"/>
              <a:gd name="T66" fmla="*/ 3050 w 3051"/>
              <a:gd name="T67" fmla="*/ 1525 h 3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1" h="3727">
                <a:moveTo>
                  <a:pt x="1525" y="2470"/>
                </a:moveTo>
                <a:lnTo>
                  <a:pt x="1525" y="2470"/>
                </a:lnTo>
                <a:cubicBezTo>
                  <a:pt x="1004" y="2470"/>
                  <a:pt x="581" y="2046"/>
                  <a:pt x="581" y="1525"/>
                </a:cubicBezTo>
                <a:lnTo>
                  <a:pt x="581" y="1525"/>
                </a:lnTo>
                <a:cubicBezTo>
                  <a:pt x="581" y="1004"/>
                  <a:pt x="1004" y="580"/>
                  <a:pt x="1525" y="580"/>
                </a:cubicBezTo>
                <a:lnTo>
                  <a:pt x="1525" y="580"/>
                </a:lnTo>
                <a:cubicBezTo>
                  <a:pt x="2046" y="580"/>
                  <a:pt x="2470" y="1004"/>
                  <a:pt x="2470" y="1525"/>
                </a:cubicBezTo>
                <a:lnTo>
                  <a:pt x="2470" y="1525"/>
                </a:lnTo>
                <a:cubicBezTo>
                  <a:pt x="2470" y="2046"/>
                  <a:pt x="2046" y="2470"/>
                  <a:pt x="1525" y="2470"/>
                </a:cubicBezTo>
                <a:close/>
                <a:moveTo>
                  <a:pt x="3050" y="1525"/>
                </a:moveTo>
                <a:lnTo>
                  <a:pt x="3050" y="1525"/>
                </a:lnTo>
                <a:cubicBezTo>
                  <a:pt x="3050" y="1118"/>
                  <a:pt x="2891" y="735"/>
                  <a:pt x="2603" y="447"/>
                </a:cubicBezTo>
                <a:lnTo>
                  <a:pt x="2603" y="447"/>
                </a:lnTo>
                <a:cubicBezTo>
                  <a:pt x="2315" y="159"/>
                  <a:pt x="1933" y="0"/>
                  <a:pt x="1525" y="0"/>
                </a:cubicBezTo>
                <a:lnTo>
                  <a:pt x="1525" y="0"/>
                </a:lnTo>
                <a:cubicBezTo>
                  <a:pt x="1118" y="0"/>
                  <a:pt x="735" y="159"/>
                  <a:pt x="447" y="447"/>
                </a:cubicBezTo>
                <a:lnTo>
                  <a:pt x="447" y="447"/>
                </a:lnTo>
                <a:cubicBezTo>
                  <a:pt x="159" y="735"/>
                  <a:pt x="0" y="1118"/>
                  <a:pt x="0" y="1525"/>
                </a:cubicBezTo>
                <a:lnTo>
                  <a:pt x="0" y="1525"/>
                </a:lnTo>
                <a:cubicBezTo>
                  <a:pt x="0" y="1932"/>
                  <a:pt x="159" y="2315"/>
                  <a:pt x="447" y="2602"/>
                </a:cubicBezTo>
                <a:lnTo>
                  <a:pt x="447" y="2602"/>
                </a:lnTo>
                <a:cubicBezTo>
                  <a:pt x="635" y="2790"/>
                  <a:pt x="863" y="2922"/>
                  <a:pt x="1111" y="2992"/>
                </a:cubicBezTo>
                <a:lnTo>
                  <a:pt x="1111" y="2992"/>
                </a:lnTo>
                <a:cubicBezTo>
                  <a:pt x="1067" y="3065"/>
                  <a:pt x="1041" y="3151"/>
                  <a:pt x="1041" y="3242"/>
                </a:cubicBezTo>
                <a:lnTo>
                  <a:pt x="1041" y="3242"/>
                </a:lnTo>
                <a:cubicBezTo>
                  <a:pt x="1041" y="3509"/>
                  <a:pt x="1258" y="3726"/>
                  <a:pt x="1525" y="3726"/>
                </a:cubicBezTo>
                <a:lnTo>
                  <a:pt x="1525" y="3726"/>
                </a:lnTo>
                <a:cubicBezTo>
                  <a:pt x="1792" y="3726"/>
                  <a:pt x="2009" y="3509"/>
                  <a:pt x="2009" y="3242"/>
                </a:cubicBezTo>
                <a:lnTo>
                  <a:pt x="2009" y="3242"/>
                </a:lnTo>
                <a:cubicBezTo>
                  <a:pt x="2009" y="3151"/>
                  <a:pt x="1983" y="3065"/>
                  <a:pt x="1939" y="2992"/>
                </a:cubicBezTo>
                <a:lnTo>
                  <a:pt x="1939" y="2992"/>
                </a:lnTo>
                <a:cubicBezTo>
                  <a:pt x="2188" y="2922"/>
                  <a:pt x="2416" y="2790"/>
                  <a:pt x="2603" y="2602"/>
                </a:cubicBezTo>
                <a:lnTo>
                  <a:pt x="2603" y="2602"/>
                </a:lnTo>
                <a:cubicBezTo>
                  <a:pt x="2891" y="2315"/>
                  <a:pt x="3050" y="1932"/>
                  <a:pt x="3050" y="1525"/>
                </a:cubicBezTo>
                <a:close/>
              </a:path>
            </a:pathLst>
          </a:custGeom>
          <a:solidFill>
            <a:schemeClr val="accent3"/>
          </a:solidFill>
          <a:ln>
            <a:noFill/>
          </a:ln>
          <a:effectLst/>
        </p:spPr>
        <p:txBody>
          <a:bodyPr wrap="none" anchor="ctr"/>
          <a:lstStyle/>
          <a:p>
            <a:endParaRPr lang="en-US" dirty="0">
              <a:latin typeface="Poppins" pitchFamily="2" charset="77"/>
            </a:endParaRPr>
          </a:p>
        </p:txBody>
      </p:sp>
      <p:sp>
        <p:nvSpPr>
          <p:cNvPr id="9" name="Freeform 20">
            <a:extLst>
              <a:ext uri="{FF2B5EF4-FFF2-40B4-BE49-F238E27FC236}">
                <a16:creationId xmlns:a16="http://schemas.microsoft.com/office/drawing/2014/main" id="{AC9AC3B1-B6DF-A5A0-97C2-56E21B8B3592}"/>
              </a:ext>
            </a:extLst>
          </p:cNvPr>
          <p:cNvSpPr>
            <a:spLocks noChangeArrowheads="1"/>
          </p:cNvSpPr>
          <p:nvPr/>
        </p:nvSpPr>
        <p:spPr bwMode="auto">
          <a:xfrm>
            <a:off x="2364405" y="2363331"/>
            <a:ext cx="651199" cy="576580"/>
          </a:xfrm>
          <a:custGeom>
            <a:avLst/>
            <a:gdLst>
              <a:gd name="connsiteX0" fmla="*/ 913116 w 1302398"/>
              <a:gd name="connsiteY0" fmla="*/ 1012868 h 1153159"/>
              <a:gd name="connsiteX1" fmla="*/ 1191250 w 1302398"/>
              <a:gd name="connsiteY1" fmla="*/ 1012868 h 1153159"/>
              <a:gd name="connsiteX2" fmla="*/ 1301759 w 1302398"/>
              <a:gd name="connsiteY2" fmla="*/ 1132937 h 1153159"/>
              <a:gd name="connsiteX3" fmla="*/ 1290584 w 1302398"/>
              <a:gd name="connsiteY3" fmla="*/ 1151896 h 1153159"/>
              <a:gd name="connsiteX4" fmla="*/ 1286859 w 1302398"/>
              <a:gd name="connsiteY4" fmla="*/ 1153159 h 1153159"/>
              <a:gd name="connsiteX5" fmla="*/ 1270717 w 1302398"/>
              <a:gd name="connsiteY5" fmla="*/ 1140521 h 1153159"/>
              <a:gd name="connsiteX6" fmla="*/ 1191250 w 1302398"/>
              <a:gd name="connsiteY6" fmla="*/ 1044465 h 1153159"/>
              <a:gd name="connsiteX7" fmla="*/ 913116 w 1302398"/>
              <a:gd name="connsiteY7" fmla="*/ 1044465 h 1153159"/>
              <a:gd name="connsiteX8" fmla="*/ 832406 w 1302398"/>
              <a:gd name="connsiteY8" fmla="*/ 1140521 h 1153159"/>
              <a:gd name="connsiteX9" fmla="*/ 812539 w 1302398"/>
              <a:gd name="connsiteY9" fmla="*/ 1151896 h 1153159"/>
              <a:gd name="connsiteX10" fmla="*/ 801364 w 1302398"/>
              <a:gd name="connsiteY10" fmla="*/ 1132937 h 1153159"/>
              <a:gd name="connsiteX11" fmla="*/ 913116 w 1302398"/>
              <a:gd name="connsiteY11" fmla="*/ 1012868 h 1153159"/>
              <a:gd name="connsiteX12" fmla="*/ 112080 w 1302398"/>
              <a:gd name="connsiteY12" fmla="*/ 1012868 h 1153159"/>
              <a:gd name="connsiteX13" fmla="*/ 393799 w 1302398"/>
              <a:gd name="connsiteY13" fmla="*/ 1012868 h 1153159"/>
              <a:gd name="connsiteX14" fmla="*/ 505235 w 1302398"/>
              <a:gd name="connsiteY14" fmla="*/ 1132937 h 1153159"/>
              <a:gd name="connsiteX15" fmla="*/ 493966 w 1302398"/>
              <a:gd name="connsiteY15" fmla="*/ 1151896 h 1153159"/>
              <a:gd name="connsiteX16" fmla="*/ 488957 w 1302398"/>
              <a:gd name="connsiteY16" fmla="*/ 1153159 h 1153159"/>
              <a:gd name="connsiteX17" fmla="*/ 473932 w 1302398"/>
              <a:gd name="connsiteY17" fmla="*/ 1140521 h 1153159"/>
              <a:gd name="connsiteX18" fmla="*/ 393799 w 1302398"/>
              <a:gd name="connsiteY18" fmla="*/ 1044465 h 1153159"/>
              <a:gd name="connsiteX19" fmla="*/ 112080 w 1302398"/>
              <a:gd name="connsiteY19" fmla="*/ 1044465 h 1153159"/>
              <a:gd name="connsiteX20" fmla="*/ 31946 w 1302398"/>
              <a:gd name="connsiteY20" fmla="*/ 1140521 h 1153159"/>
              <a:gd name="connsiteX21" fmla="*/ 11913 w 1302398"/>
              <a:gd name="connsiteY21" fmla="*/ 1151896 h 1153159"/>
              <a:gd name="connsiteX22" fmla="*/ 644 w 1302398"/>
              <a:gd name="connsiteY22" fmla="*/ 1132937 h 1153159"/>
              <a:gd name="connsiteX23" fmla="*/ 112080 w 1302398"/>
              <a:gd name="connsiteY23" fmla="*/ 1012868 h 1153159"/>
              <a:gd name="connsiteX24" fmla="*/ 794022 w 1302398"/>
              <a:gd name="connsiteY24" fmla="*/ 892018 h 1153159"/>
              <a:gd name="connsiteX25" fmla="*/ 809891 w 1302398"/>
              <a:gd name="connsiteY25" fmla="*/ 909851 h 1153159"/>
              <a:gd name="connsiteX26" fmla="*/ 809891 w 1302398"/>
              <a:gd name="connsiteY26" fmla="*/ 960801 h 1153159"/>
              <a:gd name="connsiteX27" fmla="*/ 794022 w 1302398"/>
              <a:gd name="connsiteY27" fmla="*/ 978633 h 1153159"/>
              <a:gd name="connsiteX28" fmla="*/ 778153 w 1302398"/>
              <a:gd name="connsiteY28" fmla="*/ 960801 h 1153159"/>
              <a:gd name="connsiteX29" fmla="*/ 778153 w 1302398"/>
              <a:gd name="connsiteY29" fmla="*/ 909851 h 1153159"/>
              <a:gd name="connsiteX30" fmla="*/ 794022 w 1302398"/>
              <a:gd name="connsiteY30" fmla="*/ 892018 h 1153159"/>
              <a:gd name="connsiteX31" fmla="*/ 513875 w 1302398"/>
              <a:gd name="connsiteY31" fmla="*/ 892018 h 1153159"/>
              <a:gd name="connsiteX32" fmla="*/ 529744 w 1302398"/>
              <a:gd name="connsiteY32" fmla="*/ 909851 h 1153159"/>
              <a:gd name="connsiteX33" fmla="*/ 529744 w 1302398"/>
              <a:gd name="connsiteY33" fmla="*/ 960801 h 1153159"/>
              <a:gd name="connsiteX34" fmla="*/ 513875 w 1302398"/>
              <a:gd name="connsiteY34" fmla="*/ 978633 h 1153159"/>
              <a:gd name="connsiteX35" fmla="*/ 498006 w 1302398"/>
              <a:gd name="connsiteY35" fmla="*/ 960801 h 1153159"/>
              <a:gd name="connsiteX36" fmla="*/ 498006 w 1302398"/>
              <a:gd name="connsiteY36" fmla="*/ 909851 h 1153159"/>
              <a:gd name="connsiteX37" fmla="*/ 513875 w 1302398"/>
              <a:gd name="connsiteY37" fmla="*/ 892018 h 1153159"/>
              <a:gd name="connsiteX38" fmla="*/ 1053682 w 1302398"/>
              <a:gd name="connsiteY38" fmla="*/ 770644 h 1153159"/>
              <a:gd name="connsiteX39" fmla="*/ 958893 w 1302398"/>
              <a:gd name="connsiteY39" fmla="*/ 866680 h 1153159"/>
              <a:gd name="connsiteX40" fmla="*/ 1053682 w 1302398"/>
              <a:gd name="connsiteY40" fmla="*/ 962716 h 1153159"/>
              <a:gd name="connsiteX41" fmla="*/ 1149718 w 1302398"/>
              <a:gd name="connsiteY41" fmla="*/ 866680 h 1153159"/>
              <a:gd name="connsiteX42" fmla="*/ 1053682 w 1302398"/>
              <a:gd name="connsiteY42" fmla="*/ 770644 h 1153159"/>
              <a:gd name="connsiteX43" fmla="*/ 252942 w 1302398"/>
              <a:gd name="connsiteY43" fmla="*/ 770644 h 1153159"/>
              <a:gd name="connsiteX44" fmla="*/ 156906 w 1302398"/>
              <a:gd name="connsiteY44" fmla="*/ 866680 h 1153159"/>
              <a:gd name="connsiteX45" fmla="*/ 252942 w 1302398"/>
              <a:gd name="connsiteY45" fmla="*/ 962716 h 1153159"/>
              <a:gd name="connsiteX46" fmla="*/ 348978 w 1302398"/>
              <a:gd name="connsiteY46" fmla="*/ 866680 h 1153159"/>
              <a:gd name="connsiteX47" fmla="*/ 252942 w 1302398"/>
              <a:gd name="connsiteY47" fmla="*/ 770644 h 1153159"/>
              <a:gd name="connsiteX48" fmla="*/ 513234 w 1302398"/>
              <a:gd name="connsiteY48" fmla="*/ 754697 h 1153159"/>
              <a:gd name="connsiteX49" fmla="*/ 792880 w 1302398"/>
              <a:gd name="connsiteY49" fmla="*/ 754697 h 1153159"/>
              <a:gd name="connsiteX50" fmla="*/ 905238 w 1302398"/>
              <a:gd name="connsiteY50" fmla="*/ 872253 h 1153159"/>
              <a:gd name="connsiteX51" fmla="*/ 923964 w 1302398"/>
              <a:gd name="connsiteY51" fmla="*/ 957636 h 1153159"/>
              <a:gd name="connsiteX52" fmla="*/ 911480 w 1302398"/>
              <a:gd name="connsiteY52" fmla="*/ 976197 h 1153159"/>
              <a:gd name="connsiteX53" fmla="*/ 891506 w 1302398"/>
              <a:gd name="connsiteY53" fmla="*/ 963823 h 1153159"/>
              <a:gd name="connsiteX54" fmla="*/ 872779 w 1302398"/>
              <a:gd name="connsiteY54" fmla="*/ 879678 h 1153159"/>
              <a:gd name="connsiteX55" fmla="*/ 792880 w 1302398"/>
              <a:gd name="connsiteY55" fmla="*/ 786870 h 1153159"/>
              <a:gd name="connsiteX56" fmla="*/ 513234 w 1302398"/>
              <a:gd name="connsiteY56" fmla="*/ 786870 h 1153159"/>
              <a:gd name="connsiteX57" fmla="*/ 433336 w 1302398"/>
              <a:gd name="connsiteY57" fmla="*/ 880915 h 1153159"/>
              <a:gd name="connsiteX58" fmla="*/ 410864 w 1302398"/>
              <a:gd name="connsiteY58" fmla="*/ 965060 h 1153159"/>
              <a:gd name="connsiteX59" fmla="*/ 395883 w 1302398"/>
              <a:gd name="connsiteY59" fmla="*/ 977434 h 1153159"/>
              <a:gd name="connsiteX60" fmla="*/ 390889 w 1302398"/>
              <a:gd name="connsiteY60" fmla="*/ 976197 h 1153159"/>
              <a:gd name="connsiteX61" fmla="*/ 379654 w 1302398"/>
              <a:gd name="connsiteY61" fmla="*/ 956398 h 1153159"/>
              <a:gd name="connsiteX62" fmla="*/ 402125 w 1302398"/>
              <a:gd name="connsiteY62" fmla="*/ 872253 h 1153159"/>
              <a:gd name="connsiteX63" fmla="*/ 513234 w 1302398"/>
              <a:gd name="connsiteY63" fmla="*/ 754697 h 1153159"/>
              <a:gd name="connsiteX64" fmla="*/ 1053682 w 1302398"/>
              <a:gd name="connsiteY64" fmla="*/ 738216 h 1153159"/>
              <a:gd name="connsiteX65" fmla="*/ 1183393 w 1302398"/>
              <a:gd name="connsiteY65" fmla="*/ 866680 h 1153159"/>
              <a:gd name="connsiteX66" fmla="*/ 1053682 w 1302398"/>
              <a:gd name="connsiteY66" fmla="*/ 995144 h 1153159"/>
              <a:gd name="connsiteX67" fmla="*/ 926465 w 1302398"/>
              <a:gd name="connsiteY67" fmla="*/ 866680 h 1153159"/>
              <a:gd name="connsiteX68" fmla="*/ 1053682 w 1302398"/>
              <a:gd name="connsiteY68" fmla="*/ 738216 h 1153159"/>
              <a:gd name="connsiteX69" fmla="*/ 252942 w 1302398"/>
              <a:gd name="connsiteY69" fmla="*/ 738216 h 1153159"/>
              <a:gd name="connsiteX70" fmla="*/ 381406 w 1302398"/>
              <a:gd name="connsiteY70" fmla="*/ 866680 h 1153159"/>
              <a:gd name="connsiteX71" fmla="*/ 252942 w 1302398"/>
              <a:gd name="connsiteY71" fmla="*/ 995144 h 1153159"/>
              <a:gd name="connsiteX72" fmla="*/ 124478 w 1302398"/>
              <a:gd name="connsiteY72" fmla="*/ 866680 h 1153159"/>
              <a:gd name="connsiteX73" fmla="*/ 252942 w 1302398"/>
              <a:gd name="connsiteY73" fmla="*/ 738216 h 1153159"/>
              <a:gd name="connsiteX74" fmla="*/ 386396 w 1302398"/>
              <a:gd name="connsiteY74" fmla="*/ 614480 h 1153159"/>
              <a:gd name="connsiteX75" fmla="*/ 406371 w 1302398"/>
              <a:gd name="connsiteY75" fmla="*/ 626189 h 1153159"/>
              <a:gd name="connsiteX76" fmla="*/ 395135 w 1302398"/>
              <a:gd name="connsiteY76" fmla="*/ 647004 h 1153159"/>
              <a:gd name="connsiteX77" fmla="*/ 350192 w 1302398"/>
              <a:gd name="connsiteY77" fmla="*/ 660013 h 1153159"/>
              <a:gd name="connsiteX78" fmla="*/ 345198 w 1302398"/>
              <a:gd name="connsiteY78" fmla="*/ 660013 h 1153159"/>
              <a:gd name="connsiteX79" fmla="*/ 328969 w 1302398"/>
              <a:gd name="connsiteY79" fmla="*/ 648305 h 1153159"/>
              <a:gd name="connsiteX80" fmla="*/ 341453 w 1302398"/>
              <a:gd name="connsiteY80" fmla="*/ 627490 h 1153159"/>
              <a:gd name="connsiteX81" fmla="*/ 408206 w 1302398"/>
              <a:gd name="connsiteY81" fmla="*/ 570466 h 1153159"/>
              <a:gd name="connsiteX82" fmla="*/ 428316 w 1302398"/>
              <a:gd name="connsiteY82" fmla="*/ 581874 h 1153159"/>
              <a:gd name="connsiteX83" fmla="*/ 417004 w 1302398"/>
              <a:gd name="connsiteY83" fmla="*/ 602156 h 1153159"/>
              <a:gd name="connsiteX84" fmla="*/ 306400 w 1302398"/>
              <a:gd name="connsiteY84" fmla="*/ 632580 h 1153159"/>
              <a:gd name="connsiteX85" fmla="*/ 301373 w 1302398"/>
              <a:gd name="connsiteY85" fmla="*/ 632580 h 1153159"/>
              <a:gd name="connsiteX86" fmla="*/ 286290 w 1302398"/>
              <a:gd name="connsiteY86" fmla="*/ 621171 h 1153159"/>
              <a:gd name="connsiteX87" fmla="*/ 297602 w 1302398"/>
              <a:gd name="connsiteY87" fmla="*/ 600889 h 1153159"/>
              <a:gd name="connsiteX88" fmla="*/ 909843 w 1302398"/>
              <a:gd name="connsiteY88" fmla="*/ 548577 h 1153159"/>
              <a:gd name="connsiteX89" fmla="*/ 966842 w 1302398"/>
              <a:gd name="connsiteY89" fmla="*/ 565579 h 1153159"/>
              <a:gd name="connsiteX90" fmla="*/ 977756 w 1302398"/>
              <a:gd name="connsiteY90" fmla="*/ 586505 h 1153159"/>
              <a:gd name="connsiteX91" fmla="*/ 963203 w 1302398"/>
              <a:gd name="connsiteY91" fmla="*/ 599583 h 1153159"/>
              <a:gd name="connsiteX92" fmla="*/ 958352 w 1302398"/>
              <a:gd name="connsiteY92" fmla="*/ 598276 h 1153159"/>
              <a:gd name="connsiteX93" fmla="*/ 901354 w 1302398"/>
              <a:gd name="connsiteY93" fmla="*/ 582581 h 1153159"/>
              <a:gd name="connsiteX94" fmla="*/ 890440 w 1302398"/>
              <a:gd name="connsiteY94" fmla="*/ 560348 h 1153159"/>
              <a:gd name="connsiteX95" fmla="*/ 909843 w 1302398"/>
              <a:gd name="connsiteY95" fmla="*/ 548577 h 1153159"/>
              <a:gd name="connsiteX96" fmla="*/ 391366 w 1302398"/>
              <a:gd name="connsiteY96" fmla="*/ 529430 h 1153159"/>
              <a:gd name="connsiteX97" fmla="*/ 285533 w 1302398"/>
              <a:gd name="connsiteY97" fmla="*/ 557011 h 1153159"/>
              <a:gd name="connsiteX98" fmla="*/ 288024 w 1302398"/>
              <a:gd name="connsiteY98" fmla="*/ 567040 h 1153159"/>
              <a:gd name="connsiteX99" fmla="*/ 395102 w 1302398"/>
              <a:gd name="connsiteY99" fmla="*/ 538205 h 1153159"/>
              <a:gd name="connsiteX100" fmla="*/ 653935 w 1302398"/>
              <a:gd name="connsiteY100" fmla="*/ 513717 h 1153159"/>
              <a:gd name="connsiteX101" fmla="*/ 557900 w 1302398"/>
              <a:gd name="connsiteY101" fmla="*/ 608505 h 1153159"/>
              <a:gd name="connsiteX102" fmla="*/ 653935 w 1302398"/>
              <a:gd name="connsiteY102" fmla="*/ 704540 h 1153159"/>
              <a:gd name="connsiteX103" fmla="*/ 749969 w 1302398"/>
              <a:gd name="connsiteY103" fmla="*/ 608505 h 1153159"/>
              <a:gd name="connsiteX104" fmla="*/ 653935 w 1302398"/>
              <a:gd name="connsiteY104" fmla="*/ 513717 h 1153159"/>
              <a:gd name="connsiteX105" fmla="*/ 882672 w 1302398"/>
              <a:gd name="connsiteY105" fmla="*/ 493492 h 1153159"/>
              <a:gd name="connsiteX106" fmla="*/ 1021574 w 1302398"/>
              <a:gd name="connsiteY106" fmla="*/ 529196 h 1153159"/>
              <a:gd name="connsiteX107" fmla="*/ 1033866 w 1302398"/>
              <a:gd name="connsiteY107" fmla="*/ 548895 h 1153159"/>
              <a:gd name="connsiteX108" fmla="*/ 1017886 w 1302398"/>
              <a:gd name="connsiteY108" fmla="*/ 561207 h 1153159"/>
              <a:gd name="connsiteX109" fmla="*/ 1014198 w 1302398"/>
              <a:gd name="connsiteY109" fmla="*/ 561207 h 1153159"/>
              <a:gd name="connsiteX110" fmla="*/ 874067 w 1302398"/>
              <a:gd name="connsiteY110" fmla="*/ 524271 h 1153159"/>
              <a:gd name="connsiteX111" fmla="*/ 863004 w 1302398"/>
              <a:gd name="connsiteY111" fmla="*/ 504573 h 1153159"/>
              <a:gd name="connsiteX112" fmla="*/ 882672 w 1302398"/>
              <a:gd name="connsiteY112" fmla="*/ 493492 h 1153159"/>
              <a:gd name="connsiteX113" fmla="*/ 653935 w 1302398"/>
              <a:gd name="connsiteY113" fmla="*/ 480043 h 1153159"/>
              <a:gd name="connsiteX114" fmla="*/ 782397 w 1302398"/>
              <a:gd name="connsiteY114" fmla="*/ 608505 h 1153159"/>
              <a:gd name="connsiteX115" fmla="*/ 653935 w 1302398"/>
              <a:gd name="connsiteY115" fmla="*/ 736967 h 1153159"/>
              <a:gd name="connsiteX116" fmla="*/ 525473 w 1302398"/>
              <a:gd name="connsiteY116" fmla="*/ 608505 h 1153159"/>
              <a:gd name="connsiteX117" fmla="*/ 653935 w 1302398"/>
              <a:gd name="connsiteY117" fmla="*/ 480043 h 1153159"/>
              <a:gd name="connsiteX118" fmla="*/ 898000 w 1302398"/>
              <a:gd name="connsiteY118" fmla="*/ 425853 h 1153159"/>
              <a:gd name="connsiteX119" fmla="*/ 893044 w 1302398"/>
              <a:gd name="connsiteY119" fmla="*/ 444631 h 1153159"/>
              <a:gd name="connsiteX120" fmla="*/ 894283 w 1302398"/>
              <a:gd name="connsiteY120" fmla="*/ 445883 h 1153159"/>
              <a:gd name="connsiteX121" fmla="*/ 1035519 w 1302398"/>
              <a:gd name="connsiteY121" fmla="*/ 484692 h 1153159"/>
              <a:gd name="connsiteX122" fmla="*/ 1036758 w 1302398"/>
              <a:gd name="connsiteY122" fmla="*/ 484692 h 1153159"/>
              <a:gd name="connsiteX123" fmla="*/ 1036758 w 1302398"/>
              <a:gd name="connsiteY123" fmla="*/ 483440 h 1153159"/>
              <a:gd name="connsiteX124" fmla="*/ 1041714 w 1302398"/>
              <a:gd name="connsiteY124" fmla="*/ 464662 h 1153159"/>
              <a:gd name="connsiteX125" fmla="*/ 315399 w 1302398"/>
              <a:gd name="connsiteY125" fmla="*/ 236408 h 1153159"/>
              <a:gd name="connsiteX126" fmla="*/ 367300 w 1302398"/>
              <a:gd name="connsiteY126" fmla="*/ 262258 h 1153159"/>
              <a:gd name="connsiteX127" fmla="*/ 370996 w 1302398"/>
              <a:gd name="connsiteY127" fmla="*/ 285523 h 1153159"/>
              <a:gd name="connsiteX128" fmla="*/ 357443 w 1302398"/>
              <a:gd name="connsiteY128" fmla="*/ 291985 h 1153159"/>
              <a:gd name="connsiteX129" fmla="*/ 347587 w 1302398"/>
              <a:gd name="connsiteY129" fmla="*/ 288108 h 1153159"/>
              <a:gd name="connsiteX130" fmla="*/ 266269 w 1302398"/>
              <a:gd name="connsiteY130" fmla="*/ 271305 h 1153159"/>
              <a:gd name="connsiteX131" fmla="*/ 246556 w 1302398"/>
              <a:gd name="connsiteY131" fmla="*/ 258381 h 1153159"/>
              <a:gd name="connsiteX132" fmla="*/ 258877 w 1302398"/>
              <a:gd name="connsiteY132" fmla="*/ 237701 h 1153159"/>
              <a:gd name="connsiteX133" fmla="*/ 315399 w 1302398"/>
              <a:gd name="connsiteY133" fmla="*/ 236408 h 1153159"/>
              <a:gd name="connsiteX134" fmla="*/ 291759 w 1302398"/>
              <a:gd name="connsiteY134" fmla="*/ 222281 h 1153159"/>
              <a:gd name="connsiteX135" fmla="*/ 248181 w 1302398"/>
              <a:gd name="connsiteY135" fmla="*/ 228550 h 1153159"/>
              <a:gd name="connsiteX136" fmla="*/ 154799 w 1302398"/>
              <a:gd name="connsiteY136" fmla="*/ 395287 h 1153159"/>
              <a:gd name="connsiteX137" fmla="*/ 253161 w 1302398"/>
              <a:gd name="connsiteY137" fmla="*/ 500595 h 1153159"/>
              <a:gd name="connsiteX138" fmla="*/ 278063 w 1302398"/>
              <a:gd name="connsiteY138" fmla="*/ 525669 h 1153159"/>
              <a:gd name="connsiteX139" fmla="*/ 383896 w 1302398"/>
              <a:gd name="connsiteY139" fmla="*/ 496834 h 1153159"/>
              <a:gd name="connsiteX140" fmla="*/ 392612 w 1302398"/>
              <a:gd name="connsiteY140" fmla="*/ 462985 h 1153159"/>
              <a:gd name="connsiteX141" fmla="*/ 427474 w 1302398"/>
              <a:gd name="connsiteY141" fmla="*/ 327589 h 1153159"/>
              <a:gd name="connsiteX142" fmla="*/ 358994 w 1302398"/>
              <a:gd name="connsiteY142" fmla="*/ 238579 h 1153159"/>
              <a:gd name="connsiteX143" fmla="*/ 291759 w 1302398"/>
              <a:gd name="connsiteY143" fmla="*/ 222281 h 1153159"/>
              <a:gd name="connsiteX144" fmla="*/ 308257 w 1302398"/>
              <a:gd name="connsiteY144" fmla="*/ 190000 h 1153159"/>
              <a:gd name="connsiteX145" fmla="*/ 375180 w 1302398"/>
              <a:gd name="connsiteY145" fmla="*/ 210998 h 1153159"/>
              <a:gd name="connsiteX146" fmla="*/ 458601 w 1302398"/>
              <a:gd name="connsiteY146" fmla="*/ 318814 h 1153159"/>
              <a:gd name="connsiteX147" fmla="*/ 415023 w 1302398"/>
              <a:gd name="connsiteY147" fmla="*/ 485551 h 1153159"/>
              <a:gd name="connsiteX148" fmla="*/ 415023 w 1302398"/>
              <a:gd name="connsiteY148" fmla="*/ 488059 h 1153159"/>
              <a:gd name="connsiteX149" fmla="*/ 427474 w 1302398"/>
              <a:gd name="connsiteY149" fmla="*/ 531937 h 1153159"/>
              <a:gd name="connsiteX150" fmla="*/ 405062 w 1302398"/>
              <a:gd name="connsiteY150" fmla="*/ 568294 h 1153159"/>
              <a:gd name="connsiteX151" fmla="*/ 295494 w 1302398"/>
              <a:gd name="connsiteY151" fmla="*/ 598382 h 1153159"/>
              <a:gd name="connsiteX152" fmla="*/ 286779 w 1302398"/>
              <a:gd name="connsiteY152" fmla="*/ 599636 h 1153159"/>
              <a:gd name="connsiteX153" fmla="*/ 258141 w 1302398"/>
              <a:gd name="connsiteY153" fmla="*/ 577070 h 1153159"/>
              <a:gd name="connsiteX154" fmla="*/ 246936 w 1302398"/>
              <a:gd name="connsiteY154" fmla="*/ 534444 h 1153159"/>
              <a:gd name="connsiteX155" fmla="*/ 245690 w 1302398"/>
              <a:gd name="connsiteY155" fmla="*/ 531937 h 1153159"/>
              <a:gd name="connsiteX156" fmla="*/ 122426 w 1302398"/>
              <a:gd name="connsiteY156" fmla="*/ 402809 h 1153159"/>
              <a:gd name="connsiteX157" fmla="*/ 239465 w 1302398"/>
              <a:gd name="connsiteY157" fmla="*/ 197208 h 1153159"/>
              <a:gd name="connsiteX158" fmla="*/ 308257 w 1302398"/>
              <a:gd name="connsiteY158" fmla="*/ 190000 h 1153159"/>
              <a:gd name="connsiteX159" fmla="*/ 1069696 w 1302398"/>
              <a:gd name="connsiteY159" fmla="*/ 65089 h 1153159"/>
              <a:gd name="connsiteX160" fmla="*/ 1174167 w 1302398"/>
              <a:gd name="connsiteY160" fmla="*/ 160761 h 1153159"/>
              <a:gd name="connsiteX161" fmla="*/ 1165461 w 1302398"/>
              <a:gd name="connsiteY161" fmla="*/ 180902 h 1153159"/>
              <a:gd name="connsiteX162" fmla="*/ 1159243 w 1302398"/>
              <a:gd name="connsiteY162" fmla="*/ 182161 h 1153159"/>
              <a:gd name="connsiteX163" fmla="*/ 1144318 w 1302398"/>
              <a:gd name="connsiteY163" fmla="*/ 172090 h 1153159"/>
              <a:gd name="connsiteX164" fmla="*/ 1060990 w 1302398"/>
              <a:gd name="connsiteY164" fmla="*/ 96560 h 1153159"/>
              <a:gd name="connsiteX165" fmla="*/ 1049797 w 1302398"/>
              <a:gd name="connsiteY165" fmla="*/ 76419 h 1153159"/>
              <a:gd name="connsiteX166" fmla="*/ 1069696 w 1302398"/>
              <a:gd name="connsiteY166" fmla="*/ 65089 h 1153159"/>
              <a:gd name="connsiteX167" fmla="*/ 1030564 w 1302398"/>
              <a:gd name="connsiteY167" fmla="*/ 32755 h 1153159"/>
              <a:gd name="connsiteX168" fmla="*/ 853398 w 1302398"/>
              <a:gd name="connsiteY168" fmla="*/ 165457 h 1153159"/>
              <a:gd name="connsiteX169" fmla="*/ 898000 w 1302398"/>
              <a:gd name="connsiteY169" fmla="*/ 349487 h 1153159"/>
              <a:gd name="connsiteX170" fmla="*/ 907911 w 1302398"/>
              <a:gd name="connsiteY170" fmla="*/ 388296 h 1153159"/>
              <a:gd name="connsiteX171" fmla="*/ 906672 w 1302398"/>
              <a:gd name="connsiteY171" fmla="*/ 393303 h 1153159"/>
              <a:gd name="connsiteX172" fmla="*/ 1050386 w 1302398"/>
              <a:gd name="connsiteY172" fmla="*/ 433364 h 1153159"/>
              <a:gd name="connsiteX173" fmla="*/ 1051625 w 1302398"/>
              <a:gd name="connsiteY173" fmla="*/ 428357 h 1153159"/>
              <a:gd name="connsiteX174" fmla="*/ 1080120 w 1302398"/>
              <a:gd name="connsiteY174" fmla="*/ 398311 h 1153159"/>
              <a:gd name="connsiteX175" fmla="*/ 1207729 w 1302398"/>
              <a:gd name="connsiteY175" fmla="*/ 268113 h 1153159"/>
              <a:gd name="connsiteX176" fmla="*/ 1187906 w 1302398"/>
              <a:gd name="connsiteY176" fmla="*/ 121640 h 1153159"/>
              <a:gd name="connsiteX177" fmla="*/ 1068970 w 1302398"/>
              <a:gd name="connsiteY177" fmla="*/ 36510 h 1153159"/>
              <a:gd name="connsiteX178" fmla="*/ 1030564 w 1302398"/>
              <a:gd name="connsiteY178" fmla="*/ 32755 h 1153159"/>
              <a:gd name="connsiteX179" fmla="*/ 1035560 w 1302398"/>
              <a:gd name="connsiteY179" fmla="*/ 63 h 1153159"/>
              <a:gd name="connsiteX180" fmla="*/ 1076403 w 1302398"/>
              <a:gd name="connsiteY180" fmla="*/ 5213 h 1153159"/>
              <a:gd name="connsiteX181" fmla="*/ 1215162 w 1302398"/>
              <a:gd name="connsiteY181" fmla="*/ 105365 h 1153159"/>
              <a:gd name="connsiteX182" fmla="*/ 1238701 w 1302398"/>
              <a:gd name="connsiteY182" fmla="*/ 275624 h 1153159"/>
              <a:gd name="connsiteX183" fmla="*/ 1088793 w 1302398"/>
              <a:gd name="connsiteY183" fmla="*/ 429609 h 1153159"/>
              <a:gd name="connsiteX184" fmla="*/ 1082598 w 1302398"/>
              <a:gd name="connsiteY184" fmla="*/ 435868 h 1153159"/>
              <a:gd name="connsiteX185" fmla="*/ 1068970 w 1302398"/>
              <a:gd name="connsiteY185" fmla="*/ 492204 h 1153159"/>
              <a:gd name="connsiteX186" fmla="*/ 1052864 w 1302398"/>
              <a:gd name="connsiteY186" fmla="*/ 512234 h 1153159"/>
              <a:gd name="connsiteX187" fmla="*/ 1035519 w 1302398"/>
              <a:gd name="connsiteY187" fmla="*/ 517242 h 1153159"/>
              <a:gd name="connsiteX188" fmla="*/ 1026847 w 1302398"/>
              <a:gd name="connsiteY188" fmla="*/ 515990 h 1153159"/>
              <a:gd name="connsiteX189" fmla="*/ 885610 w 1302398"/>
              <a:gd name="connsiteY189" fmla="*/ 478433 h 1153159"/>
              <a:gd name="connsiteX190" fmla="*/ 865787 w 1302398"/>
              <a:gd name="connsiteY190" fmla="*/ 462158 h 1153159"/>
              <a:gd name="connsiteX191" fmla="*/ 862071 w 1302398"/>
              <a:gd name="connsiteY191" fmla="*/ 435868 h 1153159"/>
              <a:gd name="connsiteX192" fmla="*/ 876938 w 1302398"/>
              <a:gd name="connsiteY192" fmla="*/ 379532 h 1153159"/>
              <a:gd name="connsiteX193" fmla="*/ 874460 w 1302398"/>
              <a:gd name="connsiteY193" fmla="*/ 372021 h 1153159"/>
              <a:gd name="connsiteX194" fmla="*/ 822425 w 1302398"/>
              <a:gd name="connsiteY194" fmla="*/ 155441 h 1153159"/>
              <a:gd name="connsiteX195" fmla="*/ 1035560 w 1302398"/>
              <a:gd name="connsiteY195" fmla="*/ 63 h 115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02398" h="1153159">
                <a:moveTo>
                  <a:pt x="913116" y="1012868"/>
                </a:moveTo>
                <a:lnTo>
                  <a:pt x="1191250" y="1012868"/>
                </a:lnTo>
                <a:cubicBezTo>
                  <a:pt x="1259542" y="1012868"/>
                  <a:pt x="1276926" y="1039410"/>
                  <a:pt x="1301759" y="1132937"/>
                </a:cubicBezTo>
                <a:cubicBezTo>
                  <a:pt x="1304243" y="1140521"/>
                  <a:pt x="1299276" y="1150632"/>
                  <a:pt x="1290584" y="1151896"/>
                </a:cubicBezTo>
                <a:cubicBezTo>
                  <a:pt x="1289342" y="1153159"/>
                  <a:pt x="1288101" y="1153159"/>
                  <a:pt x="1286859" y="1153159"/>
                </a:cubicBezTo>
                <a:cubicBezTo>
                  <a:pt x="1279409" y="1153159"/>
                  <a:pt x="1273201" y="1148104"/>
                  <a:pt x="1270717" y="1140521"/>
                </a:cubicBezTo>
                <a:cubicBezTo>
                  <a:pt x="1244642" y="1044465"/>
                  <a:pt x="1232226" y="1044465"/>
                  <a:pt x="1191250" y="1044465"/>
                </a:cubicBezTo>
                <a:lnTo>
                  <a:pt x="913116" y="1044465"/>
                </a:lnTo>
                <a:cubicBezTo>
                  <a:pt x="872140" y="1044465"/>
                  <a:pt x="859723" y="1044465"/>
                  <a:pt x="832406" y="1140521"/>
                </a:cubicBezTo>
                <a:cubicBezTo>
                  <a:pt x="831165" y="1150632"/>
                  <a:pt x="821231" y="1154423"/>
                  <a:pt x="812539" y="1151896"/>
                </a:cubicBezTo>
                <a:cubicBezTo>
                  <a:pt x="805089" y="1150632"/>
                  <a:pt x="800123" y="1140521"/>
                  <a:pt x="801364" y="1132937"/>
                </a:cubicBezTo>
                <a:cubicBezTo>
                  <a:pt x="827440" y="1039410"/>
                  <a:pt x="844823" y="1012868"/>
                  <a:pt x="913116" y="1012868"/>
                </a:cubicBezTo>
                <a:close/>
                <a:moveTo>
                  <a:pt x="112080" y="1012868"/>
                </a:moveTo>
                <a:lnTo>
                  <a:pt x="393799" y="1012868"/>
                </a:lnTo>
                <a:cubicBezTo>
                  <a:pt x="461412" y="1012868"/>
                  <a:pt x="478941" y="1039410"/>
                  <a:pt x="505235" y="1132937"/>
                </a:cubicBezTo>
                <a:cubicBezTo>
                  <a:pt x="507739" y="1140521"/>
                  <a:pt x="502730" y="1150632"/>
                  <a:pt x="493966" y="1151896"/>
                </a:cubicBezTo>
                <a:cubicBezTo>
                  <a:pt x="492714" y="1153159"/>
                  <a:pt x="490209" y="1153159"/>
                  <a:pt x="488957" y="1153159"/>
                </a:cubicBezTo>
                <a:cubicBezTo>
                  <a:pt x="482697" y="1153159"/>
                  <a:pt x="475184" y="1148104"/>
                  <a:pt x="473932" y="1140521"/>
                </a:cubicBezTo>
                <a:cubicBezTo>
                  <a:pt x="447639" y="1044465"/>
                  <a:pt x="433866" y="1044465"/>
                  <a:pt x="393799" y="1044465"/>
                </a:cubicBezTo>
                <a:lnTo>
                  <a:pt x="112080" y="1044465"/>
                </a:lnTo>
                <a:cubicBezTo>
                  <a:pt x="70761" y="1044465"/>
                  <a:pt x="59492" y="1044465"/>
                  <a:pt x="31946" y="1140521"/>
                </a:cubicBezTo>
                <a:cubicBezTo>
                  <a:pt x="29442" y="1150632"/>
                  <a:pt x="20677" y="1154423"/>
                  <a:pt x="11913" y="1151896"/>
                </a:cubicBezTo>
                <a:cubicBezTo>
                  <a:pt x="3148" y="1150632"/>
                  <a:pt x="-1860" y="1140521"/>
                  <a:pt x="644" y="1132937"/>
                </a:cubicBezTo>
                <a:cubicBezTo>
                  <a:pt x="26938" y="1039410"/>
                  <a:pt x="44467" y="1012868"/>
                  <a:pt x="112080" y="1012868"/>
                </a:cubicBezTo>
                <a:close/>
                <a:moveTo>
                  <a:pt x="794022" y="892018"/>
                </a:moveTo>
                <a:cubicBezTo>
                  <a:pt x="802567" y="892018"/>
                  <a:pt x="809891" y="899661"/>
                  <a:pt x="809891" y="909851"/>
                </a:cubicBezTo>
                <a:lnTo>
                  <a:pt x="809891" y="960801"/>
                </a:lnTo>
                <a:cubicBezTo>
                  <a:pt x="809891" y="970991"/>
                  <a:pt x="802567" y="978633"/>
                  <a:pt x="794022" y="978633"/>
                </a:cubicBezTo>
                <a:cubicBezTo>
                  <a:pt x="785477" y="978633"/>
                  <a:pt x="778153" y="970991"/>
                  <a:pt x="778153" y="960801"/>
                </a:cubicBezTo>
                <a:lnTo>
                  <a:pt x="778153" y="909851"/>
                </a:lnTo>
                <a:cubicBezTo>
                  <a:pt x="778153" y="899661"/>
                  <a:pt x="785477" y="892018"/>
                  <a:pt x="794022" y="892018"/>
                </a:cubicBezTo>
                <a:close/>
                <a:moveTo>
                  <a:pt x="513875" y="892018"/>
                </a:moveTo>
                <a:cubicBezTo>
                  <a:pt x="522420" y="892018"/>
                  <a:pt x="529744" y="899661"/>
                  <a:pt x="529744" y="909851"/>
                </a:cubicBezTo>
                <a:lnTo>
                  <a:pt x="529744" y="960801"/>
                </a:lnTo>
                <a:cubicBezTo>
                  <a:pt x="529744" y="970991"/>
                  <a:pt x="522420" y="978633"/>
                  <a:pt x="513875" y="978633"/>
                </a:cubicBezTo>
                <a:cubicBezTo>
                  <a:pt x="505330" y="978633"/>
                  <a:pt x="498006" y="970991"/>
                  <a:pt x="498006" y="960801"/>
                </a:cubicBezTo>
                <a:lnTo>
                  <a:pt x="498006" y="909851"/>
                </a:lnTo>
                <a:cubicBezTo>
                  <a:pt x="498006" y="899661"/>
                  <a:pt x="505330" y="892018"/>
                  <a:pt x="513875" y="892018"/>
                </a:cubicBezTo>
                <a:close/>
                <a:moveTo>
                  <a:pt x="1053682" y="770644"/>
                </a:moveTo>
                <a:cubicBezTo>
                  <a:pt x="1001299" y="770644"/>
                  <a:pt x="958893" y="814297"/>
                  <a:pt x="958893" y="866680"/>
                </a:cubicBezTo>
                <a:cubicBezTo>
                  <a:pt x="958893" y="919063"/>
                  <a:pt x="1001299" y="962716"/>
                  <a:pt x="1053682" y="962716"/>
                </a:cubicBezTo>
                <a:cubicBezTo>
                  <a:pt x="1107312" y="962716"/>
                  <a:pt x="1149718" y="919063"/>
                  <a:pt x="1149718" y="866680"/>
                </a:cubicBezTo>
                <a:cubicBezTo>
                  <a:pt x="1149718" y="814297"/>
                  <a:pt x="1107312" y="770644"/>
                  <a:pt x="1053682" y="770644"/>
                </a:cubicBezTo>
                <a:close/>
                <a:moveTo>
                  <a:pt x="252942" y="770644"/>
                </a:moveTo>
                <a:cubicBezTo>
                  <a:pt x="200558" y="770644"/>
                  <a:pt x="156906" y="814297"/>
                  <a:pt x="156906" y="866680"/>
                </a:cubicBezTo>
                <a:cubicBezTo>
                  <a:pt x="156906" y="919063"/>
                  <a:pt x="200558" y="962716"/>
                  <a:pt x="252942" y="962716"/>
                </a:cubicBezTo>
                <a:cubicBezTo>
                  <a:pt x="305325" y="962716"/>
                  <a:pt x="348978" y="919063"/>
                  <a:pt x="348978" y="866680"/>
                </a:cubicBezTo>
                <a:cubicBezTo>
                  <a:pt x="348978" y="814297"/>
                  <a:pt x="305325" y="770644"/>
                  <a:pt x="252942" y="770644"/>
                </a:cubicBezTo>
                <a:close/>
                <a:moveTo>
                  <a:pt x="513234" y="754697"/>
                </a:moveTo>
                <a:lnTo>
                  <a:pt x="792880" y="754697"/>
                </a:lnTo>
                <a:cubicBezTo>
                  <a:pt x="861543" y="754697"/>
                  <a:pt x="879021" y="780683"/>
                  <a:pt x="905238" y="872253"/>
                </a:cubicBezTo>
                <a:lnTo>
                  <a:pt x="923964" y="957636"/>
                </a:lnTo>
                <a:cubicBezTo>
                  <a:pt x="925213" y="965060"/>
                  <a:pt x="920219" y="974960"/>
                  <a:pt x="911480" y="976197"/>
                </a:cubicBezTo>
                <a:cubicBezTo>
                  <a:pt x="902741" y="978672"/>
                  <a:pt x="894002" y="972485"/>
                  <a:pt x="891506" y="963823"/>
                </a:cubicBezTo>
                <a:lnTo>
                  <a:pt x="872779" y="879678"/>
                </a:lnTo>
                <a:cubicBezTo>
                  <a:pt x="846562" y="786870"/>
                  <a:pt x="834078" y="786870"/>
                  <a:pt x="792880" y="786870"/>
                </a:cubicBezTo>
                <a:lnTo>
                  <a:pt x="513234" y="786870"/>
                </a:lnTo>
                <a:cubicBezTo>
                  <a:pt x="472037" y="786870"/>
                  <a:pt x="459552" y="786870"/>
                  <a:pt x="433336" y="880915"/>
                </a:cubicBezTo>
                <a:lnTo>
                  <a:pt x="410864" y="965060"/>
                </a:lnTo>
                <a:cubicBezTo>
                  <a:pt x="409616" y="971247"/>
                  <a:pt x="403374" y="977434"/>
                  <a:pt x="395883" y="977434"/>
                </a:cubicBezTo>
                <a:cubicBezTo>
                  <a:pt x="394635" y="977434"/>
                  <a:pt x="393386" y="976197"/>
                  <a:pt x="390889" y="976197"/>
                </a:cubicBezTo>
                <a:cubicBezTo>
                  <a:pt x="383399" y="973722"/>
                  <a:pt x="377157" y="965060"/>
                  <a:pt x="379654" y="956398"/>
                </a:cubicBezTo>
                <a:lnTo>
                  <a:pt x="402125" y="872253"/>
                </a:lnTo>
                <a:cubicBezTo>
                  <a:pt x="427093" y="780683"/>
                  <a:pt x="445820" y="754697"/>
                  <a:pt x="513234" y="754697"/>
                </a:cubicBezTo>
                <a:close/>
                <a:moveTo>
                  <a:pt x="1053682" y="738216"/>
                </a:moveTo>
                <a:cubicBezTo>
                  <a:pt x="1124774" y="738216"/>
                  <a:pt x="1183393" y="795588"/>
                  <a:pt x="1183393" y="866680"/>
                </a:cubicBezTo>
                <a:cubicBezTo>
                  <a:pt x="1183393" y="937772"/>
                  <a:pt x="1124774" y="995144"/>
                  <a:pt x="1053682" y="995144"/>
                </a:cubicBezTo>
                <a:cubicBezTo>
                  <a:pt x="983837" y="995144"/>
                  <a:pt x="926465" y="937772"/>
                  <a:pt x="926465" y="866680"/>
                </a:cubicBezTo>
                <a:cubicBezTo>
                  <a:pt x="926465" y="795588"/>
                  <a:pt x="983837" y="738216"/>
                  <a:pt x="1053682" y="738216"/>
                </a:cubicBezTo>
                <a:close/>
                <a:moveTo>
                  <a:pt x="252942" y="738216"/>
                </a:moveTo>
                <a:cubicBezTo>
                  <a:pt x="324033" y="738216"/>
                  <a:pt x="381406" y="795588"/>
                  <a:pt x="381406" y="866680"/>
                </a:cubicBezTo>
                <a:cubicBezTo>
                  <a:pt x="381406" y="937772"/>
                  <a:pt x="324033" y="995144"/>
                  <a:pt x="252942" y="995144"/>
                </a:cubicBezTo>
                <a:cubicBezTo>
                  <a:pt x="181850" y="995144"/>
                  <a:pt x="124478" y="937772"/>
                  <a:pt x="124478" y="866680"/>
                </a:cubicBezTo>
                <a:cubicBezTo>
                  <a:pt x="124478" y="795588"/>
                  <a:pt x="181850" y="738216"/>
                  <a:pt x="252942" y="738216"/>
                </a:cubicBezTo>
                <a:close/>
                <a:moveTo>
                  <a:pt x="386396" y="614480"/>
                </a:moveTo>
                <a:cubicBezTo>
                  <a:pt x="396383" y="611878"/>
                  <a:pt x="405122" y="617082"/>
                  <a:pt x="406371" y="626189"/>
                </a:cubicBezTo>
                <a:cubicBezTo>
                  <a:pt x="408867" y="635295"/>
                  <a:pt x="405122" y="644402"/>
                  <a:pt x="395135" y="647004"/>
                </a:cubicBezTo>
                <a:lnTo>
                  <a:pt x="350192" y="660013"/>
                </a:lnTo>
                <a:cubicBezTo>
                  <a:pt x="347695" y="660013"/>
                  <a:pt x="346447" y="660013"/>
                  <a:pt x="345198" y="660013"/>
                </a:cubicBezTo>
                <a:cubicBezTo>
                  <a:pt x="337708" y="660013"/>
                  <a:pt x="331466" y="654810"/>
                  <a:pt x="328969" y="648305"/>
                </a:cubicBezTo>
                <a:cubicBezTo>
                  <a:pt x="327721" y="639198"/>
                  <a:pt x="331466" y="628791"/>
                  <a:pt x="341453" y="627490"/>
                </a:cubicBezTo>
                <a:close/>
                <a:moveTo>
                  <a:pt x="408206" y="570466"/>
                </a:moveTo>
                <a:cubicBezTo>
                  <a:pt x="417004" y="567930"/>
                  <a:pt x="425802" y="574268"/>
                  <a:pt x="428316" y="581874"/>
                </a:cubicBezTo>
                <a:cubicBezTo>
                  <a:pt x="430830" y="590748"/>
                  <a:pt x="425802" y="599621"/>
                  <a:pt x="417004" y="602156"/>
                </a:cubicBezTo>
                <a:lnTo>
                  <a:pt x="306400" y="632580"/>
                </a:lnTo>
                <a:cubicBezTo>
                  <a:pt x="305143" y="632580"/>
                  <a:pt x="302630" y="632580"/>
                  <a:pt x="301373" y="632580"/>
                </a:cubicBezTo>
                <a:cubicBezTo>
                  <a:pt x="295089" y="632580"/>
                  <a:pt x="287547" y="627509"/>
                  <a:pt x="286290" y="621171"/>
                </a:cubicBezTo>
                <a:cubicBezTo>
                  <a:pt x="283777" y="612297"/>
                  <a:pt x="288804" y="603424"/>
                  <a:pt x="297602" y="600889"/>
                </a:cubicBezTo>
                <a:close/>
                <a:moveTo>
                  <a:pt x="909843" y="548577"/>
                </a:moveTo>
                <a:lnTo>
                  <a:pt x="966842" y="565579"/>
                </a:lnTo>
                <a:cubicBezTo>
                  <a:pt x="975331" y="568195"/>
                  <a:pt x="980182" y="577350"/>
                  <a:pt x="977756" y="586505"/>
                </a:cubicBezTo>
                <a:cubicBezTo>
                  <a:pt x="976543" y="594352"/>
                  <a:pt x="969267" y="599583"/>
                  <a:pt x="963203" y="599583"/>
                </a:cubicBezTo>
                <a:cubicBezTo>
                  <a:pt x="961991" y="599583"/>
                  <a:pt x="959565" y="599583"/>
                  <a:pt x="958352" y="598276"/>
                </a:cubicBezTo>
                <a:lnTo>
                  <a:pt x="901354" y="582581"/>
                </a:lnTo>
                <a:cubicBezTo>
                  <a:pt x="892865" y="578658"/>
                  <a:pt x="888014" y="570811"/>
                  <a:pt x="890440" y="560348"/>
                </a:cubicBezTo>
                <a:cubicBezTo>
                  <a:pt x="892865" y="552501"/>
                  <a:pt x="900142" y="545961"/>
                  <a:pt x="909843" y="548577"/>
                </a:cubicBezTo>
                <a:close/>
                <a:moveTo>
                  <a:pt x="391366" y="529430"/>
                </a:moveTo>
                <a:lnTo>
                  <a:pt x="285533" y="557011"/>
                </a:lnTo>
                <a:lnTo>
                  <a:pt x="288024" y="567040"/>
                </a:lnTo>
                <a:lnTo>
                  <a:pt x="395102" y="538205"/>
                </a:lnTo>
                <a:close/>
                <a:moveTo>
                  <a:pt x="653935" y="513717"/>
                </a:moveTo>
                <a:cubicBezTo>
                  <a:pt x="600305" y="513717"/>
                  <a:pt x="557900" y="556123"/>
                  <a:pt x="557900" y="608505"/>
                </a:cubicBezTo>
                <a:cubicBezTo>
                  <a:pt x="557900" y="662135"/>
                  <a:pt x="600305" y="704540"/>
                  <a:pt x="653935" y="704540"/>
                </a:cubicBezTo>
                <a:cubicBezTo>
                  <a:pt x="706317" y="704540"/>
                  <a:pt x="749969" y="662135"/>
                  <a:pt x="749969" y="608505"/>
                </a:cubicBezTo>
                <a:cubicBezTo>
                  <a:pt x="749969" y="556123"/>
                  <a:pt x="706317" y="513717"/>
                  <a:pt x="653935" y="513717"/>
                </a:cubicBezTo>
                <a:close/>
                <a:moveTo>
                  <a:pt x="882672" y="493492"/>
                </a:moveTo>
                <a:lnTo>
                  <a:pt x="1021574" y="529196"/>
                </a:lnTo>
                <a:cubicBezTo>
                  <a:pt x="1030178" y="531658"/>
                  <a:pt x="1035095" y="541508"/>
                  <a:pt x="1033866" y="548895"/>
                </a:cubicBezTo>
                <a:cubicBezTo>
                  <a:pt x="1031407" y="557514"/>
                  <a:pt x="1025261" y="561207"/>
                  <a:pt x="1017886" y="561207"/>
                </a:cubicBezTo>
                <a:cubicBezTo>
                  <a:pt x="1015428" y="561207"/>
                  <a:pt x="1015428" y="561207"/>
                  <a:pt x="1014198" y="561207"/>
                </a:cubicBezTo>
                <a:lnTo>
                  <a:pt x="874067" y="524271"/>
                </a:lnTo>
                <a:cubicBezTo>
                  <a:pt x="865463" y="521809"/>
                  <a:pt x="860546" y="513191"/>
                  <a:pt x="863004" y="504573"/>
                </a:cubicBezTo>
                <a:cubicBezTo>
                  <a:pt x="865463" y="495954"/>
                  <a:pt x="874067" y="491030"/>
                  <a:pt x="882672" y="493492"/>
                </a:cubicBezTo>
                <a:close/>
                <a:moveTo>
                  <a:pt x="653935" y="480043"/>
                </a:moveTo>
                <a:cubicBezTo>
                  <a:pt x="723778" y="480043"/>
                  <a:pt x="782397" y="538661"/>
                  <a:pt x="782397" y="608505"/>
                </a:cubicBezTo>
                <a:cubicBezTo>
                  <a:pt x="782397" y="679596"/>
                  <a:pt x="723778" y="736967"/>
                  <a:pt x="653935" y="736967"/>
                </a:cubicBezTo>
                <a:cubicBezTo>
                  <a:pt x="582844" y="736967"/>
                  <a:pt x="525473" y="679596"/>
                  <a:pt x="525473" y="608505"/>
                </a:cubicBezTo>
                <a:cubicBezTo>
                  <a:pt x="525473" y="538661"/>
                  <a:pt x="582844" y="480043"/>
                  <a:pt x="653935" y="480043"/>
                </a:cubicBezTo>
                <a:close/>
                <a:moveTo>
                  <a:pt x="898000" y="425853"/>
                </a:moveTo>
                <a:lnTo>
                  <a:pt x="893044" y="444631"/>
                </a:lnTo>
                <a:cubicBezTo>
                  <a:pt x="893044" y="445883"/>
                  <a:pt x="893044" y="445883"/>
                  <a:pt x="894283" y="445883"/>
                </a:cubicBezTo>
                <a:lnTo>
                  <a:pt x="1035519" y="484692"/>
                </a:lnTo>
                <a:cubicBezTo>
                  <a:pt x="1035519" y="484692"/>
                  <a:pt x="1035519" y="484692"/>
                  <a:pt x="1036758" y="484692"/>
                </a:cubicBezTo>
                <a:lnTo>
                  <a:pt x="1036758" y="483440"/>
                </a:lnTo>
                <a:lnTo>
                  <a:pt x="1041714" y="464662"/>
                </a:lnTo>
                <a:close/>
                <a:moveTo>
                  <a:pt x="315399" y="236408"/>
                </a:moveTo>
                <a:cubicBezTo>
                  <a:pt x="334034" y="240609"/>
                  <a:pt x="351899" y="249333"/>
                  <a:pt x="367300" y="262258"/>
                </a:cubicBezTo>
                <a:cubicBezTo>
                  <a:pt x="374693" y="268720"/>
                  <a:pt x="375925" y="277768"/>
                  <a:pt x="370996" y="285523"/>
                </a:cubicBezTo>
                <a:cubicBezTo>
                  <a:pt x="367300" y="289400"/>
                  <a:pt x="362372" y="291985"/>
                  <a:pt x="357443" y="291985"/>
                </a:cubicBezTo>
                <a:cubicBezTo>
                  <a:pt x="353747" y="291985"/>
                  <a:pt x="351283" y="290693"/>
                  <a:pt x="347587" y="288108"/>
                </a:cubicBezTo>
                <a:cubicBezTo>
                  <a:pt x="324177" y="270013"/>
                  <a:pt x="295839" y="262258"/>
                  <a:pt x="266269" y="271305"/>
                </a:cubicBezTo>
                <a:cubicBezTo>
                  <a:pt x="258877" y="273890"/>
                  <a:pt x="249020" y="268720"/>
                  <a:pt x="246556" y="258381"/>
                </a:cubicBezTo>
                <a:cubicBezTo>
                  <a:pt x="245324" y="249333"/>
                  <a:pt x="250252" y="241578"/>
                  <a:pt x="258877" y="237701"/>
                </a:cubicBezTo>
                <a:cubicBezTo>
                  <a:pt x="277358" y="232531"/>
                  <a:pt x="296763" y="232208"/>
                  <a:pt x="315399" y="236408"/>
                </a:cubicBezTo>
                <a:close/>
                <a:moveTo>
                  <a:pt x="291759" y="222281"/>
                </a:moveTo>
                <a:cubicBezTo>
                  <a:pt x="278063" y="222281"/>
                  <a:pt x="263122" y="224789"/>
                  <a:pt x="248181" y="228550"/>
                </a:cubicBezTo>
                <a:cubicBezTo>
                  <a:pt x="179701" y="249862"/>
                  <a:pt x="137367" y="323828"/>
                  <a:pt x="154799" y="395287"/>
                </a:cubicBezTo>
                <a:cubicBezTo>
                  <a:pt x="166005" y="445434"/>
                  <a:pt x="204602" y="485551"/>
                  <a:pt x="253161" y="500595"/>
                </a:cubicBezTo>
                <a:cubicBezTo>
                  <a:pt x="265612" y="503103"/>
                  <a:pt x="274328" y="513132"/>
                  <a:pt x="278063" y="525669"/>
                </a:cubicBezTo>
                <a:lnTo>
                  <a:pt x="383896" y="496834"/>
                </a:lnTo>
                <a:cubicBezTo>
                  <a:pt x="380161" y="484298"/>
                  <a:pt x="383896" y="471761"/>
                  <a:pt x="392612" y="462985"/>
                </a:cubicBezTo>
                <a:cubicBezTo>
                  <a:pt x="427474" y="426629"/>
                  <a:pt x="441170" y="375229"/>
                  <a:pt x="427474" y="327589"/>
                </a:cubicBezTo>
                <a:cubicBezTo>
                  <a:pt x="417513" y="289979"/>
                  <a:pt x="393857" y="258638"/>
                  <a:pt x="358994" y="238579"/>
                </a:cubicBezTo>
                <a:cubicBezTo>
                  <a:pt x="337827" y="227296"/>
                  <a:pt x="315416" y="222281"/>
                  <a:pt x="291759" y="222281"/>
                </a:cubicBezTo>
                <a:close/>
                <a:moveTo>
                  <a:pt x="308257" y="190000"/>
                </a:moveTo>
                <a:cubicBezTo>
                  <a:pt x="331291" y="192193"/>
                  <a:pt x="354014" y="199089"/>
                  <a:pt x="375180" y="210998"/>
                </a:cubicBezTo>
                <a:cubicBezTo>
                  <a:pt x="416268" y="233564"/>
                  <a:pt x="447396" y="272428"/>
                  <a:pt x="458601" y="318814"/>
                </a:cubicBezTo>
                <a:cubicBezTo>
                  <a:pt x="474788" y="377736"/>
                  <a:pt x="458601" y="441673"/>
                  <a:pt x="415023" y="485551"/>
                </a:cubicBezTo>
                <a:lnTo>
                  <a:pt x="415023" y="488059"/>
                </a:lnTo>
                <a:lnTo>
                  <a:pt x="427474" y="531937"/>
                </a:lnTo>
                <a:cubicBezTo>
                  <a:pt x="431209" y="548235"/>
                  <a:pt x="421249" y="564533"/>
                  <a:pt x="405062" y="568294"/>
                </a:cubicBezTo>
                <a:lnTo>
                  <a:pt x="295494" y="598382"/>
                </a:lnTo>
                <a:cubicBezTo>
                  <a:pt x="291759" y="599636"/>
                  <a:pt x="290514" y="599636"/>
                  <a:pt x="286779" y="599636"/>
                </a:cubicBezTo>
                <a:cubicBezTo>
                  <a:pt x="274328" y="599636"/>
                  <a:pt x="261877" y="590860"/>
                  <a:pt x="258141" y="577070"/>
                </a:cubicBezTo>
                <a:lnTo>
                  <a:pt x="246936" y="534444"/>
                </a:lnTo>
                <a:cubicBezTo>
                  <a:pt x="246936" y="531937"/>
                  <a:pt x="245690" y="531937"/>
                  <a:pt x="245690" y="531937"/>
                </a:cubicBezTo>
                <a:cubicBezTo>
                  <a:pt x="184681" y="514386"/>
                  <a:pt x="137367" y="465493"/>
                  <a:pt x="122426" y="402809"/>
                </a:cubicBezTo>
                <a:cubicBezTo>
                  <a:pt x="102505" y="315053"/>
                  <a:pt x="153554" y="224789"/>
                  <a:pt x="239465" y="197208"/>
                </a:cubicBezTo>
                <a:cubicBezTo>
                  <a:pt x="261877" y="190313"/>
                  <a:pt x="285222" y="187806"/>
                  <a:pt x="308257" y="190000"/>
                </a:cubicBezTo>
                <a:close/>
                <a:moveTo>
                  <a:pt x="1069696" y="65089"/>
                </a:moveTo>
                <a:cubicBezTo>
                  <a:pt x="1116957" y="78937"/>
                  <a:pt x="1155512" y="114184"/>
                  <a:pt x="1174167" y="160761"/>
                </a:cubicBezTo>
                <a:cubicBezTo>
                  <a:pt x="1177899" y="168314"/>
                  <a:pt x="1174167" y="178384"/>
                  <a:pt x="1165461" y="180902"/>
                </a:cubicBezTo>
                <a:cubicBezTo>
                  <a:pt x="1164218" y="182161"/>
                  <a:pt x="1161730" y="182161"/>
                  <a:pt x="1159243" y="182161"/>
                </a:cubicBezTo>
                <a:cubicBezTo>
                  <a:pt x="1153024" y="182161"/>
                  <a:pt x="1146806" y="178384"/>
                  <a:pt x="1144318" y="172090"/>
                </a:cubicBezTo>
                <a:cubicBezTo>
                  <a:pt x="1129394" y="134325"/>
                  <a:pt x="1099545" y="107890"/>
                  <a:pt x="1060990" y="96560"/>
                </a:cubicBezTo>
                <a:cubicBezTo>
                  <a:pt x="1052284" y="95301"/>
                  <a:pt x="1047309" y="85231"/>
                  <a:pt x="1049797" y="76419"/>
                </a:cubicBezTo>
                <a:cubicBezTo>
                  <a:pt x="1052284" y="68866"/>
                  <a:pt x="1060990" y="62572"/>
                  <a:pt x="1069696" y="65089"/>
                </a:cubicBezTo>
                <a:close/>
                <a:moveTo>
                  <a:pt x="1030564" y="32755"/>
                </a:moveTo>
                <a:cubicBezTo>
                  <a:pt x="951273" y="32755"/>
                  <a:pt x="878176" y="85335"/>
                  <a:pt x="853398" y="165457"/>
                </a:cubicBezTo>
                <a:cubicBezTo>
                  <a:pt x="833575" y="229304"/>
                  <a:pt x="850920" y="300662"/>
                  <a:pt x="898000" y="349487"/>
                </a:cubicBezTo>
                <a:cubicBezTo>
                  <a:pt x="907911" y="359502"/>
                  <a:pt x="911628" y="374525"/>
                  <a:pt x="907911" y="388296"/>
                </a:cubicBezTo>
                <a:lnTo>
                  <a:pt x="906672" y="393303"/>
                </a:lnTo>
                <a:lnTo>
                  <a:pt x="1050386" y="433364"/>
                </a:lnTo>
                <a:lnTo>
                  <a:pt x="1051625" y="428357"/>
                </a:lnTo>
                <a:cubicBezTo>
                  <a:pt x="1055342" y="413334"/>
                  <a:pt x="1066492" y="402067"/>
                  <a:pt x="1080120" y="398311"/>
                </a:cubicBezTo>
                <a:cubicBezTo>
                  <a:pt x="1142066" y="380784"/>
                  <a:pt x="1191623" y="330708"/>
                  <a:pt x="1207729" y="268113"/>
                </a:cubicBezTo>
                <a:cubicBezTo>
                  <a:pt x="1221357" y="218037"/>
                  <a:pt x="1213923" y="166709"/>
                  <a:pt x="1187906" y="121640"/>
                </a:cubicBezTo>
                <a:cubicBezTo>
                  <a:pt x="1160650" y="77823"/>
                  <a:pt x="1119766" y="47778"/>
                  <a:pt x="1068970" y="36510"/>
                </a:cubicBezTo>
                <a:cubicBezTo>
                  <a:pt x="1056581" y="34007"/>
                  <a:pt x="1042953" y="32755"/>
                  <a:pt x="1030564" y="32755"/>
                </a:cubicBezTo>
                <a:close/>
                <a:moveTo>
                  <a:pt x="1035560" y="63"/>
                </a:moveTo>
                <a:cubicBezTo>
                  <a:pt x="1049108" y="401"/>
                  <a:pt x="1062775" y="2083"/>
                  <a:pt x="1076403" y="5213"/>
                </a:cubicBezTo>
                <a:cubicBezTo>
                  <a:pt x="1134632" y="17732"/>
                  <a:pt x="1184189" y="54037"/>
                  <a:pt x="1215162" y="105365"/>
                </a:cubicBezTo>
                <a:cubicBezTo>
                  <a:pt x="1246135" y="156693"/>
                  <a:pt x="1254807" y="218037"/>
                  <a:pt x="1238701" y="275624"/>
                </a:cubicBezTo>
                <a:cubicBezTo>
                  <a:pt x="1220118" y="350739"/>
                  <a:pt x="1161889" y="409578"/>
                  <a:pt x="1088793" y="429609"/>
                </a:cubicBezTo>
                <a:cubicBezTo>
                  <a:pt x="1086315" y="430860"/>
                  <a:pt x="1083837" y="433364"/>
                  <a:pt x="1082598" y="435868"/>
                </a:cubicBezTo>
                <a:lnTo>
                  <a:pt x="1068970" y="492204"/>
                </a:lnTo>
                <a:cubicBezTo>
                  <a:pt x="1066492" y="500967"/>
                  <a:pt x="1060298" y="508479"/>
                  <a:pt x="1052864" y="512234"/>
                </a:cubicBezTo>
                <a:cubicBezTo>
                  <a:pt x="1047908" y="515990"/>
                  <a:pt x="1041714" y="517242"/>
                  <a:pt x="1035519" y="517242"/>
                </a:cubicBezTo>
                <a:cubicBezTo>
                  <a:pt x="1033041" y="517242"/>
                  <a:pt x="1029325" y="515990"/>
                  <a:pt x="1026847" y="515990"/>
                </a:cubicBezTo>
                <a:lnTo>
                  <a:pt x="885610" y="478433"/>
                </a:lnTo>
                <a:cubicBezTo>
                  <a:pt x="876938" y="474677"/>
                  <a:pt x="869504" y="469669"/>
                  <a:pt x="865787" y="462158"/>
                </a:cubicBezTo>
                <a:cubicBezTo>
                  <a:pt x="860832" y="453395"/>
                  <a:pt x="859593" y="444631"/>
                  <a:pt x="862071" y="435868"/>
                </a:cubicBezTo>
                <a:lnTo>
                  <a:pt x="876938" y="379532"/>
                </a:lnTo>
                <a:cubicBezTo>
                  <a:pt x="878176" y="377029"/>
                  <a:pt x="876938" y="373273"/>
                  <a:pt x="874460" y="372021"/>
                </a:cubicBezTo>
                <a:cubicBezTo>
                  <a:pt x="819947" y="314433"/>
                  <a:pt x="800125" y="231808"/>
                  <a:pt x="822425" y="155441"/>
                </a:cubicBezTo>
                <a:cubicBezTo>
                  <a:pt x="851694" y="61236"/>
                  <a:pt x="940723" y="-2299"/>
                  <a:pt x="1035560" y="63"/>
                </a:cubicBezTo>
                <a:close/>
              </a:path>
            </a:pathLst>
          </a:custGeom>
          <a:solidFill>
            <a:schemeClr val="accent1"/>
          </a:solidFill>
          <a:ln>
            <a:noFill/>
          </a:ln>
          <a:effectLst/>
        </p:spPr>
        <p:txBody>
          <a:bodyPr wrap="square" anchor="ctr">
            <a:noAutofit/>
          </a:bodyPr>
          <a:lstStyle/>
          <a:p>
            <a:endParaRPr lang="en-US" dirty="0">
              <a:latin typeface="Poppins" pitchFamily="2" charset="77"/>
            </a:endParaRPr>
          </a:p>
        </p:txBody>
      </p:sp>
      <p:sp>
        <p:nvSpPr>
          <p:cNvPr id="10" name="Freeform 21">
            <a:extLst>
              <a:ext uri="{FF2B5EF4-FFF2-40B4-BE49-F238E27FC236}">
                <a16:creationId xmlns:a16="http://schemas.microsoft.com/office/drawing/2014/main" id="{75BA9F3B-B4D7-F9E1-3EF7-90D9DB55D8FA}"/>
              </a:ext>
            </a:extLst>
          </p:cNvPr>
          <p:cNvSpPr>
            <a:spLocks noChangeArrowheads="1"/>
          </p:cNvSpPr>
          <p:nvPr/>
        </p:nvSpPr>
        <p:spPr bwMode="auto">
          <a:xfrm>
            <a:off x="4146894" y="2325954"/>
            <a:ext cx="498319" cy="652080"/>
          </a:xfrm>
          <a:custGeom>
            <a:avLst/>
            <a:gdLst>
              <a:gd name="connsiteX0" fmla="*/ 508391 w 996637"/>
              <a:gd name="connsiteY0" fmla="*/ 1208469 h 1304159"/>
              <a:gd name="connsiteX1" fmla="*/ 524260 w 996637"/>
              <a:gd name="connsiteY1" fmla="*/ 1224235 h 1304159"/>
              <a:gd name="connsiteX2" fmla="*/ 524260 w 996637"/>
              <a:gd name="connsiteY2" fmla="*/ 1286086 h 1304159"/>
              <a:gd name="connsiteX3" fmla="*/ 508391 w 996637"/>
              <a:gd name="connsiteY3" fmla="*/ 1300639 h 1304159"/>
              <a:gd name="connsiteX4" fmla="*/ 492522 w 996637"/>
              <a:gd name="connsiteY4" fmla="*/ 1286086 h 1304159"/>
              <a:gd name="connsiteX5" fmla="*/ 492522 w 996637"/>
              <a:gd name="connsiteY5" fmla="*/ 1224235 h 1304159"/>
              <a:gd name="connsiteX6" fmla="*/ 508391 w 996637"/>
              <a:gd name="connsiteY6" fmla="*/ 1208469 h 1304159"/>
              <a:gd name="connsiteX7" fmla="*/ 156178 w 996637"/>
              <a:gd name="connsiteY7" fmla="*/ 1208469 h 1304159"/>
              <a:gd name="connsiteX8" fmla="*/ 172657 w 996637"/>
              <a:gd name="connsiteY8" fmla="*/ 1224235 h 1304159"/>
              <a:gd name="connsiteX9" fmla="*/ 172657 w 996637"/>
              <a:gd name="connsiteY9" fmla="*/ 1286086 h 1304159"/>
              <a:gd name="connsiteX10" fmla="*/ 156178 w 996637"/>
              <a:gd name="connsiteY10" fmla="*/ 1300639 h 1304159"/>
              <a:gd name="connsiteX11" fmla="*/ 140966 w 996637"/>
              <a:gd name="connsiteY11" fmla="*/ 1286086 h 1304159"/>
              <a:gd name="connsiteX12" fmla="*/ 140966 w 996637"/>
              <a:gd name="connsiteY12" fmla="*/ 1224235 h 1304159"/>
              <a:gd name="connsiteX13" fmla="*/ 156178 w 996637"/>
              <a:gd name="connsiteY13" fmla="*/ 1208469 h 1304159"/>
              <a:gd name="connsiteX14" fmla="*/ 161450 w 996637"/>
              <a:gd name="connsiteY14" fmla="*/ 1032693 h 1304159"/>
              <a:gd name="connsiteX15" fmla="*/ 511739 w 996637"/>
              <a:gd name="connsiteY15" fmla="*/ 1032693 h 1304159"/>
              <a:gd name="connsiteX16" fmla="*/ 646369 w 996637"/>
              <a:gd name="connsiteY16" fmla="*/ 1177510 h 1304159"/>
              <a:gd name="connsiteX17" fmla="*/ 670054 w 996637"/>
              <a:gd name="connsiteY17" fmla="*/ 1284874 h 1304159"/>
              <a:gd name="connsiteX18" fmla="*/ 657588 w 996637"/>
              <a:gd name="connsiteY18" fmla="*/ 1303600 h 1304159"/>
              <a:gd name="connsiteX19" fmla="*/ 638890 w 996637"/>
              <a:gd name="connsiteY19" fmla="*/ 1292364 h 1304159"/>
              <a:gd name="connsiteX20" fmla="*/ 615205 w 996637"/>
              <a:gd name="connsiteY20" fmla="*/ 1185000 h 1304159"/>
              <a:gd name="connsiteX21" fmla="*/ 511739 w 996637"/>
              <a:gd name="connsiteY21" fmla="*/ 1065152 h 1304159"/>
              <a:gd name="connsiteX22" fmla="*/ 161450 w 996637"/>
              <a:gd name="connsiteY22" fmla="*/ 1065152 h 1304159"/>
              <a:gd name="connsiteX23" fmla="*/ 57984 w 996637"/>
              <a:gd name="connsiteY23" fmla="*/ 1186249 h 1304159"/>
              <a:gd name="connsiteX24" fmla="*/ 31805 w 996637"/>
              <a:gd name="connsiteY24" fmla="*/ 1292364 h 1304159"/>
              <a:gd name="connsiteX25" fmla="*/ 15600 w 996637"/>
              <a:gd name="connsiteY25" fmla="*/ 1303600 h 1304159"/>
              <a:gd name="connsiteX26" fmla="*/ 11860 w 996637"/>
              <a:gd name="connsiteY26" fmla="*/ 1303600 h 1304159"/>
              <a:gd name="connsiteX27" fmla="*/ 641 w 996637"/>
              <a:gd name="connsiteY27" fmla="*/ 1283625 h 1304159"/>
              <a:gd name="connsiteX28" fmla="*/ 26819 w 996637"/>
              <a:gd name="connsiteY28" fmla="*/ 1177510 h 1304159"/>
              <a:gd name="connsiteX29" fmla="*/ 161450 w 996637"/>
              <a:gd name="connsiteY29" fmla="*/ 1032693 h 1304159"/>
              <a:gd name="connsiteX30" fmla="*/ 335348 w 996637"/>
              <a:gd name="connsiteY30" fmla="*/ 723307 h 1304159"/>
              <a:gd name="connsiteX31" fmla="*/ 211854 w 996637"/>
              <a:gd name="connsiteY31" fmla="*/ 848050 h 1304159"/>
              <a:gd name="connsiteX32" fmla="*/ 335348 w 996637"/>
              <a:gd name="connsiteY32" fmla="*/ 971546 h 1304159"/>
              <a:gd name="connsiteX33" fmla="*/ 458842 w 996637"/>
              <a:gd name="connsiteY33" fmla="*/ 848050 h 1304159"/>
              <a:gd name="connsiteX34" fmla="*/ 335348 w 996637"/>
              <a:gd name="connsiteY34" fmla="*/ 723307 h 1304159"/>
              <a:gd name="connsiteX35" fmla="*/ 541333 w 996637"/>
              <a:gd name="connsiteY35" fmla="*/ 714931 h 1304159"/>
              <a:gd name="connsiteX36" fmla="*/ 525063 w 996637"/>
              <a:gd name="connsiteY36" fmla="*/ 731201 h 1304159"/>
              <a:gd name="connsiteX37" fmla="*/ 541333 w 996637"/>
              <a:gd name="connsiteY37" fmla="*/ 746220 h 1304159"/>
              <a:gd name="connsiteX38" fmla="*/ 557604 w 996637"/>
              <a:gd name="connsiteY38" fmla="*/ 731201 h 1304159"/>
              <a:gd name="connsiteX39" fmla="*/ 541333 w 996637"/>
              <a:gd name="connsiteY39" fmla="*/ 714931 h 1304159"/>
              <a:gd name="connsiteX40" fmla="*/ 335348 w 996637"/>
              <a:gd name="connsiteY40" fmla="*/ 692121 h 1304159"/>
              <a:gd name="connsiteX41" fmla="*/ 491275 w 996637"/>
              <a:gd name="connsiteY41" fmla="*/ 848050 h 1304159"/>
              <a:gd name="connsiteX42" fmla="*/ 335348 w 996637"/>
              <a:gd name="connsiteY42" fmla="*/ 1003979 h 1304159"/>
              <a:gd name="connsiteX43" fmla="*/ 179421 w 996637"/>
              <a:gd name="connsiteY43" fmla="*/ 848050 h 1304159"/>
              <a:gd name="connsiteX44" fmla="*/ 335348 w 996637"/>
              <a:gd name="connsiteY44" fmla="*/ 692121 h 1304159"/>
              <a:gd name="connsiteX45" fmla="*/ 541333 w 996637"/>
              <a:gd name="connsiteY45" fmla="*/ 681138 h 1304159"/>
              <a:gd name="connsiteX46" fmla="*/ 590144 w 996637"/>
              <a:gd name="connsiteY46" fmla="*/ 731201 h 1304159"/>
              <a:gd name="connsiteX47" fmla="*/ 541333 w 996637"/>
              <a:gd name="connsiteY47" fmla="*/ 778761 h 1304159"/>
              <a:gd name="connsiteX48" fmla="*/ 492522 w 996637"/>
              <a:gd name="connsiteY48" fmla="*/ 731201 h 1304159"/>
              <a:gd name="connsiteX49" fmla="*/ 541333 w 996637"/>
              <a:gd name="connsiteY49" fmla="*/ 681138 h 1304159"/>
              <a:gd name="connsiteX50" fmla="*/ 544707 w 996637"/>
              <a:gd name="connsiteY50" fmla="*/ 526457 h 1304159"/>
              <a:gd name="connsiteX51" fmla="*/ 492881 w 996637"/>
              <a:gd name="connsiteY51" fmla="*/ 579517 h 1304159"/>
              <a:gd name="connsiteX52" fmla="*/ 544707 w 996637"/>
              <a:gd name="connsiteY52" fmla="*/ 631343 h 1304159"/>
              <a:gd name="connsiteX53" fmla="*/ 596533 w 996637"/>
              <a:gd name="connsiteY53" fmla="*/ 579517 h 1304159"/>
              <a:gd name="connsiteX54" fmla="*/ 544707 w 996637"/>
              <a:gd name="connsiteY54" fmla="*/ 526457 h 1304159"/>
              <a:gd name="connsiteX55" fmla="*/ 544707 w 996637"/>
              <a:gd name="connsiteY55" fmla="*/ 494374 h 1304159"/>
              <a:gd name="connsiteX56" fmla="*/ 628616 w 996637"/>
              <a:gd name="connsiteY56" fmla="*/ 579517 h 1304159"/>
              <a:gd name="connsiteX57" fmla="*/ 544707 w 996637"/>
              <a:gd name="connsiteY57" fmla="*/ 663426 h 1304159"/>
              <a:gd name="connsiteX58" fmla="*/ 459564 w 996637"/>
              <a:gd name="connsiteY58" fmla="*/ 579517 h 1304159"/>
              <a:gd name="connsiteX59" fmla="*/ 544707 w 996637"/>
              <a:gd name="connsiteY59" fmla="*/ 494374 h 1304159"/>
              <a:gd name="connsiteX60" fmla="*/ 728026 w 996637"/>
              <a:gd name="connsiteY60" fmla="*/ 32272 h 1304159"/>
              <a:gd name="connsiteX61" fmla="*/ 637245 w 996637"/>
              <a:gd name="connsiteY61" fmla="*/ 70749 h 1304159"/>
              <a:gd name="connsiteX62" fmla="*/ 616104 w 996637"/>
              <a:gd name="connsiteY62" fmla="*/ 73232 h 1304159"/>
              <a:gd name="connsiteX63" fmla="*/ 543977 w 996637"/>
              <a:gd name="connsiteY63" fmla="*/ 49649 h 1304159"/>
              <a:gd name="connsiteX64" fmla="*/ 461902 w 996637"/>
              <a:gd name="connsiteY64" fmla="*/ 79438 h 1304159"/>
              <a:gd name="connsiteX65" fmla="*/ 439517 w 996637"/>
              <a:gd name="connsiteY65" fmla="*/ 79438 h 1304159"/>
              <a:gd name="connsiteX66" fmla="*/ 353711 w 996637"/>
              <a:gd name="connsiteY66" fmla="*/ 44684 h 1304159"/>
              <a:gd name="connsiteX67" fmla="*/ 274122 w 996637"/>
              <a:gd name="connsiteY67" fmla="*/ 73232 h 1304159"/>
              <a:gd name="connsiteX68" fmla="*/ 255469 w 996637"/>
              <a:gd name="connsiteY68" fmla="*/ 75714 h 1304159"/>
              <a:gd name="connsiteX69" fmla="*/ 198264 w 996637"/>
              <a:gd name="connsiteY69" fmla="*/ 62061 h 1304159"/>
              <a:gd name="connsiteX70" fmla="*/ 177124 w 996637"/>
              <a:gd name="connsiteY70" fmla="*/ 64543 h 1304159"/>
              <a:gd name="connsiteX71" fmla="*/ 72664 w 996637"/>
              <a:gd name="connsiteY71" fmla="*/ 173770 h 1304159"/>
              <a:gd name="connsiteX72" fmla="*/ 92561 w 996637"/>
              <a:gd name="connsiteY72" fmla="*/ 255690 h 1304159"/>
              <a:gd name="connsiteX73" fmla="*/ 93805 w 996637"/>
              <a:gd name="connsiteY73" fmla="*/ 265620 h 1304159"/>
              <a:gd name="connsiteX74" fmla="*/ 93805 w 996637"/>
              <a:gd name="connsiteY74" fmla="*/ 271826 h 1304159"/>
              <a:gd name="connsiteX75" fmla="*/ 143547 w 996637"/>
              <a:gd name="connsiteY75" fmla="*/ 384777 h 1304159"/>
              <a:gd name="connsiteX76" fmla="*/ 163444 w 996637"/>
              <a:gd name="connsiteY76" fmla="*/ 402154 h 1304159"/>
              <a:gd name="connsiteX77" fmla="*/ 254225 w 996637"/>
              <a:gd name="connsiteY77" fmla="*/ 430701 h 1304159"/>
              <a:gd name="connsiteX78" fmla="*/ 307699 w 996637"/>
              <a:gd name="connsiteY78" fmla="*/ 430701 h 1304159"/>
              <a:gd name="connsiteX79" fmla="*/ 320134 w 996637"/>
              <a:gd name="connsiteY79" fmla="*/ 436908 h 1304159"/>
              <a:gd name="connsiteX80" fmla="*/ 418377 w 996637"/>
              <a:gd name="connsiteY80" fmla="*/ 482832 h 1304159"/>
              <a:gd name="connsiteX81" fmla="*/ 509157 w 996637"/>
              <a:gd name="connsiteY81" fmla="*/ 444355 h 1304159"/>
              <a:gd name="connsiteX82" fmla="*/ 542734 w 996637"/>
              <a:gd name="connsiteY82" fmla="*/ 430701 h 1304159"/>
              <a:gd name="connsiteX83" fmla="*/ 572579 w 996637"/>
              <a:gd name="connsiteY83" fmla="*/ 441872 h 1304159"/>
              <a:gd name="connsiteX84" fmla="*/ 652168 w 996637"/>
              <a:gd name="connsiteY84" fmla="*/ 470420 h 1304159"/>
              <a:gd name="connsiteX85" fmla="*/ 713103 w 996637"/>
              <a:gd name="connsiteY85" fmla="*/ 455526 h 1304159"/>
              <a:gd name="connsiteX86" fmla="*/ 754141 w 996637"/>
              <a:gd name="connsiteY86" fmla="*/ 450561 h 1304159"/>
              <a:gd name="connsiteX87" fmla="*/ 795179 w 996637"/>
              <a:gd name="connsiteY87" fmla="*/ 458008 h 1304159"/>
              <a:gd name="connsiteX88" fmla="*/ 922023 w 996637"/>
              <a:gd name="connsiteY88" fmla="*/ 331404 h 1304159"/>
              <a:gd name="connsiteX89" fmla="*/ 922023 w 996637"/>
              <a:gd name="connsiteY89" fmla="*/ 327681 h 1304159"/>
              <a:gd name="connsiteX90" fmla="*/ 922023 w 996637"/>
              <a:gd name="connsiteY90" fmla="*/ 325198 h 1304159"/>
              <a:gd name="connsiteX91" fmla="*/ 925754 w 996637"/>
              <a:gd name="connsiteY91" fmla="*/ 312786 h 1304159"/>
              <a:gd name="connsiteX92" fmla="*/ 963061 w 996637"/>
              <a:gd name="connsiteY92" fmla="*/ 223419 h 1304159"/>
              <a:gd name="connsiteX93" fmla="*/ 846165 w 996637"/>
              <a:gd name="connsiteY93" fmla="*/ 96815 h 1304159"/>
              <a:gd name="connsiteX94" fmla="*/ 833729 w 996637"/>
              <a:gd name="connsiteY94" fmla="*/ 89368 h 1304159"/>
              <a:gd name="connsiteX95" fmla="*/ 728026 w 996637"/>
              <a:gd name="connsiteY95" fmla="*/ 32272 h 1304159"/>
              <a:gd name="connsiteX96" fmla="*/ 728026 w 996637"/>
              <a:gd name="connsiteY96" fmla="*/ 0 h 1304159"/>
              <a:gd name="connsiteX97" fmla="*/ 857357 w 996637"/>
              <a:gd name="connsiteY97" fmla="*/ 65785 h 1304159"/>
              <a:gd name="connsiteX98" fmla="*/ 996637 w 996637"/>
              <a:gd name="connsiteY98" fmla="*/ 223419 h 1304159"/>
              <a:gd name="connsiteX99" fmla="*/ 954356 w 996637"/>
              <a:gd name="connsiteY99" fmla="*/ 330163 h 1304159"/>
              <a:gd name="connsiteX100" fmla="*/ 954356 w 996637"/>
              <a:gd name="connsiteY100" fmla="*/ 331404 h 1304159"/>
              <a:gd name="connsiteX101" fmla="*/ 795179 w 996637"/>
              <a:gd name="connsiteY101" fmla="*/ 490280 h 1304159"/>
              <a:gd name="connsiteX102" fmla="*/ 744192 w 996637"/>
              <a:gd name="connsiteY102" fmla="*/ 481591 h 1304159"/>
              <a:gd name="connsiteX103" fmla="*/ 728026 w 996637"/>
              <a:gd name="connsiteY103" fmla="*/ 482832 h 1304159"/>
              <a:gd name="connsiteX104" fmla="*/ 652168 w 996637"/>
              <a:gd name="connsiteY104" fmla="*/ 502692 h 1304159"/>
              <a:gd name="connsiteX105" fmla="*/ 551439 w 996637"/>
              <a:gd name="connsiteY105" fmla="*/ 466697 h 1304159"/>
              <a:gd name="connsiteX106" fmla="*/ 531542 w 996637"/>
              <a:gd name="connsiteY106" fmla="*/ 466697 h 1304159"/>
              <a:gd name="connsiteX107" fmla="*/ 418377 w 996637"/>
              <a:gd name="connsiteY107" fmla="*/ 515104 h 1304159"/>
              <a:gd name="connsiteX108" fmla="*/ 300237 w 996637"/>
              <a:gd name="connsiteY108" fmla="*/ 462973 h 1304159"/>
              <a:gd name="connsiteX109" fmla="*/ 254225 w 996637"/>
              <a:gd name="connsiteY109" fmla="*/ 462973 h 1304159"/>
              <a:gd name="connsiteX110" fmla="*/ 144791 w 996637"/>
              <a:gd name="connsiteY110" fmla="*/ 429460 h 1304159"/>
              <a:gd name="connsiteX111" fmla="*/ 119919 w 996637"/>
              <a:gd name="connsiteY111" fmla="*/ 408360 h 1304159"/>
              <a:gd name="connsiteX112" fmla="*/ 61472 w 996637"/>
              <a:gd name="connsiteY112" fmla="*/ 271826 h 1304159"/>
              <a:gd name="connsiteX113" fmla="*/ 61472 w 996637"/>
              <a:gd name="connsiteY113" fmla="*/ 269344 h 1304159"/>
              <a:gd name="connsiteX114" fmla="*/ 40331 w 996637"/>
              <a:gd name="connsiteY114" fmla="*/ 170047 h 1304159"/>
              <a:gd name="connsiteX115" fmla="*/ 172149 w 996637"/>
              <a:gd name="connsiteY115" fmla="*/ 32272 h 1304159"/>
              <a:gd name="connsiteX116" fmla="*/ 260443 w 996637"/>
              <a:gd name="connsiteY116" fmla="*/ 43443 h 1304159"/>
              <a:gd name="connsiteX117" fmla="*/ 353711 w 996637"/>
              <a:gd name="connsiteY117" fmla="*/ 12412 h 1304159"/>
              <a:gd name="connsiteX118" fmla="*/ 451953 w 996637"/>
              <a:gd name="connsiteY118" fmla="*/ 45925 h 1304159"/>
              <a:gd name="connsiteX119" fmla="*/ 543977 w 996637"/>
              <a:gd name="connsiteY119" fmla="*/ 17377 h 1304159"/>
              <a:gd name="connsiteX120" fmla="*/ 624809 w 996637"/>
              <a:gd name="connsiteY120" fmla="*/ 39719 h 1304159"/>
              <a:gd name="connsiteX121" fmla="*/ 728026 w 996637"/>
              <a:gd name="connsiteY121" fmla="*/ 0 h 130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96637" h="1304159">
                <a:moveTo>
                  <a:pt x="508391" y="1208469"/>
                </a:moveTo>
                <a:cubicBezTo>
                  <a:pt x="516936" y="1208469"/>
                  <a:pt x="524260" y="1214533"/>
                  <a:pt x="524260" y="1224235"/>
                </a:cubicBezTo>
                <a:lnTo>
                  <a:pt x="524260" y="1286086"/>
                </a:lnTo>
                <a:cubicBezTo>
                  <a:pt x="524260" y="1294576"/>
                  <a:pt x="516936" y="1300639"/>
                  <a:pt x="508391" y="1300639"/>
                </a:cubicBezTo>
                <a:cubicBezTo>
                  <a:pt x="499846" y="1300639"/>
                  <a:pt x="492522" y="1294576"/>
                  <a:pt x="492522" y="1286086"/>
                </a:cubicBezTo>
                <a:lnTo>
                  <a:pt x="492522" y="1224235"/>
                </a:lnTo>
                <a:cubicBezTo>
                  <a:pt x="492522" y="1214533"/>
                  <a:pt x="499846" y="1208469"/>
                  <a:pt x="508391" y="1208469"/>
                </a:cubicBezTo>
                <a:close/>
                <a:moveTo>
                  <a:pt x="156178" y="1208469"/>
                </a:moveTo>
                <a:cubicBezTo>
                  <a:pt x="166319" y="1208469"/>
                  <a:pt x="172657" y="1214533"/>
                  <a:pt x="172657" y="1224235"/>
                </a:cubicBezTo>
                <a:lnTo>
                  <a:pt x="172657" y="1286086"/>
                </a:lnTo>
                <a:cubicBezTo>
                  <a:pt x="172657" y="1294576"/>
                  <a:pt x="166319" y="1300639"/>
                  <a:pt x="156178" y="1300639"/>
                </a:cubicBezTo>
                <a:cubicBezTo>
                  <a:pt x="147304" y="1300639"/>
                  <a:pt x="140966" y="1294576"/>
                  <a:pt x="140966" y="1286086"/>
                </a:cubicBezTo>
                <a:lnTo>
                  <a:pt x="140966" y="1224235"/>
                </a:lnTo>
                <a:cubicBezTo>
                  <a:pt x="140966" y="1214533"/>
                  <a:pt x="147304" y="1208469"/>
                  <a:pt x="156178" y="1208469"/>
                </a:cubicBezTo>
                <a:close/>
                <a:moveTo>
                  <a:pt x="161450" y="1032693"/>
                </a:moveTo>
                <a:lnTo>
                  <a:pt x="511739" y="1032693"/>
                </a:lnTo>
                <a:cubicBezTo>
                  <a:pt x="590273" y="1032693"/>
                  <a:pt x="612712" y="1057662"/>
                  <a:pt x="646369" y="1177510"/>
                </a:cubicBezTo>
                <a:lnTo>
                  <a:pt x="670054" y="1284874"/>
                </a:lnTo>
                <a:cubicBezTo>
                  <a:pt x="672547" y="1293613"/>
                  <a:pt x="666315" y="1302352"/>
                  <a:pt x="657588" y="1303600"/>
                </a:cubicBezTo>
                <a:cubicBezTo>
                  <a:pt x="648862" y="1306097"/>
                  <a:pt x="640136" y="1299855"/>
                  <a:pt x="638890" y="1292364"/>
                </a:cubicBezTo>
                <a:lnTo>
                  <a:pt x="615205" y="1185000"/>
                </a:lnTo>
                <a:cubicBezTo>
                  <a:pt x="582794" y="1070146"/>
                  <a:pt x="566588" y="1065152"/>
                  <a:pt x="511739" y="1065152"/>
                </a:cubicBezTo>
                <a:lnTo>
                  <a:pt x="161450" y="1065152"/>
                </a:lnTo>
                <a:cubicBezTo>
                  <a:pt x="106600" y="1065152"/>
                  <a:pt x="90395" y="1070146"/>
                  <a:pt x="57984" y="1186249"/>
                </a:cubicBezTo>
                <a:lnTo>
                  <a:pt x="31805" y="1292364"/>
                </a:lnTo>
                <a:cubicBezTo>
                  <a:pt x="29312" y="1299855"/>
                  <a:pt x="23079" y="1303600"/>
                  <a:pt x="15600" y="1303600"/>
                </a:cubicBezTo>
                <a:cubicBezTo>
                  <a:pt x="14353" y="1303600"/>
                  <a:pt x="13107" y="1303600"/>
                  <a:pt x="11860" y="1303600"/>
                </a:cubicBezTo>
                <a:cubicBezTo>
                  <a:pt x="3134" y="1302352"/>
                  <a:pt x="-1852" y="1292364"/>
                  <a:pt x="641" y="1283625"/>
                </a:cubicBezTo>
                <a:lnTo>
                  <a:pt x="26819" y="1177510"/>
                </a:lnTo>
                <a:cubicBezTo>
                  <a:pt x="60477" y="1057662"/>
                  <a:pt x="84162" y="1032693"/>
                  <a:pt x="161450" y="1032693"/>
                </a:cubicBezTo>
                <a:close/>
                <a:moveTo>
                  <a:pt x="335348" y="723307"/>
                </a:moveTo>
                <a:cubicBezTo>
                  <a:pt x="267987" y="723307"/>
                  <a:pt x="211854" y="779441"/>
                  <a:pt x="211854" y="848050"/>
                </a:cubicBezTo>
                <a:cubicBezTo>
                  <a:pt x="211854" y="915411"/>
                  <a:pt x="267987" y="971546"/>
                  <a:pt x="335348" y="971546"/>
                </a:cubicBezTo>
                <a:cubicBezTo>
                  <a:pt x="403956" y="971546"/>
                  <a:pt x="458842" y="915411"/>
                  <a:pt x="458842" y="848050"/>
                </a:cubicBezTo>
                <a:cubicBezTo>
                  <a:pt x="458842" y="779441"/>
                  <a:pt x="403956" y="723307"/>
                  <a:pt x="335348" y="723307"/>
                </a:cubicBezTo>
                <a:close/>
                <a:moveTo>
                  <a:pt x="541333" y="714931"/>
                </a:moveTo>
                <a:cubicBezTo>
                  <a:pt x="531321" y="714931"/>
                  <a:pt x="525063" y="721188"/>
                  <a:pt x="525063" y="731201"/>
                </a:cubicBezTo>
                <a:cubicBezTo>
                  <a:pt x="525063" y="738710"/>
                  <a:pt x="531321" y="746220"/>
                  <a:pt x="541333" y="746220"/>
                </a:cubicBezTo>
                <a:cubicBezTo>
                  <a:pt x="550094" y="746220"/>
                  <a:pt x="557604" y="738710"/>
                  <a:pt x="557604" y="731201"/>
                </a:cubicBezTo>
                <a:cubicBezTo>
                  <a:pt x="557604" y="721188"/>
                  <a:pt x="550094" y="714931"/>
                  <a:pt x="541333" y="714931"/>
                </a:cubicBezTo>
                <a:close/>
                <a:moveTo>
                  <a:pt x="335348" y="692121"/>
                </a:moveTo>
                <a:cubicBezTo>
                  <a:pt x="421419" y="692121"/>
                  <a:pt x="491275" y="761977"/>
                  <a:pt x="491275" y="848050"/>
                </a:cubicBezTo>
                <a:cubicBezTo>
                  <a:pt x="491275" y="934123"/>
                  <a:pt x="421419" y="1003979"/>
                  <a:pt x="335348" y="1003979"/>
                </a:cubicBezTo>
                <a:cubicBezTo>
                  <a:pt x="249276" y="1003979"/>
                  <a:pt x="179421" y="934123"/>
                  <a:pt x="179421" y="848050"/>
                </a:cubicBezTo>
                <a:cubicBezTo>
                  <a:pt x="179421" y="761977"/>
                  <a:pt x="249276" y="692121"/>
                  <a:pt x="335348" y="692121"/>
                </a:cubicBezTo>
                <a:close/>
                <a:moveTo>
                  <a:pt x="541333" y="681138"/>
                </a:moveTo>
                <a:cubicBezTo>
                  <a:pt x="567616" y="681138"/>
                  <a:pt x="590144" y="703667"/>
                  <a:pt x="590144" y="731201"/>
                </a:cubicBezTo>
                <a:cubicBezTo>
                  <a:pt x="590144" y="757484"/>
                  <a:pt x="567616" y="778761"/>
                  <a:pt x="541333" y="778761"/>
                </a:cubicBezTo>
                <a:cubicBezTo>
                  <a:pt x="513799" y="778761"/>
                  <a:pt x="492522" y="757484"/>
                  <a:pt x="492522" y="731201"/>
                </a:cubicBezTo>
                <a:cubicBezTo>
                  <a:pt x="492522" y="703667"/>
                  <a:pt x="513799" y="681138"/>
                  <a:pt x="541333" y="681138"/>
                </a:cubicBezTo>
                <a:close/>
                <a:moveTo>
                  <a:pt x="544707" y="526457"/>
                </a:moveTo>
                <a:cubicBezTo>
                  <a:pt x="516326" y="526457"/>
                  <a:pt x="492881" y="549902"/>
                  <a:pt x="492881" y="579517"/>
                </a:cubicBezTo>
                <a:cubicBezTo>
                  <a:pt x="492881" y="607898"/>
                  <a:pt x="516326" y="631343"/>
                  <a:pt x="544707" y="631343"/>
                </a:cubicBezTo>
                <a:cubicBezTo>
                  <a:pt x="573088" y="631343"/>
                  <a:pt x="596533" y="607898"/>
                  <a:pt x="596533" y="579517"/>
                </a:cubicBezTo>
                <a:cubicBezTo>
                  <a:pt x="596533" y="549902"/>
                  <a:pt x="573088" y="526457"/>
                  <a:pt x="544707" y="526457"/>
                </a:cubicBezTo>
                <a:close/>
                <a:moveTo>
                  <a:pt x="544707" y="494374"/>
                </a:moveTo>
                <a:cubicBezTo>
                  <a:pt x="591597" y="494374"/>
                  <a:pt x="628616" y="532627"/>
                  <a:pt x="628616" y="579517"/>
                </a:cubicBezTo>
                <a:cubicBezTo>
                  <a:pt x="628616" y="626408"/>
                  <a:pt x="591597" y="663426"/>
                  <a:pt x="544707" y="663426"/>
                </a:cubicBezTo>
                <a:cubicBezTo>
                  <a:pt x="497817" y="663426"/>
                  <a:pt x="459564" y="626408"/>
                  <a:pt x="459564" y="579517"/>
                </a:cubicBezTo>
                <a:cubicBezTo>
                  <a:pt x="459564" y="532627"/>
                  <a:pt x="497817" y="494374"/>
                  <a:pt x="544707" y="494374"/>
                </a:cubicBezTo>
                <a:close/>
                <a:moveTo>
                  <a:pt x="728026" y="32272"/>
                </a:moveTo>
                <a:cubicBezTo>
                  <a:pt x="694449" y="32272"/>
                  <a:pt x="660873" y="45925"/>
                  <a:pt x="637245" y="70749"/>
                </a:cubicBezTo>
                <a:cubicBezTo>
                  <a:pt x="632271" y="76956"/>
                  <a:pt x="622322" y="78197"/>
                  <a:pt x="616104" y="73232"/>
                </a:cubicBezTo>
                <a:cubicBezTo>
                  <a:pt x="594964" y="58337"/>
                  <a:pt x="570092" y="49649"/>
                  <a:pt x="543977" y="49649"/>
                </a:cubicBezTo>
                <a:cubicBezTo>
                  <a:pt x="514132" y="49649"/>
                  <a:pt x="485529" y="59579"/>
                  <a:pt x="461902" y="79438"/>
                </a:cubicBezTo>
                <a:cubicBezTo>
                  <a:pt x="455684" y="85644"/>
                  <a:pt x="445735" y="84403"/>
                  <a:pt x="439517" y="79438"/>
                </a:cubicBezTo>
                <a:cubicBezTo>
                  <a:pt x="417133" y="57096"/>
                  <a:pt x="386044" y="44684"/>
                  <a:pt x="353711" y="44684"/>
                </a:cubicBezTo>
                <a:cubicBezTo>
                  <a:pt x="325109" y="44684"/>
                  <a:pt x="295263" y="54614"/>
                  <a:pt x="274122" y="73232"/>
                </a:cubicBezTo>
                <a:cubicBezTo>
                  <a:pt x="267904" y="78197"/>
                  <a:pt x="261687" y="78197"/>
                  <a:pt x="255469" y="75714"/>
                </a:cubicBezTo>
                <a:cubicBezTo>
                  <a:pt x="238059" y="67026"/>
                  <a:pt x="218161" y="62061"/>
                  <a:pt x="198264" y="62061"/>
                </a:cubicBezTo>
                <a:cubicBezTo>
                  <a:pt x="192046" y="62061"/>
                  <a:pt x="184585" y="62061"/>
                  <a:pt x="177124" y="64543"/>
                </a:cubicBezTo>
                <a:cubicBezTo>
                  <a:pt x="122406" y="73232"/>
                  <a:pt x="78882" y="117916"/>
                  <a:pt x="72664" y="173770"/>
                </a:cubicBezTo>
                <a:cubicBezTo>
                  <a:pt x="68933" y="202318"/>
                  <a:pt x="75151" y="232107"/>
                  <a:pt x="92561" y="255690"/>
                </a:cubicBezTo>
                <a:cubicBezTo>
                  <a:pt x="93805" y="259414"/>
                  <a:pt x="93805" y="261896"/>
                  <a:pt x="93805" y="265620"/>
                </a:cubicBezTo>
                <a:lnTo>
                  <a:pt x="93805" y="271826"/>
                </a:lnTo>
                <a:cubicBezTo>
                  <a:pt x="93805" y="314027"/>
                  <a:pt x="111214" y="354987"/>
                  <a:pt x="143547" y="384777"/>
                </a:cubicBezTo>
                <a:cubicBezTo>
                  <a:pt x="148521" y="392224"/>
                  <a:pt x="155983" y="397189"/>
                  <a:pt x="163444" y="402154"/>
                </a:cubicBezTo>
                <a:cubicBezTo>
                  <a:pt x="190803" y="420772"/>
                  <a:pt x="221892" y="430701"/>
                  <a:pt x="254225" y="430701"/>
                </a:cubicBezTo>
                <a:lnTo>
                  <a:pt x="307699" y="430701"/>
                </a:lnTo>
                <a:cubicBezTo>
                  <a:pt x="312673" y="430701"/>
                  <a:pt x="316404" y="433184"/>
                  <a:pt x="320134" y="436908"/>
                </a:cubicBezTo>
                <a:cubicBezTo>
                  <a:pt x="345006" y="465455"/>
                  <a:pt x="379826" y="482832"/>
                  <a:pt x="418377" y="482832"/>
                </a:cubicBezTo>
                <a:cubicBezTo>
                  <a:pt x="451953" y="482832"/>
                  <a:pt x="484286" y="469179"/>
                  <a:pt x="509157" y="444355"/>
                </a:cubicBezTo>
                <a:cubicBezTo>
                  <a:pt x="516619" y="435666"/>
                  <a:pt x="529054" y="430701"/>
                  <a:pt x="542734" y="430701"/>
                </a:cubicBezTo>
                <a:cubicBezTo>
                  <a:pt x="552682" y="430701"/>
                  <a:pt x="563874" y="434425"/>
                  <a:pt x="572579" y="441872"/>
                </a:cubicBezTo>
                <a:cubicBezTo>
                  <a:pt x="594964" y="459249"/>
                  <a:pt x="622322" y="470420"/>
                  <a:pt x="652168" y="470420"/>
                </a:cubicBezTo>
                <a:cubicBezTo>
                  <a:pt x="673309" y="470420"/>
                  <a:pt x="694449" y="464214"/>
                  <a:pt x="713103" y="455526"/>
                </a:cubicBezTo>
                <a:cubicBezTo>
                  <a:pt x="725539" y="446837"/>
                  <a:pt x="740462" y="446837"/>
                  <a:pt x="754141" y="450561"/>
                </a:cubicBezTo>
                <a:cubicBezTo>
                  <a:pt x="767820" y="455526"/>
                  <a:pt x="781499" y="458008"/>
                  <a:pt x="795179" y="458008"/>
                </a:cubicBezTo>
                <a:cubicBezTo>
                  <a:pt x="866062" y="458008"/>
                  <a:pt x="922023" y="400912"/>
                  <a:pt x="922023" y="331404"/>
                </a:cubicBezTo>
                <a:cubicBezTo>
                  <a:pt x="922023" y="330163"/>
                  <a:pt x="922023" y="328922"/>
                  <a:pt x="922023" y="327681"/>
                </a:cubicBezTo>
                <a:lnTo>
                  <a:pt x="922023" y="325198"/>
                </a:lnTo>
                <a:cubicBezTo>
                  <a:pt x="922023" y="320233"/>
                  <a:pt x="923267" y="316510"/>
                  <a:pt x="925754" y="312786"/>
                </a:cubicBezTo>
                <a:cubicBezTo>
                  <a:pt x="950625" y="289203"/>
                  <a:pt x="963061" y="256932"/>
                  <a:pt x="963061" y="223419"/>
                </a:cubicBezTo>
                <a:cubicBezTo>
                  <a:pt x="963061" y="157634"/>
                  <a:pt x="912075" y="101780"/>
                  <a:pt x="846165" y="96815"/>
                </a:cubicBezTo>
                <a:cubicBezTo>
                  <a:pt x="842435" y="96815"/>
                  <a:pt x="837460" y="93091"/>
                  <a:pt x="833729" y="89368"/>
                </a:cubicBezTo>
                <a:cubicBezTo>
                  <a:pt x="810102" y="54614"/>
                  <a:pt x="771551" y="32272"/>
                  <a:pt x="728026" y="32272"/>
                </a:cubicBezTo>
                <a:close/>
                <a:moveTo>
                  <a:pt x="728026" y="0"/>
                </a:moveTo>
                <a:cubicBezTo>
                  <a:pt x="779012" y="0"/>
                  <a:pt x="826268" y="24825"/>
                  <a:pt x="857357" y="65785"/>
                </a:cubicBezTo>
                <a:cubicBezTo>
                  <a:pt x="935702" y="75714"/>
                  <a:pt x="996637" y="142740"/>
                  <a:pt x="996637" y="223419"/>
                </a:cubicBezTo>
                <a:cubicBezTo>
                  <a:pt x="996637" y="263138"/>
                  <a:pt x="980471" y="300374"/>
                  <a:pt x="954356" y="330163"/>
                </a:cubicBezTo>
                <a:lnTo>
                  <a:pt x="954356" y="331404"/>
                </a:lnTo>
                <a:cubicBezTo>
                  <a:pt x="954356" y="419531"/>
                  <a:pt x="882229" y="490280"/>
                  <a:pt x="795179" y="490280"/>
                </a:cubicBezTo>
                <a:cubicBezTo>
                  <a:pt x="777769" y="490280"/>
                  <a:pt x="760359" y="487797"/>
                  <a:pt x="744192" y="481591"/>
                </a:cubicBezTo>
                <a:cubicBezTo>
                  <a:pt x="739218" y="480350"/>
                  <a:pt x="733000" y="480350"/>
                  <a:pt x="728026" y="482832"/>
                </a:cubicBezTo>
                <a:cubicBezTo>
                  <a:pt x="704398" y="496486"/>
                  <a:pt x="679527" y="502692"/>
                  <a:pt x="652168" y="502692"/>
                </a:cubicBezTo>
                <a:cubicBezTo>
                  <a:pt x="614861" y="502692"/>
                  <a:pt x="580041" y="490280"/>
                  <a:pt x="551439" y="466697"/>
                </a:cubicBezTo>
                <a:cubicBezTo>
                  <a:pt x="546464" y="461732"/>
                  <a:pt x="536516" y="462973"/>
                  <a:pt x="531542" y="466697"/>
                </a:cubicBezTo>
                <a:cubicBezTo>
                  <a:pt x="501696" y="497727"/>
                  <a:pt x="460658" y="515104"/>
                  <a:pt x="418377" y="515104"/>
                </a:cubicBezTo>
                <a:cubicBezTo>
                  <a:pt x="373608" y="515104"/>
                  <a:pt x="331327" y="496486"/>
                  <a:pt x="300237" y="462973"/>
                </a:cubicBezTo>
                <a:lnTo>
                  <a:pt x="254225" y="462973"/>
                </a:lnTo>
                <a:cubicBezTo>
                  <a:pt x="215674" y="462973"/>
                  <a:pt x="178367" y="450561"/>
                  <a:pt x="144791" y="429460"/>
                </a:cubicBezTo>
                <a:cubicBezTo>
                  <a:pt x="136086" y="423254"/>
                  <a:pt x="127381" y="415807"/>
                  <a:pt x="119919" y="408360"/>
                </a:cubicBezTo>
                <a:cubicBezTo>
                  <a:pt x="82612" y="372364"/>
                  <a:pt x="61472" y="322716"/>
                  <a:pt x="61472" y="271826"/>
                </a:cubicBezTo>
                <a:lnTo>
                  <a:pt x="61472" y="269344"/>
                </a:lnTo>
                <a:cubicBezTo>
                  <a:pt x="44062" y="239555"/>
                  <a:pt x="36600" y="204801"/>
                  <a:pt x="40331" y="170047"/>
                </a:cubicBezTo>
                <a:cubicBezTo>
                  <a:pt x="49036" y="100539"/>
                  <a:pt x="102509" y="43443"/>
                  <a:pt x="172149" y="32272"/>
                </a:cubicBezTo>
                <a:cubicBezTo>
                  <a:pt x="201995" y="27307"/>
                  <a:pt x="233084" y="31031"/>
                  <a:pt x="260443" y="43443"/>
                </a:cubicBezTo>
                <a:cubicBezTo>
                  <a:pt x="287801" y="23583"/>
                  <a:pt x="321378" y="12412"/>
                  <a:pt x="353711" y="12412"/>
                </a:cubicBezTo>
                <a:cubicBezTo>
                  <a:pt x="389774" y="12412"/>
                  <a:pt x="424594" y="24825"/>
                  <a:pt x="451953" y="45925"/>
                </a:cubicBezTo>
                <a:cubicBezTo>
                  <a:pt x="479312" y="27307"/>
                  <a:pt x="510401" y="17377"/>
                  <a:pt x="543977" y="17377"/>
                </a:cubicBezTo>
                <a:cubicBezTo>
                  <a:pt x="572579" y="17377"/>
                  <a:pt x="599938" y="24825"/>
                  <a:pt x="624809" y="39719"/>
                </a:cubicBezTo>
                <a:cubicBezTo>
                  <a:pt x="653412" y="13654"/>
                  <a:pt x="689475" y="0"/>
                  <a:pt x="728026" y="0"/>
                </a:cubicBezTo>
                <a:close/>
              </a:path>
            </a:pathLst>
          </a:custGeom>
          <a:solidFill>
            <a:schemeClr val="tx2"/>
          </a:solidFill>
          <a:ln>
            <a:noFill/>
          </a:ln>
          <a:effectLst/>
        </p:spPr>
        <p:txBody>
          <a:bodyPr wrap="square" anchor="ctr">
            <a:noAutofit/>
          </a:bodyPr>
          <a:lstStyle/>
          <a:p>
            <a:endParaRPr lang="en-US" dirty="0">
              <a:latin typeface="Poppins" pitchFamily="2" charset="77"/>
            </a:endParaRPr>
          </a:p>
        </p:txBody>
      </p:sp>
      <p:sp>
        <p:nvSpPr>
          <p:cNvPr id="11" name="Freeform 22">
            <a:extLst>
              <a:ext uri="{FF2B5EF4-FFF2-40B4-BE49-F238E27FC236}">
                <a16:creationId xmlns:a16="http://schemas.microsoft.com/office/drawing/2014/main" id="{0F20C673-F0C8-CF17-B1EA-3F1A2C335BF1}"/>
              </a:ext>
            </a:extLst>
          </p:cNvPr>
          <p:cNvSpPr>
            <a:spLocks noChangeArrowheads="1"/>
          </p:cNvSpPr>
          <p:nvPr/>
        </p:nvSpPr>
        <p:spPr bwMode="auto">
          <a:xfrm>
            <a:off x="5752684" y="2323207"/>
            <a:ext cx="691504" cy="655796"/>
          </a:xfrm>
          <a:custGeom>
            <a:avLst/>
            <a:gdLst>
              <a:gd name="connsiteX0" fmla="*/ 1194496 w 1383008"/>
              <a:gd name="connsiteY0" fmla="*/ 1134799 h 1311591"/>
              <a:gd name="connsiteX1" fmla="*/ 1172097 w 1383008"/>
              <a:gd name="connsiteY1" fmla="*/ 1138534 h 1311591"/>
              <a:gd name="connsiteX2" fmla="*/ 946861 w 1383008"/>
              <a:gd name="connsiteY2" fmla="*/ 1138534 h 1311591"/>
              <a:gd name="connsiteX3" fmla="*/ 958061 w 1383008"/>
              <a:gd name="connsiteY3" fmla="*/ 1220705 h 1311591"/>
              <a:gd name="connsiteX4" fmla="*/ 1145965 w 1383008"/>
              <a:gd name="connsiteY4" fmla="*/ 1220705 h 1311591"/>
              <a:gd name="connsiteX5" fmla="*/ 1194496 w 1383008"/>
              <a:gd name="connsiteY5" fmla="*/ 1184600 h 1311591"/>
              <a:gd name="connsiteX6" fmla="*/ 186534 w 1383008"/>
              <a:gd name="connsiteY6" fmla="*/ 1134799 h 1311591"/>
              <a:gd name="connsiteX7" fmla="*/ 186534 w 1383008"/>
              <a:gd name="connsiteY7" fmla="*/ 1184600 h 1311591"/>
              <a:gd name="connsiteX8" fmla="*/ 232577 w 1383008"/>
              <a:gd name="connsiteY8" fmla="*/ 1220705 h 1311591"/>
              <a:gd name="connsiteX9" fmla="*/ 430436 w 1383008"/>
              <a:gd name="connsiteY9" fmla="*/ 1220705 h 1311591"/>
              <a:gd name="connsiteX10" fmla="*/ 444124 w 1383008"/>
              <a:gd name="connsiteY10" fmla="*/ 1138534 h 1311591"/>
              <a:gd name="connsiteX11" fmla="*/ 207689 w 1383008"/>
              <a:gd name="connsiteY11" fmla="*/ 1138534 h 1311591"/>
              <a:gd name="connsiteX12" fmla="*/ 186534 w 1383008"/>
              <a:gd name="connsiteY12" fmla="*/ 1134799 h 1311591"/>
              <a:gd name="connsiteX13" fmla="*/ 687874 w 1383008"/>
              <a:gd name="connsiteY13" fmla="*/ 729840 h 1311591"/>
              <a:gd name="connsiteX14" fmla="*/ 599420 w 1383008"/>
              <a:gd name="connsiteY14" fmla="*/ 816602 h 1311591"/>
              <a:gd name="connsiteX15" fmla="*/ 687874 w 1383008"/>
              <a:gd name="connsiteY15" fmla="*/ 904603 h 1311591"/>
              <a:gd name="connsiteX16" fmla="*/ 773837 w 1383008"/>
              <a:gd name="connsiteY16" fmla="*/ 816602 h 1311591"/>
              <a:gd name="connsiteX17" fmla="*/ 687874 w 1383008"/>
              <a:gd name="connsiteY17" fmla="*/ 729840 h 1311591"/>
              <a:gd name="connsiteX18" fmla="*/ 687874 w 1383008"/>
              <a:gd name="connsiteY18" fmla="*/ 697614 h 1311591"/>
              <a:gd name="connsiteX19" fmla="*/ 806229 w 1383008"/>
              <a:gd name="connsiteY19" fmla="*/ 816602 h 1311591"/>
              <a:gd name="connsiteX20" fmla="*/ 687874 w 1383008"/>
              <a:gd name="connsiteY20" fmla="*/ 938068 h 1311591"/>
              <a:gd name="connsiteX21" fmla="*/ 565782 w 1383008"/>
              <a:gd name="connsiteY21" fmla="*/ 816602 h 1311591"/>
              <a:gd name="connsiteX22" fmla="*/ 687874 w 1383008"/>
              <a:gd name="connsiteY22" fmla="*/ 697614 h 1311591"/>
              <a:gd name="connsiteX23" fmla="*/ 665925 w 1383008"/>
              <a:gd name="connsiteY23" fmla="*/ 571278 h 1311591"/>
              <a:gd name="connsiteX24" fmla="*/ 712826 w 1383008"/>
              <a:gd name="connsiteY24" fmla="*/ 571278 h 1311591"/>
              <a:gd name="connsiteX25" fmla="*/ 729305 w 1383008"/>
              <a:gd name="connsiteY25" fmla="*/ 587147 h 1311591"/>
              <a:gd name="connsiteX26" fmla="*/ 712826 w 1383008"/>
              <a:gd name="connsiteY26" fmla="*/ 603017 h 1311591"/>
              <a:gd name="connsiteX27" fmla="*/ 665925 w 1383008"/>
              <a:gd name="connsiteY27" fmla="*/ 603017 h 1311591"/>
              <a:gd name="connsiteX28" fmla="*/ 648178 w 1383008"/>
              <a:gd name="connsiteY28" fmla="*/ 587147 h 1311591"/>
              <a:gd name="connsiteX29" fmla="*/ 665925 w 1383008"/>
              <a:gd name="connsiteY29" fmla="*/ 571278 h 1311591"/>
              <a:gd name="connsiteX30" fmla="*/ 631701 w 1383008"/>
              <a:gd name="connsiteY30" fmla="*/ 532825 h 1311591"/>
              <a:gd name="connsiteX31" fmla="*/ 747053 w 1383008"/>
              <a:gd name="connsiteY31" fmla="*/ 532825 h 1311591"/>
              <a:gd name="connsiteX32" fmla="*/ 762264 w 1383008"/>
              <a:gd name="connsiteY32" fmla="*/ 548128 h 1311591"/>
              <a:gd name="connsiteX33" fmla="*/ 747053 w 1383008"/>
              <a:gd name="connsiteY33" fmla="*/ 564607 h 1311591"/>
              <a:gd name="connsiteX34" fmla="*/ 631701 w 1383008"/>
              <a:gd name="connsiteY34" fmla="*/ 564607 h 1311591"/>
              <a:gd name="connsiteX35" fmla="*/ 615222 w 1383008"/>
              <a:gd name="connsiteY35" fmla="*/ 548128 h 1311591"/>
              <a:gd name="connsiteX36" fmla="*/ 631701 w 1383008"/>
              <a:gd name="connsiteY36" fmla="*/ 532825 h 1311591"/>
              <a:gd name="connsiteX37" fmla="*/ 634517 w 1383008"/>
              <a:gd name="connsiteY37" fmla="*/ 486148 h 1311591"/>
              <a:gd name="connsiteX38" fmla="*/ 634517 w 1383008"/>
              <a:gd name="connsiteY38" fmla="*/ 496108 h 1311591"/>
              <a:gd name="connsiteX39" fmla="*/ 742780 w 1383008"/>
              <a:gd name="connsiteY39" fmla="*/ 496108 h 1311591"/>
              <a:gd name="connsiteX40" fmla="*/ 742780 w 1383008"/>
              <a:gd name="connsiteY40" fmla="*/ 486148 h 1311591"/>
              <a:gd name="connsiteX41" fmla="*/ 541342 w 1383008"/>
              <a:gd name="connsiteY41" fmla="*/ 440959 h 1311591"/>
              <a:gd name="connsiteX42" fmla="*/ 553920 w 1383008"/>
              <a:gd name="connsiteY42" fmla="*/ 445503 h 1311591"/>
              <a:gd name="connsiteX43" fmla="*/ 553920 w 1383008"/>
              <a:gd name="connsiteY43" fmla="*/ 467313 h 1311591"/>
              <a:gd name="connsiteX44" fmla="*/ 502970 w 1383008"/>
              <a:gd name="connsiteY44" fmla="*/ 515781 h 1311591"/>
              <a:gd name="connsiteX45" fmla="*/ 490233 w 1383008"/>
              <a:gd name="connsiteY45" fmla="*/ 520628 h 1311591"/>
              <a:gd name="connsiteX46" fmla="*/ 478769 w 1383008"/>
              <a:gd name="connsiteY46" fmla="*/ 515781 h 1311591"/>
              <a:gd name="connsiteX47" fmla="*/ 478769 w 1383008"/>
              <a:gd name="connsiteY47" fmla="*/ 493970 h 1311591"/>
              <a:gd name="connsiteX48" fmla="*/ 529719 w 1383008"/>
              <a:gd name="connsiteY48" fmla="*/ 445503 h 1311591"/>
              <a:gd name="connsiteX49" fmla="*/ 541342 w 1383008"/>
              <a:gd name="connsiteY49" fmla="*/ 440959 h 1311591"/>
              <a:gd name="connsiteX50" fmla="*/ 842267 w 1383008"/>
              <a:gd name="connsiteY50" fmla="*/ 440959 h 1311591"/>
              <a:gd name="connsiteX51" fmla="*/ 853253 w 1383008"/>
              <a:gd name="connsiteY51" fmla="*/ 445503 h 1311591"/>
              <a:gd name="connsiteX52" fmla="*/ 904203 w 1383008"/>
              <a:gd name="connsiteY52" fmla="*/ 493970 h 1311591"/>
              <a:gd name="connsiteX53" fmla="*/ 904203 w 1383008"/>
              <a:gd name="connsiteY53" fmla="*/ 515781 h 1311591"/>
              <a:gd name="connsiteX54" fmla="*/ 892740 w 1383008"/>
              <a:gd name="connsiteY54" fmla="*/ 520628 h 1311591"/>
              <a:gd name="connsiteX55" fmla="*/ 881276 w 1383008"/>
              <a:gd name="connsiteY55" fmla="*/ 515781 h 1311591"/>
              <a:gd name="connsiteX56" fmla="*/ 830326 w 1383008"/>
              <a:gd name="connsiteY56" fmla="*/ 467313 h 1311591"/>
              <a:gd name="connsiteX57" fmla="*/ 830326 w 1383008"/>
              <a:gd name="connsiteY57" fmla="*/ 445503 h 1311591"/>
              <a:gd name="connsiteX58" fmla="*/ 842267 w 1383008"/>
              <a:gd name="connsiteY58" fmla="*/ 440959 h 1311591"/>
              <a:gd name="connsiteX59" fmla="*/ 360750 w 1383008"/>
              <a:gd name="connsiteY59" fmla="*/ 413937 h 1311591"/>
              <a:gd name="connsiteX60" fmla="*/ 339595 w 1383008"/>
              <a:gd name="connsiteY60" fmla="*/ 426387 h 1311591"/>
              <a:gd name="connsiteX61" fmla="*/ 313463 w 1383008"/>
              <a:gd name="connsiteY61" fmla="*/ 557114 h 1311591"/>
              <a:gd name="connsiteX62" fmla="*/ 352039 w 1383008"/>
              <a:gd name="connsiteY62" fmla="*/ 593219 h 1311591"/>
              <a:gd name="connsiteX63" fmla="*/ 375683 w 1383008"/>
              <a:gd name="connsiteY63" fmla="*/ 603179 h 1311591"/>
              <a:gd name="connsiteX64" fmla="*/ 517544 w 1383008"/>
              <a:gd name="connsiteY64" fmla="*/ 603179 h 1311591"/>
              <a:gd name="connsiteX65" fmla="*/ 589719 w 1383008"/>
              <a:gd name="connsiteY65" fmla="*/ 666675 h 1311591"/>
              <a:gd name="connsiteX66" fmla="*/ 572297 w 1383008"/>
              <a:gd name="connsiteY66" fmla="*/ 720210 h 1311591"/>
              <a:gd name="connsiteX67" fmla="*/ 520033 w 1383008"/>
              <a:gd name="connsiteY67" fmla="*/ 743865 h 1311591"/>
              <a:gd name="connsiteX68" fmla="*/ 332129 w 1383008"/>
              <a:gd name="connsiteY68" fmla="*/ 743865 h 1311591"/>
              <a:gd name="connsiteX69" fmla="*/ 284842 w 1383008"/>
              <a:gd name="connsiteY69" fmla="*/ 723945 h 1311591"/>
              <a:gd name="connsiteX70" fmla="*/ 274886 w 1383008"/>
              <a:gd name="connsiteY70" fmla="*/ 713985 h 1311591"/>
              <a:gd name="connsiteX71" fmla="*/ 186534 w 1383008"/>
              <a:gd name="connsiteY71" fmla="*/ 1088734 h 1311591"/>
              <a:gd name="connsiteX72" fmla="*/ 189023 w 1383008"/>
              <a:gd name="connsiteY72" fmla="*/ 1098694 h 1311591"/>
              <a:gd name="connsiteX73" fmla="*/ 207689 w 1383008"/>
              <a:gd name="connsiteY73" fmla="*/ 1106164 h 1311591"/>
              <a:gd name="connsiteX74" fmla="*/ 450346 w 1383008"/>
              <a:gd name="connsiteY74" fmla="*/ 1106164 h 1311591"/>
              <a:gd name="connsiteX75" fmla="*/ 460302 w 1383008"/>
              <a:gd name="connsiteY75" fmla="*/ 1046404 h 1311591"/>
              <a:gd name="connsiteX76" fmla="*/ 541187 w 1383008"/>
              <a:gd name="connsiteY76" fmla="*/ 967968 h 1311591"/>
              <a:gd name="connsiteX77" fmla="*/ 852287 w 1383008"/>
              <a:gd name="connsiteY77" fmla="*/ 967968 h 1311591"/>
              <a:gd name="connsiteX78" fmla="*/ 933173 w 1383008"/>
              <a:gd name="connsiteY78" fmla="*/ 1046404 h 1311591"/>
              <a:gd name="connsiteX79" fmla="*/ 941883 w 1383008"/>
              <a:gd name="connsiteY79" fmla="*/ 1106164 h 1311591"/>
              <a:gd name="connsiteX80" fmla="*/ 1172097 w 1383008"/>
              <a:gd name="connsiteY80" fmla="*/ 1106164 h 1311591"/>
              <a:gd name="connsiteX81" fmla="*/ 1192007 w 1383008"/>
              <a:gd name="connsiteY81" fmla="*/ 1098694 h 1311591"/>
              <a:gd name="connsiteX82" fmla="*/ 1193251 w 1383008"/>
              <a:gd name="connsiteY82" fmla="*/ 1088734 h 1311591"/>
              <a:gd name="connsiteX83" fmla="*/ 1107388 w 1383008"/>
              <a:gd name="connsiteY83" fmla="*/ 720210 h 1311591"/>
              <a:gd name="connsiteX84" fmla="*/ 1103655 w 1383008"/>
              <a:gd name="connsiteY84" fmla="*/ 723945 h 1311591"/>
              <a:gd name="connsiteX85" fmla="*/ 1056368 w 1383008"/>
              <a:gd name="connsiteY85" fmla="*/ 743865 h 1311591"/>
              <a:gd name="connsiteX86" fmla="*/ 867219 w 1383008"/>
              <a:gd name="connsiteY86" fmla="*/ 743865 h 1311591"/>
              <a:gd name="connsiteX87" fmla="*/ 814955 w 1383008"/>
              <a:gd name="connsiteY87" fmla="*/ 720210 h 1311591"/>
              <a:gd name="connsiteX88" fmla="*/ 797533 w 1383008"/>
              <a:gd name="connsiteY88" fmla="*/ 666675 h 1311591"/>
              <a:gd name="connsiteX89" fmla="*/ 869708 w 1383008"/>
              <a:gd name="connsiteY89" fmla="*/ 603179 h 1311591"/>
              <a:gd name="connsiteX90" fmla="*/ 1011570 w 1383008"/>
              <a:gd name="connsiteY90" fmla="*/ 603179 h 1311591"/>
              <a:gd name="connsiteX91" fmla="*/ 1035213 w 1383008"/>
              <a:gd name="connsiteY91" fmla="*/ 593219 h 1311591"/>
              <a:gd name="connsiteX92" fmla="*/ 1066323 w 1383008"/>
              <a:gd name="connsiteY92" fmla="*/ 564584 h 1311591"/>
              <a:gd name="connsiteX93" fmla="*/ 1040191 w 1383008"/>
              <a:gd name="connsiteY93" fmla="*/ 426387 h 1311591"/>
              <a:gd name="connsiteX94" fmla="*/ 1019036 w 1383008"/>
              <a:gd name="connsiteY94" fmla="*/ 413937 h 1311591"/>
              <a:gd name="connsiteX95" fmla="*/ 819932 w 1383008"/>
              <a:gd name="connsiteY95" fmla="*/ 413937 h 1311591"/>
              <a:gd name="connsiteX96" fmla="*/ 776379 w 1383008"/>
              <a:gd name="connsiteY96" fmla="*/ 451288 h 1311591"/>
              <a:gd name="connsiteX97" fmla="*/ 773890 w 1383008"/>
              <a:gd name="connsiteY97" fmla="*/ 452533 h 1311591"/>
              <a:gd name="connsiteX98" fmla="*/ 773890 w 1383008"/>
              <a:gd name="connsiteY98" fmla="*/ 498598 h 1311591"/>
              <a:gd name="connsiteX99" fmla="*/ 745269 w 1383008"/>
              <a:gd name="connsiteY99" fmla="*/ 528478 h 1311591"/>
              <a:gd name="connsiteX100" fmla="*/ 632028 w 1383008"/>
              <a:gd name="connsiteY100" fmla="*/ 528478 h 1311591"/>
              <a:gd name="connsiteX101" fmla="*/ 600919 w 1383008"/>
              <a:gd name="connsiteY101" fmla="*/ 498598 h 1311591"/>
              <a:gd name="connsiteX102" fmla="*/ 600919 w 1383008"/>
              <a:gd name="connsiteY102" fmla="*/ 452533 h 1311591"/>
              <a:gd name="connsiteX103" fmla="*/ 600919 w 1383008"/>
              <a:gd name="connsiteY103" fmla="*/ 451288 h 1311591"/>
              <a:gd name="connsiteX104" fmla="*/ 556120 w 1383008"/>
              <a:gd name="connsiteY104" fmla="*/ 413937 h 1311591"/>
              <a:gd name="connsiteX105" fmla="*/ 900726 w 1383008"/>
              <a:gd name="connsiteY105" fmla="*/ 285639 h 1311591"/>
              <a:gd name="connsiteX106" fmla="*/ 971144 w 1383008"/>
              <a:gd name="connsiteY106" fmla="*/ 285639 h 1311591"/>
              <a:gd name="connsiteX107" fmla="*/ 987492 w 1383008"/>
              <a:gd name="connsiteY107" fmla="*/ 301508 h 1311591"/>
              <a:gd name="connsiteX108" fmla="*/ 971144 w 1383008"/>
              <a:gd name="connsiteY108" fmla="*/ 317378 h 1311591"/>
              <a:gd name="connsiteX109" fmla="*/ 900726 w 1383008"/>
              <a:gd name="connsiteY109" fmla="*/ 317378 h 1311591"/>
              <a:gd name="connsiteX110" fmla="*/ 884379 w 1383008"/>
              <a:gd name="connsiteY110" fmla="*/ 301508 h 1311591"/>
              <a:gd name="connsiteX111" fmla="*/ 900726 w 1383008"/>
              <a:gd name="connsiteY111" fmla="*/ 285639 h 1311591"/>
              <a:gd name="connsiteX112" fmla="*/ 406353 w 1383008"/>
              <a:gd name="connsiteY112" fmla="*/ 285639 h 1311591"/>
              <a:gd name="connsiteX113" fmla="*/ 476771 w 1383008"/>
              <a:gd name="connsiteY113" fmla="*/ 285639 h 1311591"/>
              <a:gd name="connsiteX114" fmla="*/ 493119 w 1383008"/>
              <a:gd name="connsiteY114" fmla="*/ 301508 h 1311591"/>
              <a:gd name="connsiteX115" fmla="*/ 476771 w 1383008"/>
              <a:gd name="connsiteY115" fmla="*/ 317378 h 1311591"/>
              <a:gd name="connsiteX116" fmla="*/ 406353 w 1383008"/>
              <a:gd name="connsiteY116" fmla="*/ 317378 h 1311591"/>
              <a:gd name="connsiteX117" fmla="*/ 390006 w 1383008"/>
              <a:gd name="connsiteY117" fmla="*/ 301508 h 1311591"/>
              <a:gd name="connsiteX118" fmla="*/ 406353 w 1383008"/>
              <a:gd name="connsiteY118" fmla="*/ 285639 h 1311591"/>
              <a:gd name="connsiteX119" fmla="*/ 1262781 w 1383008"/>
              <a:gd name="connsiteY119" fmla="*/ 228896 h 1311591"/>
              <a:gd name="connsiteX120" fmla="*/ 1174780 w 1383008"/>
              <a:gd name="connsiteY120" fmla="*/ 318597 h 1311591"/>
              <a:gd name="connsiteX121" fmla="*/ 1262781 w 1383008"/>
              <a:gd name="connsiteY121" fmla="*/ 405806 h 1311591"/>
              <a:gd name="connsiteX122" fmla="*/ 1349542 w 1383008"/>
              <a:gd name="connsiteY122" fmla="*/ 318597 h 1311591"/>
              <a:gd name="connsiteX123" fmla="*/ 1262781 w 1383008"/>
              <a:gd name="connsiteY123" fmla="*/ 228896 h 1311591"/>
              <a:gd name="connsiteX124" fmla="*/ 119601 w 1383008"/>
              <a:gd name="connsiteY124" fmla="*/ 228896 h 1311591"/>
              <a:gd name="connsiteX125" fmla="*/ 32392 w 1383008"/>
              <a:gd name="connsiteY125" fmla="*/ 318597 h 1311591"/>
              <a:gd name="connsiteX126" fmla="*/ 119601 w 1383008"/>
              <a:gd name="connsiteY126" fmla="*/ 405806 h 1311591"/>
              <a:gd name="connsiteX127" fmla="*/ 208055 w 1383008"/>
              <a:gd name="connsiteY127" fmla="*/ 318597 h 1311591"/>
              <a:gd name="connsiteX128" fmla="*/ 119601 w 1383008"/>
              <a:gd name="connsiteY128" fmla="*/ 228896 h 1311591"/>
              <a:gd name="connsiteX129" fmla="*/ 1262781 w 1383008"/>
              <a:gd name="connsiteY129" fmla="*/ 197750 h 1311591"/>
              <a:gd name="connsiteX130" fmla="*/ 1383008 w 1383008"/>
              <a:gd name="connsiteY130" fmla="*/ 318597 h 1311591"/>
              <a:gd name="connsiteX131" fmla="*/ 1262781 w 1383008"/>
              <a:gd name="connsiteY131" fmla="*/ 438197 h 1311591"/>
              <a:gd name="connsiteX132" fmla="*/ 1142554 w 1383008"/>
              <a:gd name="connsiteY132" fmla="*/ 318597 h 1311591"/>
              <a:gd name="connsiteX133" fmla="*/ 1262781 w 1383008"/>
              <a:gd name="connsiteY133" fmla="*/ 197750 h 1311591"/>
              <a:gd name="connsiteX134" fmla="*/ 119601 w 1383008"/>
              <a:gd name="connsiteY134" fmla="*/ 197750 h 1311591"/>
              <a:gd name="connsiteX135" fmla="*/ 240447 w 1383008"/>
              <a:gd name="connsiteY135" fmla="*/ 318597 h 1311591"/>
              <a:gd name="connsiteX136" fmla="*/ 119601 w 1383008"/>
              <a:gd name="connsiteY136" fmla="*/ 438197 h 1311591"/>
              <a:gd name="connsiteX137" fmla="*/ 0 w 1383008"/>
              <a:gd name="connsiteY137" fmla="*/ 318597 h 1311591"/>
              <a:gd name="connsiteX138" fmla="*/ 119601 w 1383008"/>
              <a:gd name="connsiteY138" fmla="*/ 197750 h 1311591"/>
              <a:gd name="connsiteX139" fmla="*/ 686183 w 1383008"/>
              <a:gd name="connsiteY139" fmla="*/ 175778 h 1311591"/>
              <a:gd name="connsiteX140" fmla="*/ 783601 w 1383008"/>
              <a:gd name="connsiteY140" fmla="*/ 225392 h 1311591"/>
              <a:gd name="connsiteX141" fmla="*/ 781135 w 1383008"/>
              <a:gd name="connsiteY141" fmla="*/ 248959 h 1311591"/>
              <a:gd name="connsiteX142" fmla="*/ 771270 w 1383008"/>
              <a:gd name="connsiteY142" fmla="*/ 251440 h 1311591"/>
              <a:gd name="connsiteX143" fmla="*/ 758938 w 1383008"/>
              <a:gd name="connsiteY143" fmla="*/ 245238 h 1311591"/>
              <a:gd name="connsiteX144" fmla="*/ 686183 w 1383008"/>
              <a:gd name="connsiteY144" fmla="*/ 208027 h 1311591"/>
              <a:gd name="connsiteX145" fmla="*/ 670152 w 1383008"/>
              <a:gd name="connsiteY145" fmla="*/ 191903 h 1311591"/>
              <a:gd name="connsiteX146" fmla="*/ 686183 w 1383008"/>
              <a:gd name="connsiteY146" fmla="*/ 175778 h 1311591"/>
              <a:gd name="connsiteX147" fmla="*/ 681804 w 1383008"/>
              <a:gd name="connsiteY147" fmla="*/ 161200 h 1311591"/>
              <a:gd name="connsiteX148" fmla="*/ 547409 w 1383008"/>
              <a:gd name="connsiteY148" fmla="*/ 296906 h 1311591"/>
              <a:gd name="connsiteX149" fmla="*/ 617096 w 1383008"/>
              <a:gd name="connsiteY149" fmla="*/ 422652 h 1311591"/>
              <a:gd name="connsiteX150" fmla="*/ 634517 w 1383008"/>
              <a:gd name="connsiteY150" fmla="*/ 452533 h 1311591"/>
              <a:gd name="connsiteX151" fmla="*/ 634517 w 1383008"/>
              <a:gd name="connsiteY151" fmla="*/ 453778 h 1311591"/>
              <a:gd name="connsiteX152" fmla="*/ 742780 w 1383008"/>
              <a:gd name="connsiteY152" fmla="*/ 453778 h 1311591"/>
              <a:gd name="connsiteX153" fmla="*/ 742780 w 1383008"/>
              <a:gd name="connsiteY153" fmla="*/ 452533 h 1311591"/>
              <a:gd name="connsiteX154" fmla="*/ 758957 w 1383008"/>
              <a:gd name="connsiteY154" fmla="*/ 422652 h 1311591"/>
              <a:gd name="connsiteX155" fmla="*/ 828643 w 1383008"/>
              <a:gd name="connsiteY155" fmla="*/ 301886 h 1311591"/>
              <a:gd name="connsiteX156" fmla="*/ 785089 w 1383008"/>
              <a:gd name="connsiteY156" fmla="*/ 199795 h 1311591"/>
              <a:gd name="connsiteX157" fmla="*/ 681804 w 1383008"/>
              <a:gd name="connsiteY157" fmla="*/ 161200 h 1311591"/>
              <a:gd name="connsiteX158" fmla="*/ 680560 w 1383008"/>
              <a:gd name="connsiteY158" fmla="*/ 128829 h 1311591"/>
              <a:gd name="connsiteX159" fmla="*/ 807488 w 1383008"/>
              <a:gd name="connsiteY159" fmla="*/ 176140 h 1311591"/>
              <a:gd name="connsiteX160" fmla="*/ 859753 w 1383008"/>
              <a:gd name="connsiteY160" fmla="*/ 301886 h 1311591"/>
              <a:gd name="connsiteX161" fmla="*/ 841087 w 1383008"/>
              <a:gd name="connsiteY161" fmla="*/ 380322 h 1311591"/>
              <a:gd name="connsiteX162" fmla="*/ 1019036 w 1383008"/>
              <a:gd name="connsiteY162" fmla="*/ 380322 h 1311591"/>
              <a:gd name="connsiteX163" fmla="*/ 1072545 w 1383008"/>
              <a:gd name="connsiteY163" fmla="*/ 418917 h 1311591"/>
              <a:gd name="connsiteX164" fmla="*/ 1094944 w 1383008"/>
              <a:gd name="connsiteY164" fmla="*/ 537193 h 1311591"/>
              <a:gd name="connsiteX165" fmla="*/ 1158409 w 1383008"/>
              <a:gd name="connsiteY165" fmla="*/ 478678 h 1311591"/>
              <a:gd name="connsiteX166" fmla="*/ 1208184 w 1383008"/>
              <a:gd name="connsiteY166" fmla="*/ 458758 h 1311591"/>
              <a:gd name="connsiteX167" fmla="*/ 1267915 w 1383008"/>
              <a:gd name="connsiteY167" fmla="*/ 458758 h 1311591"/>
              <a:gd name="connsiteX168" fmla="*/ 1350046 w 1383008"/>
              <a:gd name="connsiteY168" fmla="*/ 540928 h 1311591"/>
              <a:gd name="connsiteX169" fmla="*/ 1350046 w 1383008"/>
              <a:gd name="connsiteY169" fmla="*/ 890777 h 1311591"/>
              <a:gd name="connsiteX170" fmla="*/ 1333869 w 1383008"/>
              <a:gd name="connsiteY170" fmla="*/ 906962 h 1311591"/>
              <a:gd name="connsiteX171" fmla="*/ 1316447 w 1383008"/>
              <a:gd name="connsiteY171" fmla="*/ 890777 h 1311591"/>
              <a:gd name="connsiteX172" fmla="*/ 1316447 w 1383008"/>
              <a:gd name="connsiteY172" fmla="*/ 540928 h 1311591"/>
              <a:gd name="connsiteX173" fmla="*/ 1267915 w 1383008"/>
              <a:gd name="connsiteY173" fmla="*/ 491128 h 1311591"/>
              <a:gd name="connsiteX174" fmla="*/ 1208184 w 1383008"/>
              <a:gd name="connsiteY174" fmla="*/ 491128 h 1311591"/>
              <a:gd name="connsiteX175" fmla="*/ 1180808 w 1383008"/>
              <a:gd name="connsiteY175" fmla="*/ 502333 h 1311591"/>
              <a:gd name="connsiteX176" fmla="*/ 1058857 w 1383008"/>
              <a:gd name="connsiteY176" fmla="*/ 616874 h 1311591"/>
              <a:gd name="connsiteX177" fmla="*/ 1011570 w 1383008"/>
              <a:gd name="connsiteY177" fmla="*/ 635549 h 1311591"/>
              <a:gd name="connsiteX178" fmla="*/ 869708 w 1383008"/>
              <a:gd name="connsiteY178" fmla="*/ 635549 h 1311591"/>
              <a:gd name="connsiteX179" fmla="*/ 829888 w 1383008"/>
              <a:gd name="connsiteY179" fmla="*/ 670410 h 1311591"/>
              <a:gd name="connsiteX180" fmla="*/ 838598 w 1383008"/>
              <a:gd name="connsiteY180" fmla="*/ 699045 h 1311591"/>
              <a:gd name="connsiteX181" fmla="*/ 867219 w 1383008"/>
              <a:gd name="connsiteY181" fmla="*/ 711495 h 1311591"/>
              <a:gd name="connsiteX182" fmla="*/ 1056368 w 1383008"/>
              <a:gd name="connsiteY182" fmla="*/ 711495 h 1311591"/>
              <a:gd name="connsiteX183" fmla="*/ 1080011 w 1383008"/>
              <a:gd name="connsiteY183" fmla="*/ 701535 h 1311591"/>
              <a:gd name="connsiteX184" fmla="*/ 1236805 w 1383008"/>
              <a:gd name="connsiteY184" fmla="*/ 545908 h 1311591"/>
              <a:gd name="connsiteX185" fmla="*/ 1259205 w 1383008"/>
              <a:gd name="connsiteY185" fmla="*/ 545908 h 1311591"/>
              <a:gd name="connsiteX186" fmla="*/ 1259205 w 1383008"/>
              <a:gd name="connsiteY186" fmla="*/ 568319 h 1311591"/>
              <a:gd name="connsiteX187" fmla="*/ 1177074 w 1383008"/>
              <a:gd name="connsiteY187" fmla="*/ 650490 h 1311591"/>
              <a:gd name="connsiteX188" fmla="*/ 1175830 w 1383008"/>
              <a:gd name="connsiteY188" fmla="*/ 651735 h 1311591"/>
              <a:gd name="connsiteX189" fmla="*/ 1150942 w 1383008"/>
              <a:gd name="connsiteY189" fmla="*/ 753826 h 1311591"/>
              <a:gd name="connsiteX190" fmla="*/ 1149698 w 1383008"/>
              <a:gd name="connsiteY190" fmla="*/ 757561 h 1311591"/>
              <a:gd name="connsiteX191" fmla="*/ 1225606 w 1383008"/>
              <a:gd name="connsiteY191" fmla="*/ 1082509 h 1311591"/>
              <a:gd name="connsiteX192" fmla="*/ 1226850 w 1383008"/>
              <a:gd name="connsiteY192" fmla="*/ 1094959 h 1311591"/>
              <a:gd name="connsiteX193" fmla="*/ 1226850 w 1383008"/>
              <a:gd name="connsiteY193" fmla="*/ 1098694 h 1311591"/>
              <a:gd name="connsiteX194" fmla="*/ 1226850 w 1383008"/>
              <a:gd name="connsiteY194" fmla="*/ 1184600 h 1311591"/>
              <a:gd name="connsiteX195" fmla="*/ 1145965 w 1383008"/>
              <a:gd name="connsiteY195" fmla="*/ 1253076 h 1311591"/>
              <a:gd name="connsiteX196" fmla="*/ 963038 w 1383008"/>
              <a:gd name="connsiteY196" fmla="*/ 1253076 h 1311591"/>
              <a:gd name="connsiteX197" fmla="*/ 968016 w 1383008"/>
              <a:gd name="connsiteY197" fmla="*/ 1292916 h 1311591"/>
              <a:gd name="connsiteX198" fmla="*/ 954327 w 1383008"/>
              <a:gd name="connsiteY198" fmla="*/ 1311591 h 1311591"/>
              <a:gd name="connsiteX199" fmla="*/ 935661 w 1383008"/>
              <a:gd name="connsiteY199" fmla="*/ 1297896 h 1311591"/>
              <a:gd name="connsiteX200" fmla="*/ 902063 w 1383008"/>
              <a:gd name="connsiteY200" fmla="*/ 1052629 h 1311591"/>
              <a:gd name="connsiteX201" fmla="*/ 852287 w 1383008"/>
              <a:gd name="connsiteY201" fmla="*/ 1000338 h 1311591"/>
              <a:gd name="connsiteX202" fmla="*/ 541187 w 1383008"/>
              <a:gd name="connsiteY202" fmla="*/ 1000338 h 1311591"/>
              <a:gd name="connsiteX203" fmla="*/ 491412 w 1383008"/>
              <a:gd name="connsiteY203" fmla="*/ 1052629 h 1311591"/>
              <a:gd name="connsiteX204" fmla="*/ 480212 w 1383008"/>
              <a:gd name="connsiteY204" fmla="*/ 1124839 h 1311591"/>
              <a:gd name="connsiteX205" fmla="*/ 450346 w 1383008"/>
              <a:gd name="connsiteY205" fmla="*/ 1297896 h 1311591"/>
              <a:gd name="connsiteX206" fmla="*/ 434169 w 1383008"/>
              <a:gd name="connsiteY206" fmla="*/ 1311591 h 1311591"/>
              <a:gd name="connsiteX207" fmla="*/ 432925 w 1383008"/>
              <a:gd name="connsiteY207" fmla="*/ 1311591 h 1311591"/>
              <a:gd name="connsiteX208" fmla="*/ 417992 w 1383008"/>
              <a:gd name="connsiteY208" fmla="*/ 1292916 h 1311591"/>
              <a:gd name="connsiteX209" fmla="*/ 425459 w 1383008"/>
              <a:gd name="connsiteY209" fmla="*/ 1253076 h 1311591"/>
              <a:gd name="connsiteX210" fmla="*/ 232577 w 1383008"/>
              <a:gd name="connsiteY210" fmla="*/ 1253076 h 1311591"/>
              <a:gd name="connsiteX211" fmla="*/ 154180 w 1383008"/>
              <a:gd name="connsiteY211" fmla="*/ 1184600 h 1311591"/>
              <a:gd name="connsiteX212" fmla="*/ 154180 w 1383008"/>
              <a:gd name="connsiteY212" fmla="*/ 1098694 h 1311591"/>
              <a:gd name="connsiteX213" fmla="*/ 154180 w 1383008"/>
              <a:gd name="connsiteY213" fmla="*/ 1094959 h 1311591"/>
              <a:gd name="connsiteX214" fmla="*/ 154180 w 1383008"/>
              <a:gd name="connsiteY214" fmla="*/ 1082509 h 1311591"/>
              <a:gd name="connsiteX215" fmla="*/ 233821 w 1383008"/>
              <a:gd name="connsiteY215" fmla="*/ 746355 h 1311591"/>
              <a:gd name="connsiteX216" fmla="*/ 211422 w 1383008"/>
              <a:gd name="connsiteY216" fmla="*/ 651735 h 1311591"/>
              <a:gd name="connsiteX217" fmla="*/ 211422 w 1383008"/>
              <a:gd name="connsiteY217" fmla="*/ 650490 h 1311591"/>
              <a:gd name="connsiteX218" fmla="*/ 128048 w 1383008"/>
              <a:gd name="connsiteY218" fmla="*/ 568319 h 1311591"/>
              <a:gd name="connsiteX219" fmla="*/ 128048 w 1383008"/>
              <a:gd name="connsiteY219" fmla="*/ 545908 h 1311591"/>
              <a:gd name="connsiteX220" fmla="*/ 151691 w 1383008"/>
              <a:gd name="connsiteY220" fmla="*/ 545908 h 1311591"/>
              <a:gd name="connsiteX221" fmla="*/ 307241 w 1383008"/>
              <a:gd name="connsiteY221" fmla="*/ 701535 h 1311591"/>
              <a:gd name="connsiteX222" fmla="*/ 332129 w 1383008"/>
              <a:gd name="connsiteY222" fmla="*/ 711495 h 1311591"/>
              <a:gd name="connsiteX223" fmla="*/ 520033 w 1383008"/>
              <a:gd name="connsiteY223" fmla="*/ 711495 h 1311591"/>
              <a:gd name="connsiteX224" fmla="*/ 547409 w 1383008"/>
              <a:gd name="connsiteY224" fmla="*/ 699045 h 1311591"/>
              <a:gd name="connsiteX225" fmla="*/ 558609 w 1383008"/>
              <a:gd name="connsiteY225" fmla="*/ 670410 h 1311591"/>
              <a:gd name="connsiteX226" fmla="*/ 517544 w 1383008"/>
              <a:gd name="connsiteY226" fmla="*/ 635549 h 1311591"/>
              <a:gd name="connsiteX227" fmla="*/ 375683 w 1383008"/>
              <a:gd name="connsiteY227" fmla="*/ 635549 h 1311591"/>
              <a:gd name="connsiteX228" fmla="*/ 329640 w 1383008"/>
              <a:gd name="connsiteY228" fmla="*/ 615629 h 1311591"/>
              <a:gd name="connsiteX229" fmla="*/ 206445 w 1383008"/>
              <a:gd name="connsiteY229" fmla="*/ 502333 h 1311591"/>
              <a:gd name="connsiteX230" fmla="*/ 180312 w 1383008"/>
              <a:gd name="connsiteY230" fmla="*/ 491128 h 1311591"/>
              <a:gd name="connsiteX231" fmla="*/ 119337 w 1383008"/>
              <a:gd name="connsiteY231" fmla="*/ 491128 h 1311591"/>
              <a:gd name="connsiteX232" fmla="*/ 69561 w 1383008"/>
              <a:gd name="connsiteY232" fmla="*/ 540928 h 1311591"/>
              <a:gd name="connsiteX233" fmla="*/ 69561 w 1383008"/>
              <a:gd name="connsiteY233" fmla="*/ 890777 h 1311591"/>
              <a:gd name="connsiteX234" fmla="*/ 54628 w 1383008"/>
              <a:gd name="connsiteY234" fmla="*/ 906962 h 1311591"/>
              <a:gd name="connsiteX235" fmla="*/ 38451 w 1383008"/>
              <a:gd name="connsiteY235" fmla="*/ 890777 h 1311591"/>
              <a:gd name="connsiteX236" fmla="*/ 38451 w 1383008"/>
              <a:gd name="connsiteY236" fmla="*/ 540928 h 1311591"/>
              <a:gd name="connsiteX237" fmla="*/ 119337 w 1383008"/>
              <a:gd name="connsiteY237" fmla="*/ 458758 h 1311591"/>
              <a:gd name="connsiteX238" fmla="*/ 180312 w 1383008"/>
              <a:gd name="connsiteY238" fmla="*/ 458758 h 1311591"/>
              <a:gd name="connsiteX239" fmla="*/ 228844 w 1383008"/>
              <a:gd name="connsiteY239" fmla="*/ 478678 h 1311591"/>
              <a:gd name="connsiteX240" fmla="*/ 286086 w 1383008"/>
              <a:gd name="connsiteY240" fmla="*/ 530968 h 1311591"/>
              <a:gd name="connsiteX241" fmla="*/ 307241 w 1383008"/>
              <a:gd name="connsiteY241" fmla="*/ 420162 h 1311591"/>
              <a:gd name="connsiteX242" fmla="*/ 360750 w 1383008"/>
              <a:gd name="connsiteY242" fmla="*/ 380322 h 1311591"/>
              <a:gd name="connsiteX243" fmla="*/ 534965 w 1383008"/>
              <a:gd name="connsiteY243" fmla="*/ 380322 h 1311591"/>
              <a:gd name="connsiteX244" fmla="*/ 515055 w 1383008"/>
              <a:gd name="connsiteY244" fmla="*/ 295661 h 1311591"/>
              <a:gd name="connsiteX245" fmla="*/ 680560 w 1383008"/>
              <a:gd name="connsiteY245" fmla="*/ 128829 h 1311591"/>
              <a:gd name="connsiteX246" fmla="*/ 892740 w 1383008"/>
              <a:gd name="connsiteY246" fmla="*/ 83910 h 1311591"/>
              <a:gd name="connsiteX247" fmla="*/ 904203 w 1383008"/>
              <a:gd name="connsiteY247" fmla="*/ 88454 h 1311591"/>
              <a:gd name="connsiteX248" fmla="*/ 904203 w 1383008"/>
              <a:gd name="connsiteY248" fmla="*/ 111477 h 1311591"/>
              <a:gd name="connsiteX249" fmla="*/ 853253 w 1383008"/>
              <a:gd name="connsiteY249" fmla="*/ 158734 h 1311591"/>
              <a:gd name="connsiteX250" fmla="*/ 841790 w 1383008"/>
              <a:gd name="connsiteY250" fmla="*/ 163581 h 1311591"/>
              <a:gd name="connsiteX251" fmla="*/ 830326 w 1383008"/>
              <a:gd name="connsiteY251" fmla="*/ 158734 h 1311591"/>
              <a:gd name="connsiteX252" fmla="*/ 830326 w 1383008"/>
              <a:gd name="connsiteY252" fmla="*/ 136923 h 1311591"/>
              <a:gd name="connsiteX253" fmla="*/ 881276 w 1383008"/>
              <a:gd name="connsiteY253" fmla="*/ 88454 h 1311591"/>
              <a:gd name="connsiteX254" fmla="*/ 892740 w 1383008"/>
              <a:gd name="connsiteY254" fmla="*/ 83910 h 1311591"/>
              <a:gd name="connsiteX255" fmla="*/ 490392 w 1383008"/>
              <a:gd name="connsiteY255" fmla="*/ 83910 h 1311591"/>
              <a:gd name="connsiteX256" fmla="*/ 502970 w 1383008"/>
              <a:gd name="connsiteY256" fmla="*/ 88454 h 1311591"/>
              <a:gd name="connsiteX257" fmla="*/ 553920 w 1383008"/>
              <a:gd name="connsiteY257" fmla="*/ 136923 h 1311591"/>
              <a:gd name="connsiteX258" fmla="*/ 553920 w 1383008"/>
              <a:gd name="connsiteY258" fmla="*/ 158734 h 1311591"/>
              <a:gd name="connsiteX259" fmla="*/ 541183 w 1383008"/>
              <a:gd name="connsiteY259" fmla="*/ 163581 h 1311591"/>
              <a:gd name="connsiteX260" fmla="*/ 529719 w 1383008"/>
              <a:gd name="connsiteY260" fmla="*/ 158734 h 1311591"/>
              <a:gd name="connsiteX261" fmla="*/ 478769 w 1383008"/>
              <a:gd name="connsiteY261" fmla="*/ 111477 h 1311591"/>
              <a:gd name="connsiteX262" fmla="*/ 478769 w 1383008"/>
              <a:gd name="connsiteY262" fmla="*/ 88454 h 1311591"/>
              <a:gd name="connsiteX263" fmla="*/ 490392 w 1383008"/>
              <a:gd name="connsiteY263" fmla="*/ 83910 h 1311591"/>
              <a:gd name="connsiteX264" fmla="*/ 686631 w 1383008"/>
              <a:gd name="connsiteY264" fmla="*/ 0 h 1311591"/>
              <a:gd name="connsiteX265" fmla="*/ 701843 w 1383008"/>
              <a:gd name="connsiteY265" fmla="*/ 16346 h 1311591"/>
              <a:gd name="connsiteX266" fmla="*/ 701843 w 1383008"/>
              <a:gd name="connsiteY266" fmla="*/ 88020 h 1311591"/>
              <a:gd name="connsiteX267" fmla="*/ 686631 w 1383008"/>
              <a:gd name="connsiteY267" fmla="*/ 103109 h 1311591"/>
              <a:gd name="connsiteX268" fmla="*/ 670152 w 1383008"/>
              <a:gd name="connsiteY268" fmla="*/ 88020 h 1311591"/>
              <a:gd name="connsiteX269" fmla="*/ 670152 w 1383008"/>
              <a:gd name="connsiteY269" fmla="*/ 16346 h 1311591"/>
              <a:gd name="connsiteX270" fmla="*/ 686631 w 1383008"/>
              <a:gd name="connsiteY270" fmla="*/ 0 h 13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1383008" h="1311591">
                <a:moveTo>
                  <a:pt x="1194496" y="1134799"/>
                </a:moveTo>
                <a:cubicBezTo>
                  <a:pt x="1187030" y="1137289"/>
                  <a:pt x="1179563" y="1138534"/>
                  <a:pt x="1172097" y="1138534"/>
                </a:cubicBezTo>
                <a:lnTo>
                  <a:pt x="946861" y="1138534"/>
                </a:lnTo>
                <a:lnTo>
                  <a:pt x="958061" y="1220705"/>
                </a:lnTo>
                <a:lnTo>
                  <a:pt x="1145965" y="1220705"/>
                </a:lnTo>
                <a:cubicBezTo>
                  <a:pt x="1173341" y="1220705"/>
                  <a:pt x="1194496" y="1204520"/>
                  <a:pt x="1194496" y="1184600"/>
                </a:cubicBezTo>
                <a:close/>
                <a:moveTo>
                  <a:pt x="186534" y="1134799"/>
                </a:moveTo>
                <a:lnTo>
                  <a:pt x="186534" y="1184600"/>
                </a:lnTo>
                <a:cubicBezTo>
                  <a:pt x="186534" y="1204520"/>
                  <a:pt x="206445" y="1220705"/>
                  <a:pt x="232577" y="1220705"/>
                </a:cubicBezTo>
                <a:lnTo>
                  <a:pt x="430436" y="1220705"/>
                </a:lnTo>
                <a:lnTo>
                  <a:pt x="444124" y="1138534"/>
                </a:lnTo>
                <a:lnTo>
                  <a:pt x="207689" y="1138534"/>
                </a:lnTo>
                <a:cubicBezTo>
                  <a:pt x="200223" y="1138534"/>
                  <a:pt x="192756" y="1137289"/>
                  <a:pt x="186534" y="1134799"/>
                </a:cubicBezTo>
                <a:close/>
                <a:moveTo>
                  <a:pt x="687874" y="729840"/>
                </a:moveTo>
                <a:cubicBezTo>
                  <a:pt x="638041" y="729840"/>
                  <a:pt x="599420" y="769502"/>
                  <a:pt x="599420" y="816602"/>
                </a:cubicBezTo>
                <a:cubicBezTo>
                  <a:pt x="599420" y="864940"/>
                  <a:pt x="638041" y="904603"/>
                  <a:pt x="687874" y="904603"/>
                </a:cubicBezTo>
                <a:cubicBezTo>
                  <a:pt x="733970" y="904603"/>
                  <a:pt x="773837" y="864940"/>
                  <a:pt x="773837" y="816602"/>
                </a:cubicBezTo>
                <a:cubicBezTo>
                  <a:pt x="773837" y="769502"/>
                  <a:pt x="733970" y="729840"/>
                  <a:pt x="687874" y="729840"/>
                </a:cubicBezTo>
                <a:close/>
                <a:moveTo>
                  <a:pt x="687874" y="697614"/>
                </a:moveTo>
                <a:cubicBezTo>
                  <a:pt x="752658" y="697614"/>
                  <a:pt x="806229" y="750911"/>
                  <a:pt x="806229" y="816602"/>
                </a:cubicBezTo>
                <a:cubicBezTo>
                  <a:pt x="806229" y="883532"/>
                  <a:pt x="752658" y="938068"/>
                  <a:pt x="687874" y="938068"/>
                </a:cubicBezTo>
                <a:cubicBezTo>
                  <a:pt x="620599" y="938068"/>
                  <a:pt x="565782" y="883532"/>
                  <a:pt x="565782" y="816602"/>
                </a:cubicBezTo>
                <a:cubicBezTo>
                  <a:pt x="565782" y="750911"/>
                  <a:pt x="620599" y="697614"/>
                  <a:pt x="687874" y="697614"/>
                </a:cubicBezTo>
                <a:close/>
                <a:moveTo>
                  <a:pt x="665925" y="571278"/>
                </a:moveTo>
                <a:lnTo>
                  <a:pt x="712826" y="571278"/>
                </a:lnTo>
                <a:cubicBezTo>
                  <a:pt x="721700" y="571278"/>
                  <a:pt x="729305" y="578602"/>
                  <a:pt x="729305" y="587147"/>
                </a:cubicBezTo>
                <a:cubicBezTo>
                  <a:pt x="729305" y="595692"/>
                  <a:pt x="721700" y="603017"/>
                  <a:pt x="712826" y="603017"/>
                </a:cubicBezTo>
                <a:lnTo>
                  <a:pt x="665925" y="603017"/>
                </a:lnTo>
                <a:cubicBezTo>
                  <a:pt x="655784" y="603017"/>
                  <a:pt x="648178" y="595692"/>
                  <a:pt x="648178" y="587147"/>
                </a:cubicBezTo>
                <a:cubicBezTo>
                  <a:pt x="648178" y="578602"/>
                  <a:pt x="655784" y="571278"/>
                  <a:pt x="665925" y="571278"/>
                </a:cubicBezTo>
                <a:close/>
                <a:moveTo>
                  <a:pt x="631701" y="532825"/>
                </a:moveTo>
                <a:lnTo>
                  <a:pt x="747053" y="532825"/>
                </a:lnTo>
                <a:cubicBezTo>
                  <a:pt x="754659" y="532825"/>
                  <a:pt x="762264" y="541065"/>
                  <a:pt x="762264" y="548128"/>
                </a:cubicBezTo>
                <a:cubicBezTo>
                  <a:pt x="762264" y="557544"/>
                  <a:pt x="754659" y="564607"/>
                  <a:pt x="747053" y="564607"/>
                </a:cubicBezTo>
                <a:lnTo>
                  <a:pt x="631701" y="564607"/>
                </a:lnTo>
                <a:cubicBezTo>
                  <a:pt x="622828" y="564607"/>
                  <a:pt x="615222" y="557544"/>
                  <a:pt x="615222" y="548128"/>
                </a:cubicBezTo>
                <a:cubicBezTo>
                  <a:pt x="615222" y="541065"/>
                  <a:pt x="622828" y="532825"/>
                  <a:pt x="631701" y="532825"/>
                </a:cubicBezTo>
                <a:close/>
                <a:moveTo>
                  <a:pt x="634517" y="486148"/>
                </a:moveTo>
                <a:lnTo>
                  <a:pt x="634517" y="496108"/>
                </a:lnTo>
                <a:lnTo>
                  <a:pt x="742780" y="496108"/>
                </a:lnTo>
                <a:lnTo>
                  <a:pt x="742780" y="486148"/>
                </a:lnTo>
                <a:close/>
                <a:moveTo>
                  <a:pt x="541342" y="440959"/>
                </a:moveTo>
                <a:cubicBezTo>
                  <a:pt x="545641" y="440959"/>
                  <a:pt x="550099" y="442474"/>
                  <a:pt x="553920" y="445503"/>
                </a:cubicBezTo>
                <a:cubicBezTo>
                  <a:pt x="559015" y="451561"/>
                  <a:pt x="559015" y="462466"/>
                  <a:pt x="553920" y="467313"/>
                </a:cubicBezTo>
                <a:lnTo>
                  <a:pt x="502970" y="515781"/>
                </a:lnTo>
                <a:cubicBezTo>
                  <a:pt x="499149" y="519416"/>
                  <a:pt x="495328" y="520628"/>
                  <a:pt x="490233" y="520628"/>
                </a:cubicBezTo>
                <a:cubicBezTo>
                  <a:pt x="486411" y="520628"/>
                  <a:pt x="482590" y="519416"/>
                  <a:pt x="478769" y="515781"/>
                </a:cubicBezTo>
                <a:cubicBezTo>
                  <a:pt x="472400" y="509722"/>
                  <a:pt x="472400" y="500029"/>
                  <a:pt x="478769" y="493970"/>
                </a:cubicBezTo>
                <a:lnTo>
                  <a:pt x="529719" y="445503"/>
                </a:lnTo>
                <a:cubicBezTo>
                  <a:pt x="532904" y="442474"/>
                  <a:pt x="537043" y="440959"/>
                  <a:pt x="541342" y="440959"/>
                </a:cubicBezTo>
                <a:close/>
                <a:moveTo>
                  <a:pt x="842267" y="440959"/>
                </a:moveTo>
                <a:cubicBezTo>
                  <a:pt x="846248" y="440959"/>
                  <a:pt x="850069" y="442474"/>
                  <a:pt x="853253" y="445503"/>
                </a:cubicBezTo>
                <a:lnTo>
                  <a:pt x="904203" y="493970"/>
                </a:lnTo>
                <a:cubicBezTo>
                  <a:pt x="910572" y="500029"/>
                  <a:pt x="910572" y="509722"/>
                  <a:pt x="904203" y="515781"/>
                </a:cubicBezTo>
                <a:cubicBezTo>
                  <a:pt x="901656" y="519416"/>
                  <a:pt x="897835" y="520628"/>
                  <a:pt x="892740" y="520628"/>
                </a:cubicBezTo>
                <a:cubicBezTo>
                  <a:pt x="888918" y="520628"/>
                  <a:pt x="883823" y="519416"/>
                  <a:pt x="881276" y="515781"/>
                </a:cubicBezTo>
                <a:lnTo>
                  <a:pt x="830326" y="467313"/>
                </a:lnTo>
                <a:cubicBezTo>
                  <a:pt x="823957" y="462466"/>
                  <a:pt x="823957" y="451561"/>
                  <a:pt x="830326" y="445503"/>
                </a:cubicBezTo>
                <a:cubicBezTo>
                  <a:pt x="834147" y="442474"/>
                  <a:pt x="838287" y="440959"/>
                  <a:pt x="842267" y="440959"/>
                </a:cubicBezTo>
                <a:close/>
                <a:moveTo>
                  <a:pt x="360750" y="413937"/>
                </a:moveTo>
                <a:cubicBezTo>
                  <a:pt x="350795" y="413937"/>
                  <a:pt x="340839" y="418917"/>
                  <a:pt x="339595" y="426387"/>
                </a:cubicBezTo>
                <a:lnTo>
                  <a:pt x="313463" y="557114"/>
                </a:lnTo>
                <a:lnTo>
                  <a:pt x="352039" y="593219"/>
                </a:lnTo>
                <a:cubicBezTo>
                  <a:pt x="358261" y="600689"/>
                  <a:pt x="366972" y="603179"/>
                  <a:pt x="375683" y="603179"/>
                </a:cubicBezTo>
                <a:lnTo>
                  <a:pt x="517544" y="603179"/>
                </a:lnTo>
                <a:cubicBezTo>
                  <a:pt x="554876" y="603179"/>
                  <a:pt x="587230" y="631814"/>
                  <a:pt x="589719" y="666675"/>
                </a:cubicBezTo>
                <a:cubicBezTo>
                  <a:pt x="592208" y="686595"/>
                  <a:pt x="585986" y="706515"/>
                  <a:pt x="572297" y="720210"/>
                </a:cubicBezTo>
                <a:cubicBezTo>
                  <a:pt x="558609" y="736395"/>
                  <a:pt x="539943" y="743865"/>
                  <a:pt x="520033" y="743865"/>
                </a:cubicBezTo>
                <a:lnTo>
                  <a:pt x="332129" y="743865"/>
                </a:lnTo>
                <a:cubicBezTo>
                  <a:pt x="313463" y="743865"/>
                  <a:pt x="297286" y="737640"/>
                  <a:pt x="284842" y="723945"/>
                </a:cubicBezTo>
                <a:lnTo>
                  <a:pt x="274886" y="713985"/>
                </a:lnTo>
                <a:lnTo>
                  <a:pt x="186534" y="1088734"/>
                </a:lnTo>
                <a:cubicBezTo>
                  <a:pt x="185290" y="1092469"/>
                  <a:pt x="186534" y="1094959"/>
                  <a:pt x="189023" y="1098694"/>
                </a:cubicBezTo>
                <a:cubicBezTo>
                  <a:pt x="192756" y="1103674"/>
                  <a:pt x="200223" y="1106164"/>
                  <a:pt x="207689" y="1106164"/>
                </a:cubicBezTo>
                <a:lnTo>
                  <a:pt x="450346" y="1106164"/>
                </a:lnTo>
                <a:lnTo>
                  <a:pt x="460302" y="1046404"/>
                </a:lnTo>
                <a:cubicBezTo>
                  <a:pt x="471501" y="996603"/>
                  <a:pt x="501367" y="967968"/>
                  <a:pt x="541187" y="967968"/>
                </a:cubicBezTo>
                <a:lnTo>
                  <a:pt x="852287" y="967968"/>
                </a:lnTo>
                <a:cubicBezTo>
                  <a:pt x="893352" y="967968"/>
                  <a:pt x="925706" y="1000338"/>
                  <a:pt x="933173" y="1046404"/>
                </a:cubicBezTo>
                <a:lnTo>
                  <a:pt x="941883" y="1106164"/>
                </a:lnTo>
                <a:lnTo>
                  <a:pt x="1172097" y="1106164"/>
                </a:lnTo>
                <a:cubicBezTo>
                  <a:pt x="1179563" y="1106164"/>
                  <a:pt x="1187030" y="1103674"/>
                  <a:pt x="1192007" y="1098694"/>
                </a:cubicBezTo>
                <a:cubicBezTo>
                  <a:pt x="1193251" y="1094959"/>
                  <a:pt x="1194496" y="1092469"/>
                  <a:pt x="1193251" y="1088734"/>
                </a:cubicBezTo>
                <a:lnTo>
                  <a:pt x="1107388" y="720210"/>
                </a:lnTo>
                <a:lnTo>
                  <a:pt x="1103655" y="723945"/>
                </a:lnTo>
                <a:cubicBezTo>
                  <a:pt x="1089967" y="737640"/>
                  <a:pt x="1073789" y="743865"/>
                  <a:pt x="1056368" y="743865"/>
                </a:cubicBezTo>
                <a:lnTo>
                  <a:pt x="867219" y="743865"/>
                </a:lnTo>
                <a:cubicBezTo>
                  <a:pt x="847309" y="743865"/>
                  <a:pt x="828643" y="736395"/>
                  <a:pt x="814955" y="720210"/>
                </a:cubicBezTo>
                <a:cubicBezTo>
                  <a:pt x="802511" y="706515"/>
                  <a:pt x="795045" y="686595"/>
                  <a:pt x="797533" y="666675"/>
                </a:cubicBezTo>
                <a:cubicBezTo>
                  <a:pt x="801266" y="631814"/>
                  <a:pt x="832376" y="603179"/>
                  <a:pt x="869708" y="603179"/>
                </a:cubicBezTo>
                <a:lnTo>
                  <a:pt x="1011570" y="603179"/>
                </a:lnTo>
                <a:cubicBezTo>
                  <a:pt x="1020280" y="603179"/>
                  <a:pt x="1028991" y="600689"/>
                  <a:pt x="1035213" y="593219"/>
                </a:cubicBezTo>
                <a:lnTo>
                  <a:pt x="1066323" y="564584"/>
                </a:lnTo>
                <a:lnTo>
                  <a:pt x="1040191" y="426387"/>
                </a:lnTo>
                <a:cubicBezTo>
                  <a:pt x="1038946" y="418917"/>
                  <a:pt x="1028991" y="413937"/>
                  <a:pt x="1019036" y="413937"/>
                </a:cubicBezTo>
                <a:lnTo>
                  <a:pt x="819932" y="413937"/>
                </a:lnTo>
                <a:cubicBezTo>
                  <a:pt x="807488" y="428877"/>
                  <a:pt x="792556" y="441327"/>
                  <a:pt x="776379" y="451288"/>
                </a:cubicBezTo>
                <a:cubicBezTo>
                  <a:pt x="775134" y="451288"/>
                  <a:pt x="773890" y="452533"/>
                  <a:pt x="773890" y="452533"/>
                </a:cubicBezTo>
                <a:lnTo>
                  <a:pt x="773890" y="498598"/>
                </a:lnTo>
                <a:cubicBezTo>
                  <a:pt x="773890" y="514783"/>
                  <a:pt x="761446" y="528478"/>
                  <a:pt x="745269" y="528478"/>
                </a:cubicBezTo>
                <a:lnTo>
                  <a:pt x="632028" y="528478"/>
                </a:lnTo>
                <a:cubicBezTo>
                  <a:pt x="615851" y="528478"/>
                  <a:pt x="600919" y="514783"/>
                  <a:pt x="600919" y="498598"/>
                </a:cubicBezTo>
                <a:lnTo>
                  <a:pt x="600919" y="452533"/>
                </a:lnTo>
                <a:lnTo>
                  <a:pt x="600919" y="451288"/>
                </a:lnTo>
                <a:cubicBezTo>
                  <a:pt x="583497" y="441327"/>
                  <a:pt x="568564" y="428877"/>
                  <a:pt x="556120" y="413937"/>
                </a:cubicBezTo>
                <a:close/>
                <a:moveTo>
                  <a:pt x="900726" y="285639"/>
                </a:moveTo>
                <a:lnTo>
                  <a:pt x="971144" y="285639"/>
                </a:lnTo>
                <a:cubicBezTo>
                  <a:pt x="979947" y="285639"/>
                  <a:pt x="987492" y="292963"/>
                  <a:pt x="987492" y="301508"/>
                </a:cubicBezTo>
                <a:cubicBezTo>
                  <a:pt x="987492" y="310053"/>
                  <a:pt x="979947" y="317378"/>
                  <a:pt x="971144" y="317378"/>
                </a:cubicBezTo>
                <a:lnTo>
                  <a:pt x="900726" y="317378"/>
                </a:lnTo>
                <a:cubicBezTo>
                  <a:pt x="891924" y="317378"/>
                  <a:pt x="884379" y="310053"/>
                  <a:pt x="884379" y="301508"/>
                </a:cubicBezTo>
                <a:cubicBezTo>
                  <a:pt x="884379" y="292963"/>
                  <a:pt x="891924" y="285639"/>
                  <a:pt x="900726" y="285639"/>
                </a:cubicBezTo>
                <a:close/>
                <a:moveTo>
                  <a:pt x="406353" y="285639"/>
                </a:moveTo>
                <a:lnTo>
                  <a:pt x="476771" y="285639"/>
                </a:lnTo>
                <a:cubicBezTo>
                  <a:pt x="486831" y="285639"/>
                  <a:pt x="493119" y="292963"/>
                  <a:pt x="493119" y="301508"/>
                </a:cubicBezTo>
                <a:cubicBezTo>
                  <a:pt x="493119" y="310053"/>
                  <a:pt x="486831" y="317378"/>
                  <a:pt x="476771" y="317378"/>
                </a:cubicBezTo>
                <a:lnTo>
                  <a:pt x="406353" y="317378"/>
                </a:lnTo>
                <a:cubicBezTo>
                  <a:pt x="397551" y="317378"/>
                  <a:pt x="390006" y="310053"/>
                  <a:pt x="390006" y="301508"/>
                </a:cubicBezTo>
                <a:cubicBezTo>
                  <a:pt x="390006" y="292963"/>
                  <a:pt x="397551" y="285639"/>
                  <a:pt x="406353" y="285639"/>
                </a:cubicBezTo>
                <a:close/>
                <a:moveTo>
                  <a:pt x="1262781" y="228896"/>
                </a:moveTo>
                <a:cubicBezTo>
                  <a:pt x="1214442" y="228896"/>
                  <a:pt x="1174780" y="268763"/>
                  <a:pt x="1174780" y="318597"/>
                </a:cubicBezTo>
                <a:cubicBezTo>
                  <a:pt x="1174780" y="365939"/>
                  <a:pt x="1214442" y="405806"/>
                  <a:pt x="1262781" y="405806"/>
                </a:cubicBezTo>
                <a:cubicBezTo>
                  <a:pt x="1309880" y="405806"/>
                  <a:pt x="1349542" y="365939"/>
                  <a:pt x="1349542" y="318597"/>
                </a:cubicBezTo>
                <a:cubicBezTo>
                  <a:pt x="1349542" y="268763"/>
                  <a:pt x="1309880" y="228896"/>
                  <a:pt x="1262781" y="228896"/>
                </a:cubicBezTo>
                <a:close/>
                <a:moveTo>
                  <a:pt x="119601" y="228896"/>
                </a:moveTo>
                <a:cubicBezTo>
                  <a:pt x="71013" y="228896"/>
                  <a:pt x="32392" y="268763"/>
                  <a:pt x="32392" y="318597"/>
                </a:cubicBezTo>
                <a:cubicBezTo>
                  <a:pt x="32392" y="365939"/>
                  <a:pt x="71013" y="405806"/>
                  <a:pt x="119601" y="405806"/>
                </a:cubicBezTo>
                <a:cubicBezTo>
                  <a:pt x="169434" y="405806"/>
                  <a:pt x="208055" y="365939"/>
                  <a:pt x="208055" y="318597"/>
                </a:cubicBezTo>
                <a:cubicBezTo>
                  <a:pt x="208055" y="268763"/>
                  <a:pt x="169434" y="228896"/>
                  <a:pt x="119601" y="228896"/>
                </a:cubicBezTo>
                <a:close/>
                <a:moveTo>
                  <a:pt x="1262781" y="197750"/>
                </a:moveTo>
                <a:cubicBezTo>
                  <a:pt x="1328472" y="197750"/>
                  <a:pt x="1383008" y="251321"/>
                  <a:pt x="1383008" y="318597"/>
                </a:cubicBezTo>
                <a:cubicBezTo>
                  <a:pt x="1383008" y="384626"/>
                  <a:pt x="1328472" y="438197"/>
                  <a:pt x="1262781" y="438197"/>
                </a:cubicBezTo>
                <a:cubicBezTo>
                  <a:pt x="1195850" y="438197"/>
                  <a:pt x="1142554" y="384626"/>
                  <a:pt x="1142554" y="318597"/>
                </a:cubicBezTo>
                <a:cubicBezTo>
                  <a:pt x="1142554" y="251321"/>
                  <a:pt x="1195850" y="197750"/>
                  <a:pt x="1262781" y="197750"/>
                </a:cubicBezTo>
                <a:close/>
                <a:moveTo>
                  <a:pt x="119601" y="197750"/>
                </a:moveTo>
                <a:cubicBezTo>
                  <a:pt x="186876" y="197750"/>
                  <a:pt x="240447" y="251321"/>
                  <a:pt x="240447" y="318597"/>
                </a:cubicBezTo>
                <a:cubicBezTo>
                  <a:pt x="240447" y="384626"/>
                  <a:pt x="186876" y="438197"/>
                  <a:pt x="119601" y="438197"/>
                </a:cubicBezTo>
                <a:cubicBezTo>
                  <a:pt x="53571" y="438197"/>
                  <a:pt x="0" y="384626"/>
                  <a:pt x="0" y="318597"/>
                </a:cubicBezTo>
                <a:cubicBezTo>
                  <a:pt x="0" y="251321"/>
                  <a:pt x="53571" y="197750"/>
                  <a:pt x="119601" y="197750"/>
                </a:cubicBezTo>
                <a:close/>
                <a:moveTo>
                  <a:pt x="686183" y="175778"/>
                </a:moveTo>
                <a:cubicBezTo>
                  <a:pt x="723177" y="175778"/>
                  <a:pt x="761405" y="194384"/>
                  <a:pt x="783601" y="225392"/>
                </a:cubicBezTo>
                <a:cubicBezTo>
                  <a:pt x="789767" y="234075"/>
                  <a:pt x="788534" y="242757"/>
                  <a:pt x="781135" y="248959"/>
                </a:cubicBezTo>
                <a:cubicBezTo>
                  <a:pt x="777435" y="250200"/>
                  <a:pt x="774969" y="251440"/>
                  <a:pt x="771270" y="251440"/>
                </a:cubicBezTo>
                <a:cubicBezTo>
                  <a:pt x="766337" y="251440"/>
                  <a:pt x="761405" y="248959"/>
                  <a:pt x="758938" y="245238"/>
                </a:cubicBezTo>
                <a:cubicBezTo>
                  <a:pt x="740441" y="221671"/>
                  <a:pt x="713312" y="208027"/>
                  <a:pt x="686183" y="208027"/>
                </a:cubicBezTo>
                <a:cubicBezTo>
                  <a:pt x="676318" y="208027"/>
                  <a:pt x="670152" y="200585"/>
                  <a:pt x="670152" y="191903"/>
                </a:cubicBezTo>
                <a:cubicBezTo>
                  <a:pt x="670152" y="183220"/>
                  <a:pt x="676318" y="175778"/>
                  <a:pt x="686183" y="175778"/>
                </a:cubicBezTo>
                <a:close/>
                <a:moveTo>
                  <a:pt x="681804" y="161200"/>
                </a:moveTo>
                <a:cubicBezTo>
                  <a:pt x="609629" y="164935"/>
                  <a:pt x="551143" y="223450"/>
                  <a:pt x="547409" y="296906"/>
                </a:cubicBezTo>
                <a:cubicBezTo>
                  <a:pt x="546165" y="347951"/>
                  <a:pt x="572297" y="396507"/>
                  <a:pt x="617096" y="422652"/>
                </a:cubicBezTo>
                <a:cubicBezTo>
                  <a:pt x="627051" y="428877"/>
                  <a:pt x="634517" y="441327"/>
                  <a:pt x="634517" y="452533"/>
                </a:cubicBezTo>
                <a:lnTo>
                  <a:pt x="634517" y="453778"/>
                </a:lnTo>
                <a:lnTo>
                  <a:pt x="742780" y="453778"/>
                </a:lnTo>
                <a:lnTo>
                  <a:pt x="742780" y="452533"/>
                </a:lnTo>
                <a:cubicBezTo>
                  <a:pt x="742780" y="441327"/>
                  <a:pt x="749002" y="428877"/>
                  <a:pt x="758957" y="422652"/>
                </a:cubicBezTo>
                <a:cubicBezTo>
                  <a:pt x="802511" y="396507"/>
                  <a:pt x="828643" y="351687"/>
                  <a:pt x="828643" y="301886"/>
                </a:cubicBezTo>
                <a:cubicBezTo>
                  <a:pt x="828643" y="263291"/>
                  <a:pt x="813710" y="225940"/>
                  <a:pt x="785089" y="199795"/>
                </a:cubicBezTo>
                <a:cubicBezTo>
                  <a:pt x="756468" y="172405"/>
                  <a:pt x="719136" y="158710"/>
                  <a:pt x="681804" y="161200"/>
                </a:cubicBezTo>
                <a:close/>
                <a:moveTo>
                  <a:pt x="680560" y="128829"/>
                </a:moveTo>
                <a:cubicBezTo>
                  <a:pt x="727847" y="126339"/>
                  <a:pt x="772645" y="143769"/>
                  <a:pt x="807488" y="176140"/>
                </a:cubicBezTo>
                <a:cubicBezTo>
                  <a:pt x="841087" y="209755"/>
                  <a:pt x="859753" y="253331"/>
                  <a:pt x="859753" y="301886"/>
                </a:cubicBezTo>
                <a:cubicBezTo>
                  <a:pt x="859753" y="329276"/>
                  <a:pt x="853531" y="356667"/>
                  <a:pt x="841087" y="380322"/>
                </a:cubicBezTo>
                <a:lnTo>
                  <a:pt x="1019036" y="380322"/>
                </a:lnTo>
                <a:cubicBezTo>
                  <a:pt x="1045168" y="380322"/>
                  <a:pt x="1067567" y="396507"/>
                  <a:pt x="1072545" y="418917"/>
                </a:cubicBezTo>
                <a:lnTo>
                  <a:pt x="1094944" y="537193"/>
                </a:lnTo>
                <a:lnTo>
                  <a:pt x="1158409" y="478678"/>
                </a:lnTo>
                <a:cubicBezTo>
                  <a:pt x="1172097" y="464983"/>
                  <a:pt x="1189518" y="458758"/>
                  <a:pt x="1208184" y="458758"/>
                </a:cubicBezTo>
                <a:lnTo>
                  <a:pt x="1267915" y="458758"/>
                </a:lnTo>
                <a:cubicBezTo>
                  <a:pt x="1313958" y="458758"/>
                  <a:pt x="1350046" y="496108"/>
                  <a:pt x="1350046" y="540928"/>
                </a:cubicBezTo>
                <a:lnTo>
                  <a:pt x="1350046" y="890777"/>
                </a:lnTo>
                <a:cubicBezTo>
                  <a:pt x="1350046" y="898247"/>
                  <a:pt x="1342579" y="906962"/>
                  <a:pt x="1333869" y="906962"/>
                </a:cubicBezTo>
                <a:cubicBezTo>
                  <a:pt x="1323913" y="906962"/>
                  <a:pt x="1316447" y="898247"/>
                  <a:pt x="1316447" y="890777"/>
                </a:cubicBezTo>
                <a:lnTo>
                  <a:pt x="1316447" y="540928"/>
                </a:lnTo>
                <a:cubicBezTo>
                  <a:pt x="1316447" y="513538"/>
                  <a:pt x="1295292" y="491128"/>
                  <a:pt x="1267915" y="491128"/>
                </a:cubicBezTo>
                <a:lnTo>
                  <a:pt x="1208184" y="491128"/>
                </a:lnTo>
                <a:cubicBezTo>
                  <a:pt x="1196985" y="491128"/>
                  <a:pt x="1188274" y="494863"/>
                  <a:pt x="1180808" y="502333"/>
                </a:cubicBezTo>
                <a:lnTo>
                  <a:pt x="1058857" y="616874"/>
                </a:lnTo>
                <a:cubicBezTo>
                  <a:pt x="1046413" y="629324"/>
                  <a:pt x="1028991" y="635549"/>
                  <a:pt x="1011570" y="635549"/>
                </a:cubicBezTo>
                <a:lnTo>
                  <a:pt x="869708" y="635549"/>
                </a:lnTo>
                <a:cubicBezTo>
                  <a:pt x="848554" y="635549"/>
                  <a:pt x="831132" y="650490"/>
                  <a:pt x="829888" y="670410"/>
                </a:cubicBezTo>
                <a:cubicBezTo>
                  <a:pt x="828643" y="680370"/>
                  <a:pt x="832376" y="690330"/>
                  <a:pt x="838598" y="699045"/>
                </a:cubicBezTo>
                <a:cubicBezTo>
                  <a:pt x="846065" y="706515"/>
                  <a:pt x="857264" y="711495"/>
                  <a:pt x="867219" y="711495"/>
                </a:cubicBezTo>
                <a:lnTo>
                  <a:pt x="1056368" y="711495"/>
                </a:lnTo>
                <a:cubicBezTo>
                  <a:pt x="1065079" y="711495"/>
                  <a:pt x="1073789" y="707760"/>
                  <a:pt x="1080011" y="701535"/>
                </a:cubicBezTo>
                <a:lnTo>
                  <a:pt x="1236805" y="545908"/>
                </a:lnTo>
                <a:cubicBezTo>
                  <a:pt x="1243027" y="538438"/>
                  <a:pt x="1252983" y="538438"/>
                  <a:pt x="1259205" y="545908"/>
                </a:cubicBezTo>
                <a:cubicBezTo>
                  <a:pt x="1265427" y="550889"/>
                  <a:pt x="1265427" y="560849"/>
                  <a:pt x="1259205" y="568319"/>
                </a:cubicBezTo>
                <a:lnTo>
                  <a:pt x="1177074" y="650490"/>
                </a:lnTo>
                <a:cubicBezTo>
                  <a:pt x="1177074" y="651735"/>
                  <a:pt x="1177074" y="651735"/>
                  <a:pt x="1175830" y="651735"/>
                </a:cubicBezTo>
                <a:lnTo>
                  <a:pt x="1150942" y="753826"/>
                </a:lnTo>
                <a:cubicBezTo>
                  <a:pt x="1150942" y="755071"/>
                  <a:pt x="1150942" y="756316"/>
                  <a:pt x="1149698" y="757561"/>
                </a:cubicBezTo>
                <a:lnTo>
                  <a:pt x="1225606" y="1082509"/>
                </a:lnTo>
                <a:cubicBezTo>
                  <a:pt x="1226850" y="1086244"/>
                  <a:pt x="1226850" y="1091224"/>
                  <a:pt x="1226850" y="1094959"/>
                </a:cubicBezTo>
                <a:cubicBezTo>
                  <a:pt x="1226850" y="1096204"/>
                  <a:pt x="1226850" y="1098694"/>
                  <a:pt x="1226850" y="1098694"/>
                </a:cubicBezTo>
                <a:lnTo>
                  <a:pt x="1226850" y="1184600"/>
                </a:lnTo>
                <a:cubicBezTo>
                  <a:pt x="1226850" y="1223195"/>
                  <a:pt x="1190763" y="1253076"/>
                  <a:pt x="1145965" y="1253076"/>
                </a:cubicBezTo>
                <a:lnTo>
                  <a:pt x="963038" y="1253076"/>
                </a:lnTo>
                <a:lnTo>
                  <a:pt x="968016" y="1292916"/>
                </a:lnTo>
                <a:cubicBezTo>
                  <a:pt x="968016" y="1301631"/>
                  <a:pt x="963038" y="1310346"/>
                  <a:pt x="954327" y="1311591"/>
                </a:cubicBezTo>
                <a:cubicBezTo>
                  <a:pt x="944372" y="1311591"/>
                  <a:pt x="936906" y="1306611"/>
                  <a:pt x="935661" y="1297896"/>
                </a:cubicBezTo>
                <a:lnTo>
                  <a:pt x="902063" y="1052629"/>
                </a:lnTo>
                <a:cubicBezTo>
                  <a:pt x="897085" y="1027728"/>
                  <a:pt x="882152" y="1000338"/>
                  <a:pt x="852287" y="1000338"/>
                </a:cubicBezTo>
                <a:lnTo>
                  <a:pt x="541187" y="1000338"/>
                </a:lnTo>
                <a:cubicBezTo>
                  <a:pt x="510078" y="1000338"/>
                  <a:pt x="496389" y="1028973"/>
                  <a:pt x="491412" y="1052629"/>
                </a:cubicBezTo>
                <a:lnTo>
                  <a:pt x="480212" y="1124839"/>
                </a:lnTo>
                <a:lnTo>
                  <a:pt x="450346" y="1297896"/>
                </a:lnTo>
                <a:cubicBezTo>
                  <a:pt x="450346" y="1306611"/>
                  <a:pt x="442880" y="1311591"/>
                  <a:pt x="434169" y="1311591"/>
                </a:cubicBezTo>
                <a:lnTo>
                  <a:pt x="432925" y="1311591"/>
                </a:lnTo>
                <a:cubicBezTo>
                  <a:pt x="422970" y="1310346"/>
                  <a:pt x="417992" y="1301631"/>
                  <a:pt x="417992" y="1292916"/>
                </a:cubicBezTo>
                <a:lnTo>
                  <a:pt x="425459" y="1253076"/>
                </a:lnTo>
                <a:lnTo>
                  <a:pt x="232577" y="1253076"/>
                </a:lnTo>
                <a:cubicBezTo>
                  <a:pt x="189023" y="1253076"/>
                  <a:pt x="154180" y="1223195"/>
                  <a:pt x="154180" y="1184600"/>
                </a:cubicBezTo>
                <a:lnTo>
                  <a:pt x="154180" y="1098694"/>
                </a:lnTo>
                <a:cubicBezTo>
                  <a:pt x="154180" y="1097449"/>
                  <a:pt x="154180" y="1096204"/>
                  <a:pt x="154180" y="1094959"/>
                </a:cubicBezTo>
                <a:cubicBezTo>
                  <a:pt x="154180" y="1089979"/>
                  <a:pt x="154180" y="1086244"/>
                  <a:pt x="154180" y="1082509"/>
                </a:cubicBezTo>
                <a:lnTo>
                  <a:pt x="233821" y="746355"/>
                </a:lnTo>
                <a:lnTo>
                  <a:pt x="211422" y="651735"/>
                </a:lnTo>
                <a:cubicBezTo>
                  <a:pt x="211422" y="651735"/>
                  <a:pt x="211422" y="651735"/>
                  <a:pt x="211422" y="650490"/>
                </a:cubicBezTo>
                <a:lnTo>
                  <a:pt x="128048" y="568319"/>
                </a:lnTo>
                <a:cubicBezTo>
                  <a:pt x="121826" y="560849"/>
                  <a:pt x="121826" y="550889"/>
                  <a:pt x="128048" y="545908"/>
                </a:cubicBezTo>
                <a:cubicBezTo>
                  <a:pt x="135514" y="538438"/>
                  <a:pt x="144225" y="538438"/>
                  <a:pt x="151691" y="545908"/>
                </a:cubicBezTo>
                <a:lnTo>
                  <a:pt x="307241" y="701535"/>
                </a:lnTo>
                <a:cubicBezTo>
                  <a:pt x="313463" y="707760"/>
                  <a:pt x="323418" y="711495"/>
                  <a:pt x="332129" y="711495"/>
                </a:cubicBezTo>
                <a:lnTo>
                  <a:pt x="520033" y="711495"/>
                </a:lnTo>
                <a:cubicBezTo>
                  <a:pt x="531232" y="711495"/>
                  <a:pt x="541187" y="706515"/>
                  <a:pt x="547409" y="699045"/>
                </a:cubicBezTo>
                <a:cubicBezTo>
                  <a:pt x="556120" y="690330"/>
                  <a:pt x="558609" y="680370"/>
                  <a:pt x="558609" y="670410"/>
                </a:cubicBezTo>
                <a:cubicBezTo>
                  <a:pt x="556120" y="650490"/>
                  <a:pt x="538699" y="635549"/>
                  <a:pt x="517544" y="635549"/>
                </a:cubicBezTo>
                <a:lnTo>
                  <a:pt x="375683" y="635549"/>
                </a:lnTo>
                <a:cubicBezTo>
                  <a:pt x="358261" y="635549"/>
                  <a:pt x="342084" y="629324"/>
                  <a:pt x="329640" y="615629"/>
                </a:cubicBezTo>
                <a:lnTo>
                  <a:pt x="206445" y="502333"/>
                </a:lnTo>
                <a:cubicBezTo>
                  <a:pt x="200223" y="494863"/>
                  <a:pt x="189023" y="491128"/>
                  <a:pt x="180312" y="491128"/>
                </a:cubicBezTo>
                <a:lnTo>
                  <a:pt x="119337" y="491128"/>
                </a:lnTo>
                <a:cubicBezTo>
                  <a:pt x="91960" y="491128"/>
                  <a:pt x="69561" y="513538"/>
                  <a:pt x="69561" y="540928"/>
                </a:cubicBezTo>
                <a:lnTo>
                  <a:pt x="69561" y="890777"/>
                </a:lnTo>
                <a:cubicBezTo>
                  <a:pt x="69561" y="898247"/>
                  <a:pt x="63339" y="906962"/>
                  <a:pt x="54628" y="906962"/>
                </a:cubicBezTo>
                <a:cubicBezTo>
                  <a:pt x="44673" y="906962"/>
                  <a:pt x="38451" y="898247"/>
                  <a:pt x="38451" y="890777"/>
                </a:cubicBezTo>
                <a:lnTo>
                  <a:pt x="38451" y="540928"/>
                </a:lnTo>
                <a:cubicBezTo>
                  <a:pt x="38451" y="496108"/>
                  <a:pt x="74539" y="458758"/>
                  <a:pt x="119337" y="458758"/>
                </a:cubicBezTo>
                <a:lnTo>
                  <a:pt x="180312" y="458758"/>
                </a:lnTo>
                <a:cubicBezTo>
                  <a:pt x="197734" y="458758"/>
                  <a:pt x="215155" y="464983"/>
                  <a:pt x="228844" y="478678"/>
                </a:cubicBezTo>
                <a:lnTo>
                  <a:pt x="286086" y="530968"/>
                </a:lnTo>
                <a:lnTo>
                  <a:pt x="307241" y="420162"/>
                </a:lnTo>
                <a:cubicBezTo>
                  <a:pt x="313463" y="396507"/>
                  <a:pt x="334618" y="380322"/>
                  <a:pt x="360750" y="380322"/>
                </a:cubicBezTo>
                <a:lnTo>
                  <a:pt x="534965" y="380322"/>
                </a:lnTo>
                <a:cubicBezTo>
                  <a:pt x="521277" y="355422"/>
                  <a:pt x="515055" y="325541"/>
                  <a:pt x="515055" y="295661"/>
                </a:cubicBezTo>
                <a:cubicBezTo>
                  <a:pt x="518788" y="207265"/>
                  <a:pt x="590963" y="132564"/>
                  <a:pt x="680560" y="128829"/>
                </a:cubicBezTo>
                <a:close/>
                <a:moveTo>
                  <a:pt x="892740" y="83910"/>
                </a:moveTo>
                <a:cubicBezTo>
                  <a:pt x="896880" y="83910"/>
                  <a:pt x="901019" y="85425"/>
                  <a:pt x="904203" y="88454"/>
                </a:cubicBezTo>
                <a:cubicBezTo>
                  <a:pt x="910572" y="94512"/>
                  <a:pt x="910572" y="104206"/>
                  <a:pt x="904203" y="111477"/>
                </a:cubicBezTo>
                <a:lnTo>
                  <a:pt x="853253" y="158734"/>
                </a:lnTo>
                <a:cubicBezTo>
                  <a:pt x="850706" y="162369"/>
                  <a:pt x="846885" y="163581"/>
                  <a:pt x="841790" y="163581"/>
                </a:cubicBezTo>
                <a:cubicBezTo>
                  <a:pt x="837968" y="163581"/>
                  <a:pt x="832873" y="162369"/>
                  <a:pt x="830326" y="158734"/>
                </a:cubicBezTo>
                <a:cubicBezTo>
                  <a:pt x="823957" y="152675"/>
                  <a:pt x="823957" y="142981"/>
                  <a:pt x="830326" y="136923"/>
                </a:cubicBezTo>
                <a:lnTo>
                  <a:pt x="881276" y="88454"/>
                </a:lnTo>
                <a:cubicBezTo>
                  <a:pt x="884460" y="85425"/>
                  <a:pt x="888600" y="83910"/>
                  <a:pt x="892740" y="83910"/>
                </a:cubicBezTo>
                <a:close/>
                <a:moveTo>
                  <a:pt x="490392" y="83910"/>
                </a:moveTo>
                <a:cubicBezTo>
                  <a:pt x="494691" y="83910"/>
                  <a:pt x="499149" y="85425"/>
                  <a:pt x="502970" y="88454"/>
                </a:cubicBezTo>
                <a:lnTo>
                  <a:pt x="553920" y="136923"/>
                </a:lnTo>
                <a:cubicBezTo>
                  <a:pt x="559015" y="142981"/>
                  <a:pt x="559015" y="152675"/>
                  <a:pt x="553920" y="158734"/>
                </a:cubicBezTo>
                <a:cubicBezTo>
                  <a:pt x="548825" y="162369"/>
                  <a:pt x="545004" y="163581"/>
                  <a:pt x="541183" y="163581"/>
                </a:cubicBezTo>
                <a:cubicBezTo>
                  <a:pt x="537361" y="163581"/>
                  <a:pt x="533540" y="162369"/>
                  <a:pt x="529719" y="158734"/>
                </a:cubicBezTo>
                <a:lnTo>
                  <a:pt x="478769" y="111477"/>
                </a:lnTo>
                <a:cubicBezTo>
                  <a:pt x="472400" y="104206"/>
                  <a:pt x="472400" y="94512"/>
                  <a:pt x="478769" y="88454"/>
                </a:cubicBezTo>
                <a:cubicBezTo>
                  <a:pt x="481954" y="85425"/>
                  <a:pt x="486093" y="83910"/>
                  <a:pt x="490392" y="83910"/>
                </a:cubicBezTo>
                <a:close/>
                <a:moveTo>
                  <a:pt x="686631" y="0"/>
                </a:moveTo>
                <a:cubicBezTo>
                  <a:pt x="695505" y="0"/>
                  <a:pt x="701843" y="7544"/>
                  <a:pt x="701843" y="16346"/>
                </a:cubicBezTo>
                <a:lnTo>
                  <a:pt x="701843" y="88020"/>
                </a:lnTo>
                <a:cubicBezTo>
                  <a:pt x="701843" y="95564"/>
                  <a:pt x="695505" y="103109"/>
                  <a:pt x="686631" y="103109"/>
                </a:cubicBezTo>
                <a:cubicBezTo>
                  <a:pt x="677758" y="103109"/>
                  <a:pt x="670152" y="95564"/>
                  <a:pt x="670152" y="88020"/>
                </a:cubicBezTo>
                <a:lnTo>
                  <a:pt x="670152" y="16346"/>
                </a:lnTo>
                <a:cubicBezTo>
                  <a:pt x="670152" y="7544"/>
                  <a:pt x="677758" y="0"/>
                  <a:pt x="686631" y="0"/>
                </a:cubicBezTo>
                <a:close/>
              </a:path>
            </a:pathLst>
          </a:custGeom>
          <a:solidFill>
            <a:schemeClr val="accent2"/>
          </a:solidFill>
          <a:ln>
            <a:noFill/>
          </a:ln>
          <a:effectLst/>
        </p:spPr>
        <p:txBody>
          <a:bodyPr wrap="square" anchor="ctr">
            <a:noAutofit/>
          </a:bodyPr>
          <a:lstStyle/>
          <a:p>
            <a:endParaRPr lang="en-US" dirty="0">
              <a:latin typeface="Poppins" pitchFamily="2" charset="77"/>
            </a:endParaRPr>
          </a:p>
        </p:txBody>
      </p:sp>
      <p:sp>
        <p:nvSpPr>
          <p:cNvPr id="12" name="Freeform 23">
            <a:extLst>
              <a:ext uri="{FF2B5EF4-FFF2-40B4-BE49-F238E27FC236}">
                <a16:creationId xmlns:a16="http://schemas.microsoft.com/office/drawing/2014/main" id="{FE8E77AE-6AFA-ED9B-B0A0-7981AA460A56}"/>
              </a:ext>
            </a:extLst>
          </p:cNvPr>
          <p:cNvSpPr>
            <a:spLocks noChangeArrowheads="1"/>
          </p:cNvSpPr>
          <p:nvPr/>
        </p:nvSpPr>
        <p:spPr bwMode="auto">
          <a:xfrm>
            <a:off x="7493347" y="2375389"/>
            <a:ext cx="616182" cy="551432"/>
          </a:xfrm>
          <a:custGeom>
            <a:avLst/>
            <a:gdLst>
              <a:gd name="connsiteX0" fmla="*/ 945459 w 1232363"/>
              <a:gd name="connsiteY0" fmla="*/ 747056 h 1102864"/>
              <a:gd name="connsiteX1" fmla="*/ 961328 w 1232363"/>
              <a:gd name="connsiteY1" fmla="*/ 763205 h 1102864"/>
              <a:gd name="connsiteX2" fmla="*/ 961328 w 1232363"/>
              <a:gd name="connsiteY2" fmla="*/ 1081219 h 1102864"/>
              <a:gd name="connsiteX3" fmla="*/ 945459 w 1232363"/>
              <a:gd name="connsiteY3" fmla="*/ 1097368 h 1102864"/>
              <a:gd name="connsiteX4" fmla="*/ 929590 w 1232363"/>
              <a:gd name="connsiteY4" fmla="*/ 1081219 h 1102864"/>
              <a:gd name="connsiteX5" fmla="*/ 929590 w 1232363"/>
              <a:gd name="connsiteY5" fmla="*/ 763205 h 1102864"/>
              <a:gd name="connsiteX6" fmla="*/ 945459 w 1232363"/>
              <a:gd name="connsiteY6" fmla="*/ 747056 h 1102864"/>
              <a:gd name="connsiteX7" fmla="*/ 286294 w 1232363"/>
              <a:gd name="connsiteY7" fmla="*/ 747056 h 1102864"/>
              <a:gd name="connsiteX8" fmla="*/ 302163 w 1232363"/>
              <a:gd name="connsiteY8" fmla="*/ 763205 h 1102864"/>
              <a:gd name="connsiteX9" fmla="*/ 302163 w 1232363"/>
              <a:gd name="connsiteY9" fmla="*/ 1081219 h 1102864"/>
              <a:gd name="connsiteX10" fmla="*/ 286294 w 1232363"/>
              <a:gd name="connsiteY10" fmla="*/ 1097368 h 1102864"/>
              <a:gd name="connsiteX11" fmla="*/ 270425 w 1232363"/>
              <a:gd name="connsiteY11" fmla="*/ 1081219 h 1102864"/>
              <a:gd name="connsiteX12" fmla="*/ 270425 w 1232363"/>
              <a:gd name="connsiteY12" fmla="*/ 763205 h 1102864"/>
              <a:gd name="connsiteX13" fmla="*/ 286294 w 1232363"/>
              <a:gd name="connsiteY13" fmla="*/ 747056 h 1102864"/>
              <a:gd name="connsiteX14" fmla="*/ 665173 w 1232363"/>
              <a:gd name="connsiteY14" fmla="*/ 485407 h 1102864"/>
              <a:gd name="connsiteX15" fmla="*/ 676409 w 1232363"/>
              <a:gd name="connsiteY15" fmla="*/ 490838 h 1102864"/>
              <a:gd name="connsiteX16" fmla="*/ 743824 w 1232363"/>
              <a:gd name="connsiteY16" fmla="*/ 583945 h 1102864"/>
              <a:gd name="connsiteX17" fmla="*/ 743824 w 1232363"/>
              <a:gd name="connsiteY17" fmla="*/ 624912 h 1102864"/>
              <a:gd name="connsiteX18" fmla="*/ 676409 w 1232363"/>
              <a:gd name="connsiteY18" fmla="*/ 716778 h 1102864"/>
              <a:gd name="connsiteX19" fmla="*/ 662677 w 1232363"/>
              <a:gd name="connsiteY19" fmla="*/ 724227 h 1102864"/>
              <a:gd name="connsiteX20" fmla="*/ 653938 w 1232363"/>
              <a:gd name="connsiteY20" fmla="*/ 720503 h 1102864"/>
              <a:gd name="connsiteX21" fmla="*/ 650193 w 1232363"/>
              <a:gd name="connsiteY21" fmla="*/ 698157 h 1102864"/>
              <a:gd name="connsiteX22" fmla="*/ 707620 w 1232363"/>
              <a:gd name="connsiteY22" fmla="*/ 619947 h 1102864"/>
              <a:gd name="connsiteX23" fmla="*/ 450446 w 1232363"/>
              <a:gd name="connsiteY23" fmla="*/ 619947 h 1102864"/>
              <a:gd name="connsiteX24" fmla="*/ 450446 w 1232363"/>
              <a:gd name="connsiteY24" fmla="*/ 1086725 h 1102864"/>
              <a:gd name="connsiteX25" fmla="*/ 434217 w 1232363"/>
              <a:gd name="connsiteY25" fmla="*/ 1102864 h 1102864"/>
              <a:gd name="connsiteX26" fmla="*/ 419236 w 1232363"/>
              <a:gd name="connsiteY26" fmla="*/ 1086725 h 1102864"/>
              <a:gd name="connsiteX27" fmla="*/ 419236 w 1232363"/>
              <a:gd name="connsiteY27" fmla="*/ 619947 h 1102864"/>
              <a:gd name="connsiteX28" fmla="*/ 358063 w 1232363"/>
              <a:gd name="connsiteY28" fmla="*/ 619947 h 1102864"/>
              <a:gd name="connsiteX29" fmla="*/ 341834 w 1232363"/>
              <a:gd name="connsiteY29" fmla="*/ 605050 h 1102864"/>
              <a:gd name="connsiteX30" fmla="*/ 358063 w 1232363"/>
              <a:gd name="connsiteY30" fmla="*/ 587670 h 1102864"/>
              <a:gd name="connsiteX31" fmla="*/ 434217 w 1232363"/>
              <a:gd name="connsiteY31" fmla="*/ 587670 h 1102864"/>
              <a:gd name="connsiteX32" fmla="*/ 435465 w 1232363"/>
              <a:gd name="connsiteY32" fmla="*/ 587670 h 1102864"/>
              <a:gd name="connsiteX33" fmla="*/ 707620 w 1232363"/>
              <a:gd name="connsiteY33" fmla="*/ 587670 h 1102864"/>
              <a:gd name="connsiteX34" fmla="*/ 650193 w 1232363"/>
              <a:gd name="connsiteY34" fmla="*/ 510701 h 1102864"/>
              <a:gd name="connsiteX35" fmla="*/ 653938 w 1232363"/>
              <a:gd name="connsiteY35" fmla="*/ 488355 h 1102864"/>
              <a:gd name="connsiteX36" fmla="*/ 665173 w 1232363"/>
              <a:gd name="connsiteY36" fmla="*/ 485407 h 1102864"/>
              <a:gd name="connsiteX37" fmla="*/ 796340 w 1232363"/>
              <a:gd name="connsiteY37" fmla="*/ 417471 h 1102864"/>
              <a:gd name="connsiteX38" fmla="*/ 812465 w 1232363"/>
              <a:gd name="connsiteY38" fmla="*/ 434836 h 1102864"/>
              <a:gd name="connsiteX39" fmla="*/ 812465 w 1232363"/>
              <a:gd name="connsiteY39" fmla="*/ 896252 h 1102864"/>
              <a:gd name="connsiteX40" fmla="*/ 868281 w 1232363"/>
              <a:gd name="connsiteY40" fmla="*/ 896252 h 1102864"/>
              <a:gd name="connsiteX41" fmla="*/ 884406 w 1232363"/>
              <a:gd name="connsiteY41" fmla="*/ 912377 h 1102864"/>
              <a:gd name="connsiteX42" fmla="*/ 868281 w 1232363"/>
              <a:gd name="connsiteY42" fmla="*/ 928502 h 1102864"/>
              <a:gd name="connsiteX43" fmla="*/ 797581 w 1232363"/>
              <a:gd name="connsiteY43" fmla="*/ 928502 h 1102864"/>
              <a:gd name="connsiteX44" fmla="*/ 796340 w 1232363"/>
              <a:gd name="connsiteY44" fmla="*/ 928502 h 1102864"/>
              <a:gd name="connsiteX45" fmla="*/ 795100 w 1232363"/>
              <a:gd name="connsiteY45" fmla="*/ 928502 h 1102864"/>
              <a:gd name="connsiteX46" fmla="*/ 508577 w 1232363"/>
              <a:gd name="connsiteY46" fmla="*/ 928502 h 1102864"/>
              <a:gd name="connsiteX47" fmla="*/ 565634 w 1232363"/>
              <a:gd name="connsiteY47" fmla="*/ 1006645 h 1102864"/>
              <a:gd name="connsiteX48" fmla="*/ 561913 w 1232363"/>
              <a:gd name="connsiteY48" fmla="*/ 1028971 h 1102864"/>
              <a:gd name="connsiteX49" fmla="*/ 551990 w 1232363"/>
              <a:gd name="connsiteY49" fmla="*/ 1031452 h 1102864"/>
              <a:gd name="connsiteX50" fmla="*/ 539586 w 1232363"/>
              <a:gd name="connsiteY50" fmla="*/ 1025250 h 1102864"/>
              <a:gd name="connsiteX51" fmla="*/ 471367 w 1232363"/>
              <a:gd name="connsiteY51" fmla="*/ 933463 h 1102864"/>
              <a:gd name="connsiteX52" fmla="*/ 471367 w 1232363"/>
              <a:gd name="connsiteY52" fmla="*/ 892531 h 1102864"/>
              <a:gd name="connsiteX53" fmla="*/ 539586 w 1232363"/>
              <a:gd name="connsiteY53" fmla="*/ 799504 h 1102864"/>
              <a:gd name="connsiteX54" fmla="*/ 561913 w 1232363"/>
              <a:gd name="connsiteY54" fmla="*/ 795783 h 1102864"/>
              <a:gd name="connsiteX55" fmla="*/ 565634 w 1232363"/>
              <a:gd name="connsiteY55" fmla="*/ 818109 h 1102864"/>
              <a:gd name="connsiteX56" fmla="*/ 508577 w 1232363"/>
              <a:gd name="connsiteY56" fmla="*/ 896252 h 1102864"/>
              <a:gd name="connsiteX57" fmla="*/ 780216 w 1232363"/>
              <a:gd name="connsiteY57" fmla="*/ 896252 h 1102864"/>
              <a:gd name="connsiteX58" fmla="*/ 780216 w 1232363"/>
              <a:gd name="connsiteY58" fmla="*/ 434836 h 1102864"/>
              <a:gd name="connsiteX59" fmla="*/ 796340 w 1232363"/>
              <a:gd name="connsiteY59" fmla="*/ 417471 h 1102864"/>
              <a:gd name="connsiteX60" fmla="*/ 799336 w 1232363"/>
              <a:gd name="connsiteY60" fmla="*/ 324094 h 1102864"/>
              <a:gd name="connsiteX61" fmla="*/ 1046880 w 1232363"/>
              <a:gd name="connsiteY61" fmla="*/ 324094 h 1102864"/>
              <a:gd name="connsiteX62" fmla="*/ 1089174 w 1232363"/>
              <a:gd name="connsiteY62" fmla="*/ 324094 h 1102864"/>
              <a:gd name="connsiteX63" fmla="*/ 1203617 w 1232363"/>
              <a:gd name="connsiteY63" fmla="*/ 446205 h 1102864"/>
              <a:gd name="connsiteX64" fmla="*/ 1230983 w 1232363"/>
              <a:gd name="connsiteY64" fmla="*/ 569562 h 1102864"/>
              <a:gd name="connsiteX65" fmla="*/ 1208592 w 1232363"/>
              <a:gd name="connsiteY65" fmla="*/ 639339 h 1102864"/>
              <a:gd name="connsiteX66" fmla="*/ 1105345 w 1232363"/>
              <a:gd name="connsiteY66" fmla="*/ 735283 h 1102864"/>
              <a:gd name="connsiteX67" fmla="*/ 1105345 w 1232363"/>
              <a:gd name="connsiteY67" fmla="*/ 1086663 h 1102864"/>
              <a:gd name="connsiteX68" fmla="*/ 1090418 w 1232363"/>
              <a:gd name="connsiteY68" fmla="*/ 1102861 h 1102864"/>
              <a:gd name="connsiteX69" fmla="*/ 1073003 w 1232363"/>
              <a:gd name="connsiteY69" fmla="*/ 1086663 h 1102864"/>
              <a:gd name="connsiteX70" fmla="*/ 1073003 w 1232363"/>
              <a:gd name="connsiteY70" fmla="*/ 433745 h 1102864"/>
              <a:gd name="connsiteX71" fmla="*/ 1090418 w 1232363"/>
              <a:gd name="connsiteY71" fmla="*/ 416300 h 1102864"/>
              <a:gd name="connsiteX72" fmla="*/ 1105345 w 1232363"/>
              <a:gd name="connsiteY72" fmla="*/ 433745 h 1102864"/>
              <a:gd name="connsiteX73" fmla="*/ 1105345 w 1232363"/>
              <a:gd name="connsiteY73" fmla="*/ 528443 h 1102864"/>
              <a:gd name="connsiteX74" fmla="*/ 1119029 w 1232363"/>
              <a:gd name="connsiteY74" fmla="*/ 515982 h 1102864"/>
              <a:gd name="connsiteX75" fmla="*/ 1142664 w 1232363"/>
              <a:gd name="connsiteY75" fmla="*/ 515982 h 1102864"/>
              <a:gd name="connsiteX76" fmla="*/ 1142664 w 1232363"/>
              <a:gd name="connsiteY76" fmla="*/ 538411 h 1102864"/>
              <a:gd name="connsiteX77" fmla="*/ 1105345 w 1232363"/>
              <a:gd name="connsiteY77" fmla="*/ 574546 h 1102864"/>
              <a:gd name="connsiteX78" fmla="*/ 1105345 w 1232363"/>
              <a:gd name="connsiteY78" fmla="*/ 690426 h 1102864"/>
              <a:gd name="connsiteX79" fmla="*/ 1186201 w 1232363"/>
              <a:gd name="connsiteY79" fmla="*/ 615665 h 1102864"/>
              <a:gd name="connsiteX80" fmla="*/ 1198641 w 1232363"/>
              <a:gd name="connsiteY80" fmla="*/ 577038 h 1102864"/>
              <a:gd name="connsiteX81" fmla="*/ 1172518 w 1232363"/>
              <a:gd name="connsiteY81" fmla="*/ 453681 h 1102864"/>
              <a:gd name="connsiteX82" fmla="*/ 1089174 w 1232363"/>
              <a:gd name="connsiteY82" fmla="*/ 356490 h 1102864"/>
              <a:gd name="connsiteX83" fmla="*/ 1046880 w 1232363"/>
              <a:gd name="connsiteY83" fmla="*/ 356490 h 1102864"/>
              <a:gd name="connsiteX84" fmla="*/ 799336 w 1232363"/>
              <a:gd name="connsiteY84" fmla="*/ 356490 h 1102864"/>
              <a:gd name="connsiteX85" fmla="*/ 715992 w 1232363"/>
              <a:gd name="connsiteY85" fmla="*/ 456173 h 1102864"/>
              <a:gd name="connsiteX86" fmla="*/ 699821 w 1232363"/>
              <a:gd name="connsiteY86" fmla="*/ 467387 h 1102864"/>
              <a:gd name="connsiteX87" fmla="*/ 696089 w 1232363"/>
              <a:gd name="connsiteY87" fmla="*/ 466141 h 1102864"/>
              <a:gd name="connsiteX88" fmla="*/ 684894 w 1232363"/>
              <a:gd name="connsiteY88" fmla="*/ 446205 h 1102864"/>
              <a:gd name="connsiteX89" fmla="*/ 799336 w 1232363"/>
              <a:gd name="connsiteY89" fmla="*/ 324094 h 1102864"/>
              <a:gd name="connsiteX90" fmla="*/ 143800 w 1232363"/>
              <a:gd name="connsiteY90" fmla="*/ 324094 h 1102864"/>
              <a:gd name="connsiteX91" fmla="*/ 391344 w 1232363"/>
              <a:gd name="connsiteY91" fmla="*/ 324094 h 1102864"/>
              <a:gd name="connsiteX92" fmla="*/ 433638 w 1232363"/>
              <a:gd name="connsiteY92" fmla="*/ 324094 h 1102864"/>
              <a:gd name="connsiteX93" fmla="*/ 548081 w 1232363"/>
              <a:gd name="connsiteY93" fmla="*/ 446205 h 1102864"/>
              <a:gd name="connsiteX94" fmla="*/ 535642 w 1232363"/>
              <a:gd name="connsiteY94" fmla="*/ 466141 h 1102864"/>
              <a:gd name="connsiteX95" fmla="*/ 531910 w 1232363"/>
              <a:gd name="connsiteY95" fmla="*/ 467387 h 1102864"/>
              <a:gd name="connsiteX96" fmla="*/ 515739 w 1232363"/>
              <a:gd name="connsiteY96" fmla="*/ 456173 h 1102864"/>
              <a:gd name="connsiteX97" fmla="*/ 433638 w 1232363"/>
              <a:gd name="connsiteY97" fmla="*/ 356490 h 1102864"/>
              <a:gd name="connsiteX98" fmla="*/ 391344 w 1232363"/>
              <a:gd name="connsiteY98" fmla="*/ 356490 h 1102864"/>
              <a:gd name="connsiteX99" fmla="*/ 143800 w 1232363"/>
              <a:gd name="connsiteY99" fmla="*/ 356490 h 1102864"/>
              <a:gd name="connsiteX100" fmla="*/ 60456 w 1232363"/>
              <a:gd name="connsiteY100" fmla="*/ 456173 h 1102864"/>
              <a:gd name="connsiteX101" fmla="*/ 33089 w 1232363"/>
              <a:gd name="connsiteY101" fmla="*/ 577038 h 1102864"/>
              <a:gd name="connsiteX102" fmla="*/ 45529 w 1232363"/>
              <a:gd name="connsiteY102" fmla="*/ 615665 h 1102864"/>
              <a:gd name="connsiteX103" fmla="*/ 126385 w 1232363"/>
              <a:gd name="connsiteY103" fmla="*/ 690426 h 1102864"/>
              <a:gd name="connsiteX104" fmla="*/ 126385 w 1232363"/>
              <a:gd name="connsiteY104" fmla="*/ 575792 h 1102864"/>
              <a:gd name="connsiteX105" fmla="*/ 89067 w 1232363"/>
              <a:gd name="connsiteY105" fmla="*/ 538411 h 1102864"/>
              <a:gd name="connsiteX106" fmla="*/ 89067 w 1232363"/>
              <a:gd name="connsiteY106" fmla="*/ 515982 h 1102864"/>
              <a:gd name="connsiteX107" fmla="*/ 111458 w 1232363"/>
              <a:gd name="connsiteY107" fmla="*/ 515982 h 1102864"/>
              <a:gd name="connsiteX108" fmla="*/ 126385 w 1232363"/>
              <a:gd name="connsiteY108" fmla="*/ 530935 h 1102864"/>
              <a:gd name="connsiteX109" fmla="*/ 126385 w 1232363"/>
              <a:gd name="connsiteY109" fmla="*/ 433745 h 1102864"/>
              <a:gd name="connsiteX110" fmla="*/ 142556 w 1232363"/>
              <a:gd name="connsiteY110" fmla="*/ 416300 h 1102864"/>
              <a:gd name="connsiteX111" fmla="*/ 158727 w 1232363"/>
              <a:gd name="connsiteY111" fmla="*/ 433745 h 1102864"/>
              <a:gd name="connsiteX112" fmla="*/ 158727 w 1232363"/>
              <a:gd name="connsiteY112" fmla="*/ 1086663 h 1102864"/>
              <a:gd name="connsiteX113" fmla="*/ 142556 w 1232363"/>
              <a:gd name="connsiteY113" fmla="*/ 1102861 h 1102864"/>
              <a:gd name="connsiteX114" fmla="*/ 126385 w 1232363"/>
              <a:gd name="connsiteY114" fmla="*/ 1086663 h 1102864"/>
              <a:gd name="connsiteX115" fmla="*/ 126385 w 1232363"/>
              <a:gd name="connsiteY115" fmla="*/ 735283 h 1102864"/>
              <a:gd name="connsiteX116" fmla="*/ 23138 w 1232363"/>
              <a:gd name="connsiteY116" fmla="*/ 639339 h 1102864"/>
              <a:gd name="connsiteX117" fmla="*/ 1991 w 1232363"/>
              <a:gd name="connsiteY117" fmla="*/ 569562 h 1102864"/>
              <a:gd name="connsiteX118" fmla="*/ 28113 w 1232363"/>
              <a:gd name="connsiteY118" fmla="*/ 447451 h 1102864"/>
              <a:gd name="connsiteX119" fmla="*/ 143800 w 1232363"/>
              <a:gd name="connsiteY119" fmla="*/ 324094 h 1102864"/>
              <a:gd name="connsiteX120" fmla="*/ 943322 w 1232363"/>
              <a:gd name="connsiteY120" fmla="*/ 32702 h 1102864"/>
              <a:gd name="connsiteX121" fmla="*/ 842702 w 1232363"/>
              <a:gd name="connsiteY121" fmla="*/ 133322 h 1102864"/>
              <a:gd name="connsiteX122" fmla="*/ 943322 w 1232363"/>
              <a:gd name="connsiteY122" fmla="*/ 233943 h 1102864"/>
              <a:gd name="connsiteX123" fmla="*/ 1043943 w 1232363"/>
              <a:gd name="connsiteY123" fmla="*/ 133322 h 1102864"/>
              <a:gd name="connsiteX124" fmla="*/ 943322 w 1232363"/>
              <a:gd name="connsiteY124" fmla="*/ 32702 h 1102864"/>
              <a:gd name="connsiteX125" fmla="*/ 289652 w 1232363"/>
              <a:gd name="connsiteY125" fmla="*/ 32702 h 1102864"/>
              <a:gd name="connsiteX126" fmla="*/ 189032 w 1232363"/>
              <a:gd name="connsiteY126" fmla="*/ 133322 h 1102864"/>
              <a:gd name="connsiteX127" fmla="*/ 289652 w 1232363"/>
              <a:gd name="connsiteY127" fmla="*/ 233943 h 1102864"/>
              <a:gd name="connsiteX128" fmla="*/ 390272 w 1232363"/>
              <a:gd name="connsiteY128" fmla="*/ 133322 h 1102864"/>
              <a:gd name="connsiteX129" fmla="*/ 289652 w 1232363"/>
              <a:gd name="connsiteY129" fmla="*/ 32702 h 1102864"/>
              <a:gd name="connsiteX130" fmla="*/ 943322 w 1232363"/>
              <a:gd name="connsiteY130" fmla="*/ 0 h 1102864"/>
              <a:gd name="connsiteX131" fmla="*/ 1076645 w 1232363"/>
              <a:gd name="connsiteY131" fmla="*/ 133322 h 1102864"/>
              <a:gd name="connsiteX132" fmla="*/ 943322 w 1232363"/>
              <a:gd name="connsiteY132" fmla="*/ 267903 h 1102864"/>
              <a:gd name="connsiteX133" fmla="*/ 808742 w 1232363"/>
              <a:gd name="connsiteY133" fmla="*/ 133322 h 1102864"/>
              <a:gd name="connsiteX134" fmla="*/ 943322 w 1232363"/>
              <a:gd name="connsiteY134" fmla="*/ 0 h 1102864"/>
              <a:gd name="connsiteX135" fmla="*/ 289652 w 1232363"/>
              <a:gd name="connsiteY135" fmla="*/ 0 h 1102864"/>
              <a:gd name="connsiteX136" fmla="*/ 422973 w 1232363"/>
              <a:gd name="connsiteY136" fmla="*/ 133322 h 1102864"/>
              <a:gd name="connsiteX137" fmla="*/ 289652 w 1232363"/>
              <a:gd name="connsiteY137" fmla="*/ 267903 h 1102864"/>
              <a:gd name="connsiteX138" fmla="*/ 155073 w 1232363"/>
              <a:gd name="connsiteY138" fmla="*/ 133322 h 1102864"/>
              <a:gd name="connsiteX139" fmla="*/ 289652 w 1232363"/>
              <a:gd name="connsiteY139" fmla="*/ 0 h 110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32363" h="1102864">
                <a:moveTo>
                  <a:pt x="945459" y="747056"/>
                </a:moveTo>
                <a:cubicBezTo>
                  <a:pt x="954004" y="747056"/>
                  <a:pt x="961328" y="753267"/>
                  <a:pt x="961328" y="763205"/>
                </a:cubicBezTo>
                <a:lnTo>
                  <a:pt x="961328" y="1081219"/>
                </a:lnTo>
                <a:cubicBezTo>
                  <a:pt x="961328" y="1089915"/>
                  <a:pt x="954004" y="1097368"/>
                  <a:pt x="945459" y="1097368"/>
                </a:cubicBezTo>
                <a:cubicBezTo>
                  <a:pt x="936914" y="1097368"/>
                  <a:pt x="929590" y="1089915"/>
                  <a:pt x="929590" y="1081219"/>
                </a:cubicBezTo>
                <a:lnTo>
                  <a:pt x="929590" y="763205"/>
                </a:lnTo>
                <a:cubicBezTo>
                  <a:pt x="929590" y="753267"/>
                  <a:pt x="936914" y="747056"/>
                  <a:pt x="945459" y="747056"/>
                </a:cubicBezTo>
                <a:close/>
                <a:moveTo>
                  <a:pt x="286294" y="747056"/>
                </a:moveTo>
                <a:cubicBezTo>
                  <a:pt x="294839" y="747056"/>
                  <a:pt x="302163" y="753267"/>
                  <a:pt x="302163" y="763205"/>
                </a:cubicBezTo>
                <a:lnTo>
                  <a:pt x="302163" y="1081219"/>
                </a:lnTo>
                <a:cubicBezTo>
                  <a:pt x="302163" y="1089915"/>
                  <a:pt x="294839" y="1097368"/>
                  <a:pt x="286294" y="1097368"/>
                </a:cubicBezTo>
                <a:cubicBezTo>
                  <a:pt x="276529" y="1097368"/>
                  <a:pt x="270425" y="1089915"/>
                  <a:pt x="270425" y="1081219"/>
                </a:cubicBezTo>
                <a:lnTo>
                  <a:pt x="270425" y="763205"/>
                </a:lnTo>
                <a:cubicBezTo>
                  <a:pt x="270425" y="753267"/>
                  <a:pt x="276529" y="747056"/>
                  <a:pt x="286294" y="747056"/>
                </a:cubicBezTo>
                <a:close/>
                <a:moveTo>
                  <a:pt x="665173" y="485407"/>
                </a:moveTo>
                <a:cubicBezTo>
                  <a:pt x="669231" y="485872"/>
                  <a:pt x="673288" y="487734"/>
                  <a:pt x="676409" y="490838"/>
                </a:cubicBezTo>
                <a:lnTo>
                  <a:pt x="743824" y="583945"/>
                </a:lnTo>
                <a:cubicBezTo>
                  <a:pt x="752563" y="596360"/>
                  <a:pt x="752563" y="612498"/>
                  <a:pt x="743824" y="624912"/>
                </a:cubicBezTo>
                <a:lnTo>
                  <a:pt x="676409" y="716778"/>
                </a:lnTo>
                <a:cubicBezTo>
                  <a:pt x="672664" y="721744"/>
                  <a:pt x="667670" y="724227"/>
                  <a:pt x="662677" y="724227"/>
                </a:cubicBezTo>
                <a:cubicBezTo>
                  <a:pt x="660180" y="724227"/>
                  <a:pt x="656435" y="722986"/>
                  <a:pt x="653938" y="720503"/>
                </a:cubicBezTo>
                <a:cubicBezTo>
                  <a:pt x="646447" y="715537"/>
                  <a:pt x="643950" y="705606"/>
                  <a:pt x="650193" y="698157"/>
                </a:cubicBezTo>
                <a:lnTo>
                  <a:pt x="707620" y="619947"/>
                </a:lnTo>
                <a:lnTo>
                  <a:pt x="450446" y="619947"/>
                </a:lnTo>
                <a:lnTo>
                  <a:pt x="450446" y="1086725"/>
                </a:lnTo>
                <a:cubicBezTo>
                  <a:pt x="450446" y="1095415"/>
                  <a:pt x="444204" y="1102864"/>
                  <a:pt x="434217" y="1102864"/>
                </a:cubicBezTo>
                <a:cubicBezTo>
                  <a:pt x="425478" y="1102864"/>
                  <a:pt x="419236" y="1095415"/>
                  <a:pt x="419236" y="1086725"/>
                </a:cubicBezTo>
                <a:lnTo>
                  <a:pt x="419236" y="619947"/>
                </a:lnTo>
                <a:lnTo>
                  <a:pt x="358063" y="619947"/>
                </a:lnTo>
                <a:cubicBezTo>
                  <a:pt x="348076" y="619947"/>
                  <a:pt x="341834" y="612498"/>
                  <a:pt x="341834" y="605050"/>
                </a:cubicBezTo>
                <a:cubicBezTo>
                  <a:pt x="341834" y="595118"/>
                  <a:pt x="348076" y="587670"/>
                  <a:pt x="358063" y="587670"/>
                </a:cubicBezTo>
                <a:lnTo>
                  <a:pt x="434217" y="587670"/>
                </a:lnTo>
                <a:lnTo>
                  <a:pt x="435465" y="587670"/>
                </a:lnTo>
                <a:lnTo>
                  <a:pt x="707620" y="587670"/>
                </a:lnTo>
                <a:lnTo>
                  <a:pt x="650193" y="510701"/>
                </a:lnTo>
                <a:cubicBezTo>
                  <a:pt x="643950" y="503252"/>
                  <a:pt x="646447" y="493321"/>
                  <a:pt x="653938" y="488355"/>
                </a:cubicBezTo>
                <a:cubicBezTo>
                  <a:pt x="657059" y="485872"/>
                  <a:pt x="661116" y="484941"/>
                  <a:pt x="665173" y="485407"/>
                </a:cubicBezTo>
                <a:close/>
                <a:moveTo>
                  <a:pt x="796340" y="417471"/>
                </a:moveTo>
                <a:cubicBezTo>
                  <a:pt x="805023" y="417471"/>
                  <a:pt x="812465" y="424913"/>
                  <a:pt x="812465" y="434836"/>
                </a:cubicBezTo>
                <a:lnTo>
                  <a:pt x="812465" y="896252"/>
                </a:lnTo>
                <a:lnTo>
                  <a:pt x="868281" y="896252"/>
                </a:lnTo>
                <a:cubicBezTo>
                  <a:pt x="876964" y="896252"/>
                  <a:pt x="884406" y="903694"/>
                  <a:pt x="884406" y="912377"/>
                </a:cubicBezTo>
                <a:cubicBezTo>
                  <a:pt x="884406" y="921059"/>
                  <a:pt x="876964" y="928502"/>
                  <a:pt x="868281" y="928502"/>
                </a:cubicBezTo>
                <a:lnTo>
                  <a:pt x="797581" y="928502"/>
                </a:lnTo>
                <a:cubicBezTo>
                  <a:pt x="796340" y="928502"/>
                  <a:pt x="796340" y="928502"/>
                  <a:pt x="796340" y="928502"/>
                </a:cubicBezTo>
                <a:cubicBezTo>
                  <a:pt x="796340" y="928502"/>
                  <a:pt x="796340" y="928502"/>
                  <a:pt x="795100" y="928502"/>
                </a:cubicBezTo>
                <a:lnTo>
                  <a:pt x="508577" y="928502"/>
                </a:lnTo>
                <a:lnTo>
                  <a:pt x="565634" y="1006645"/>
                </a:lnTo>
                <a:cubicBezTo>
                  <a:pt x="570595" y="1014087"/>
                  <a:pt x="569355" y="1022769"/>
                  <a:pt x="561913" y="1028971"/>
                </a:cubicBezTo>
                <a:cubicBezTo>
                  <a:pt x="559432" y="1031452"/>
                  <a:pt x="555711" y="1031452"/>
                  <a:pt x="551990" y="1031452"/>
                </a:cubicBezTo>
                <a:cubicBezTo>
                  <a:pt x="547028" y="1031452"/>
                  <a:pt x="542067" y="1028971"/>
                  <a:pt x="539586" y="1025250"/>
                </a:cubicBezTo>
                <a:lnTo>
                  <a:pt x="471367" y="933463"/>
                </a:lnTo>
                <a:cubicBezTo>
                  <a:pt x="462684" y="921059"/>
                  <a:pt x="462684" y="903694"/>
                  <a:pt x="471367" y="892531"/>
                </a:cubicBezTo>
                <a:lnTo>
                  <a:pt x="539586" y="799504"/>
                </a:lnTo>
                <a:cubicBezTo>
                  <a:pt x="544548" y="793302"/>
                  <a:pt x="554470" y="790821"/>
                  <a:pt x="561913" y="795783"/>
                </a:cubicBezTo>
                <a:cubicBezTo>
                  <a:pt x="569355" y="800744"/>
                  <a:pt x="570595" y="811907"/>
                  <a:pt x="565634" y="818109"/>
                </a:cubicBezTo>
                <a:lnTo>
                  <a:pt x="508577" y="896252"/>
                </a:lnTo>
                <a:lnTo>
                  <a:pt x="780216" y="896252"/>
                </a:lnTo>
                <a:lnTo>
                  <a:pt x="780216" y="434836"/>
                </a:lnTo>
                <a:cubicBezTo>
                  <a:pt x="780216" y="424913"/>
                  <a:pt x="787658" y="417471"/>
                  <a:pt x="796340" y="417471"/>
                </a:cubicBezTo>
                <a:close/>
                <a:moveTo>
                  <a:pt x="799336" y="324094"/>
                </a:moveTo>
                <a:lnTo>
                  <a:pt x="1046880" y="324094"/>
                </a:lnTo>
                <a:lnTo>
                  <a:pt x="1089174" y="324094"/>
                </a:lnTo>
                <a:cubicBezTo>
                  <a:pt x="1155103" y="324094"/>
                  <a:pt x="1175006" y="345276"/>
                  <a:pt x="1203617" y="446205"/>
                </a:cubicBezTo>
                <a:lnTo>
                  <a:pt x="1230983" y="569562"/>
                </a:lnTo>
                <a:cubicBezTo>
                  <a:pt x="1235959" y="595728"/>
                  <a:pt x="1227252" y="621895"/>
                  <a:pt x="1208592" y="639339"/>
                </a:cubicBezTo>
                <a:lnTo>
                  <a:pt x="1105345" y="735283"/>
                </a:lnTo>
                <a:lnTo>
                  <a:pt x="1105345" y="1086663"/>
                </a:lnTo>
                <a:cubicBezTo>
                  <a:pt x="1105345" y="1095385"/>
                  <a:pt x="1097882" y="1102861"/>
                  <a:pt x="1090418" y="1102861"/>
                </a:cubicBezTo>
                <a:cubicBezTo>
                  <a:pt x="1080467" y="1102861"/>
                  <a:pt x="1073003" y="1095385"/>
                  <a:pt x="1073003" y="1086663"/>
                </a:cubicBezTo>
                <a:lnTo>
                  <a:pt x="1073003" y="433745"/>
                </a:lnTo>
                <a:cubicBezTo>
                  <a:pt x="1073003" y="423776"/>
                  <a:pt x="1080467" y="416300"/>
                  <a:pt x="1090418" y="416300"/>
                </a:cubicBezTo>
                <a:cubicBezTo>
                  <a:pt x="1097882" y="416300"/>
                  <a:pt x="1105345" y="423776"/>
                  <a:pt x="1105345" y="433745"/>
                </a:cubicBezTo>
                <a:lnTo>
                  <a:pt x="1105345" y="528443"/>
                </a:lnTo>
                <a:lnTo>
                  <a:pt x="1119029" y="515982"/>
                </a:lnTo>
                <a:cubicBezTo>
                  <a:pt x="1125248" y="508506"/>
                  <a:pt x="1136444" y="508506"/>
                  <a:pt x="1142664" y="515982"/>
                </a:cubicBezTo>
                <a:cubicBezTo>
                  <a:pt x="1148883" y="522213"/>
                  <a:pt x="1148883" y="532181"/>
                  <a:pt x="1142664" y="538411"/>
                </a:cubicBezTo>
                <a:lnTo>
                  <a:pt x="1105345" y="574546"/>
                </a:lnTo>
                <a:lnTo>
                  <a:pt x="1105345" y="690426"/>
                </a:lnTo>
                <a:lnTo>
                  <a:pt x="1186201" y="615665"/>
                </a:lnTo>
                <a:cubicBezTo>
                  <a:pt x="1197397" y="605696"/>
                  <a:pt x="1201129" y="590744"/>
                  <a:pt x="1198641" y="577038"/>
                </a:cubicBezTo>
                <a:lnTo>
                  <a:pt x="1172518" y="453681"/>
                </a:lnTo>
                <a:cubicBezTo>
                  <a:pt x="1145151" y="360229"/>
                  <a:pt x="1133956" y="356490"/>
                  <a:pt x="1089174" y="356490"/>
                </a:cubicBezTo>
                <a:lnTo>
                  <a:pt x="1046880" y="356490"/>
                </a:lnTo>
                <a:lnTo>
                  <a:pt x="799336" y="356490"/>
                </a:lnTo>
                <a:cubicBezTo>
                  <a:pt x="754554" y="356490"/>
                  <a:pt x="742115" y="360229"/>
                  <a:pt x="715992" y="456173"/>
                </a:cubicBezTo>
                <a:cubicBezTo>
                  <a:pt x="713504" y="462403"/>
                  <a:pt x="707285" y="467387"/>
                  <a:pt x="699821" y="467387"/>
                </a:cubicBezTo>
                <a:cubicBezTo>
                  <a:pt x="698577" y="467387"/>
                  <a:pt x="697333" y="467387"/>
                  <a:pt x="696089" y="466141"/>
                </a:cubicBezTo>
                <a:cubicBezTo>
                  <a:pt x="687382" y="463649"/>
                  <a:pt x="682406" y="454927"/>
                  <a:pt x="684894" y="446205"/>
                </a:cubicBezTo>
                <a:cubicBezTo>
                  <a:pt x="713504" y="345276"/>
                  <a:pt x="733408" y="324094"/>
                  <a:pt x="799336" y="324094"/>
                </a:cubicBezTo>
                <a:close/>
                <a:moveTo>
                  <a:pt x="143800" y="324094"/>
                </a:moveTo>
                <a:lnTo>
                  <a:pt x="391344" y="324094"/>
                </a:lnTo>
                <a:lnTo>
                  <a:pt x="433638" y="324094"/>
                </a:lnTo>
                <a:cubicBezTo>
                  <a:pt x="498323" y="324094"/>
                  <a:pt x="519470" y="345276"/>
                  <a:pt x="548081" y="446205"/>
                </a:cubicBezTo>
                <a:cubicBezTo>
                  <a:pt x="549325" y="454927"/>
                  <a:pt x="545593" y="463649"/>
                  <a:pt x="535642" y="466141"/>
                </a:cubicBezTo>
                <a:cubicBezTo>
                  <a:pt x="535642" y="467387"/>
                  <a:pt x="534398" y="467387"/>
                  <a:pt x="531910" y="467387"/>
                </a:cubicBezTo>
                <a:cubicBezTo>
                  <a:pt x="524446" y="467387"/>
                  <a:pt x="518227" y="462403"/>
                  <a:pt x="515739" y="456173"/>
                </a:cubicBezTo>
                <a:cubicBezTo>
                  <a:pt x="489616" y="360229"/>
                  <a:pt x="478420" y="356490"/>
                  <a:pt x="433638" y="356490"/>
                </a:cubicBezTo>
                <a:lnTo>
                  <a:pt x="391344" y="356490"/>
                </a:lnTo>
                <a:lnTo>
                  <a:pt x="143800" y="356490"/>
                </a:lnTo>
                <a:cubicBezTo>
                  <a:pt x="99018" y="356490"/>
                  <a:pt x="86579" y="360229"/>
                  <a:pt x="60456" y="456173"/>
                </a:cubicBezTo>
                <a:lnTo>
                  <a:pt x="33089" y="577038"/>
                </a:lnTo>
                <a:cubicBezTo>
                  <a:pt x="29357" y="590744"/>
                  <a:pt x="34333" y="605696"/>
                  <a:pt x="45529" y="615665"/>
                </a:cubicBezTo>
                <a:lnTo>
                  <a:pt x="126385" y="690426"/>
                </a:lnTo>
                <a:lnTo>
                  <a:pt x="126385" y="575792"/>
                </a:lnTo>
                <a:lnTo>
                  <a:pt x="89067" y="538411"/>
                </a:lnTo>
                <a:cubicBezTo>
                  <a:pt x="82847" y="532181"/>
                  <a:pt x="82847" y="522213"/>
                  <a:pt x="89067" y="515982"/>
                </a:cubicBezTo>
                <a:cubicBezTo>
                  <a:pt x="95286" y="508506"/>
                  <a:pt x="105238" y="508506"/>
                  <a:pt x="111458" y="515982"/>
                </a:cubicBezTo>
                <a:lnTo>
                  <a:pt x="126385" y="530935"/>
                </a:lnTo>
                <a:lnTo>
                  <a:pt x="126385" y="433745"/>
                </a:lnTo>
                <a:cubicBezTo>
                  <a:pt x="126385" y="423776"/>
                  <a:pt x="133849" y="416300"/>
                  <a:pt x="142556" y="416300"/>
                </a:cubicBezTo>
                <a:cubicBezTo>
                  <a:pt x="151264" y="416300"/>
                  <a:pt x="158727" y="423776"/>
                  <a:pt x="158727" y="433745"/>
                </a:cubicBezTo>
                <a:lnTo>
                  <a:pt x="158727" y="1086663"/>
                </a:lnTo>
                <a:cubicBezTo>
                  <a:pt x="158727" y="1095385"/>
                  <a:pt x="151264" y="1102861"/>
                  <a:pt x="142556" y="1102861"/>
                </a:cubicBezTo>
                <a:cubicBezTo>
                  <a:pt x="133849" y="1102861"/>
                  <a:pt x="126385" y="1095385"/>
                  <a:pt x="126385" y="1086663"/>
                </a:cubicBezTo>
                <a:lnTo>
                  <a:pt x="126385" y="735283"/>
                </a:lnTo>
                <a:lnTo>
                  <a:pt x="23138" y="639339"/>
                </a:lnTo>
                <a:cubicBezTo>
                  <a:pt x="4479" y="621895"/>
                  <a:pt x="-4229" y="595728"/>
                  <a:pt x="1991" y="569562"/>
                </a:cubicBezTo>
                <a:lnTo>
                  <a:pt x="28113" y="447451"/>
                </a:lnTo>
                <a:cubicBezTo>
                  <a:pt x="57968" y="345276"/>
                  <a:pt x="77871" y="324094"/>
                  <a:pt x="143800" y="324094"/>
                </a:cubicBezTo>
                <a:close/>
                <a:moveTo>
                  <a:pt x="943322" y="32702"/>
                </a:moveTo>
                <a:cubicBezTo>
                  <a:pt x="887981" y="32702"/>
                  <a:pt x="842702" y="77981"/>
                  <a:pt x="842702" y="133322"/>
                </a:cubicBezTo>
                <a:cubicBezTo>
                  <a:pt x="842702" y="188664"/>
                  <a:pt x="887981" y="233943"/>
                  <a:pt x="943322" y="233943"/>
                </a:cubicBezTo>
                <a:cubicBezTo>
                  <a:pt x="998664" y="233943"/>
                  <a:pt x="1043943" y="188664"/>
                  <a:pt x="1043943" y="133322"/>
                </a:cubicBezTo>
                <a:cubicBezTo>
                  <a:pt x="1043943" y="77981"/>
                  <a:pt x="998664" y="32702"/>
                  <a:pt x="943322" y="32702"/>
                </a:cubicBezTo>
                <a:close/>
                <a:moveTo>
                  <a:pt x="289652" y="32702"/>
                </a:moveTo>
                <a:cubicBezTo>
                  <a:pt x="234311" y="32702"/>
                  <a:pt x="189032" y="77981"/>
                  <a:pt x="189032" y="133322"/>
                </a:cubicBezTo>
                <a:cubicBezTo>
                  <a:pt x="189032" y="188664"/>
                  <a:pt x="234311" y="233943"/>
                  <a:pt x="289652" y="233943"/>
                </a:cubicBezTo>
                <a:cubicBezTo>
                  <a:pt x="344993" y="233943"/>
                  <a:pt x="390272" y="188664"/>
                  <a:pt x="390272" y="133322"/>
                </a:cubicBezTo>
                <a:cubicBezTo>
                  <a:pt x="390272" y="77981"/>
                  <a:pt x="344993" y="32702"/>
                  <a:pt x="289652" y="32702"/>
                </a:cubicBezTo>
                <a:close/>
                <a:moveTo>
                  <a:pt x="943322" y="0"/>
                </a:moveTo>
                <a:cubicBezTo>
                  <a:pt x="1016273" y="0"/>
                  <a:pt x="1076645" y="59115"/>
                  <a:pt x="1076645" y="133322"/>
                </a:cubicBezTo>
                <a:cubicBezTo>
                  <a:pt x="1076645" y="207530"/>
                  <a:pt x="1016273" y="267903"/>
                  <a:pt x="943322" y="267903"/>
                </a:cubicBezTo>
                <a:cubicBezTo>
                  <a:pt x="869115" y="267903"/>
                  <a:pt x="808742" y="207530"/>
                  <a:pt x="808742" y="133322"/>
                </a:cubicBezTo>
                <a:cubicBezTo>
                  <a:pt x="808742" y="59115"/>
                  <a:pt x="869115" y="0"/>
                  <a:pt x="943322" y="0"/>
                </a:cubicBezTo>
                <a:close/>
                <a:moveTo>
                  <a:pt x="289652" y="0"/>
                </a:moveTo>
                <a:cubicBezTo>
                  <a:pt x="362601" y="0"/>
                  <a:pt x="422973" y="59115"/>
                  <a:pt x="422973" y="133322"/>
                </a:cubicBezTo>
                <a:cubicBezTo>
                  <a:pt x="422973" y="207530"/>
                  <a:pt x="362601" y="267903"/>
                  <a:pt x="289652" y="267903"/>
                </a:cubicBezTo>
                <a:cubicBezTo>
                  <a:pt x="215445" y="267903"/>
                  <a:pt x="155073" y="207530"/>
                  <a:pt x="155073" y="133322"/>
                </a:cubicBezTo>
                <a:cubicBezTo>
                  <a:pt x="155073" y="59115"/>
                  <a:pt x="215445" y="0"/>
                  <a:pt x="289652" y="0"/>
                </a:cubicBezTo>
                <a:close/>
              </a:path>
            </a:pathLst>
          </a:custGeom>
          <a:solidFill>
            <a:schemeClr val="accent4"/>
          </a:solidFill>
          <a:ln>
            <a:noFill/>
          </a:ln>
          <a:effectLst/>
        </p:spPr>
        <p:txBody>
          <a:bodyPr wrap="square" anchor="ctr">
            <a:noAutofit/>
          </a:bodyPr>
          <a:lstStyle/>
          <a:p>
            <a:endParaRPr lang="en-US" dirty="0">
              <a:latin typeface="Poppins" pitchFamily="2" charset="77"/>
            </a:endParaRPr>
          </a:p>
        </p:txBody>
      </p:sp>
      <p:sp>
        <p:nvSpPr>
          <p:cNvPr id="13" name="Freeform 24">
            <a:extLst>
              <a:ext uri="{FF2B5EF4-FFF2-40B4-BE49-F238E27FC236}">
                <a16:creationId xmlns:a16="http://schemas.microsoft.com/office/drawing/2014/main" id="{EDDE4872-EF8B-995D-CF92-A51B96B8A94F}"/>
              </a:ext>
            </a:extLst>
          </p:cNvPr>
          <p:cNvSpPr>
            <a:spLocks noChangeArrowheads="1"/>
          </p:cNvSpPr>
          <p:nvPr/>
        </p:nvSpPr>
        <p:spPr bwMode="auto">
          <a:xfrm>
            <a:off x="9178522" y="2358911"/>
            <a:ext cx="651600" cy="584406"/>
          </a:xfrm>
          <a:custGeom>
            <a:avLst/>
            <a:gdLst>
              <a:gd name="connsiteX0" fmla="*/ 793468 w 1303199"/>
              <a:gd name="connsiteY0" fmla="*/ 1087625 h 1168811"/>
              <a:gd name="connsiteX1" fmla="*/ 809948 w 1303199"/>
              <a:gd name="connsiteY1" fmla="*/ 1103378 h 1168811"/>
              <a:gd name="connsiteX2" fmla="*/ 809948 w 1303199"/>
              <a:gd name="connsiteY2" fmla="*/ 1153058 h 1168811"/>
              <a:gd name="connsiteX3" fmla="*/ 793468 w 1303199"/>
              <a:gd name="connsiteY3" fmla="*/ 1168811 h 1168811"/>
              <a:gd name="connsiteX4" fmla="*/ 778166 w 1303199"/>
              <a:gd name="connsiteY4" fmla="*/ 1153058 h 1168811"/>
              <a:gd name="connsiteX5" fmla="*/ 778166 w 1303199"/>
              <a:gd name="connsiteY5" fmla="*/ 1103378 h 1168811"/>
              <a:gd name="connsiteX6" fmla="*/ 793468 w 1303199"/>
              <a:gd name="connsiteY6" fmla="*/ 1087625 h 1168811"/>
              <a:gd name="connsiteX7" fmla="*/ 513232 w 1303199"/>
              <a:gd name="connsiteY7" fmla="*/ 1087625 h 1168811"/>
              <a:gd name="connsiteX8" fmla="*/ 529712 w 1303199"/>
              <a:gd name="connsiteY8" fmla="*/ 1103378 h 1168811"/>
              <a:gd name="connsiteX9" fmla="*/ 529712 w 1303199"/>
              <a:gd name="connsiteY9" fmla="*/ 1153058 h 1168811"/>
              <a:gd name="connsiteX10" fmla="*/ 513232 w 1303199"/>
              <a:gd name="connsiteY10" fmla="*/ 1168811 h 1168811"/>
              <a:gd name="connsiteX11" fmla="*/ 498020 w 1303199"/>
              <a:gd name="connsiteY11" fmla="*/ 1153058 h 1168811"/>
              <a:gd name="connsiteX12" fmla="*/ 498020 w 1303199"/>
              <a:gd name="connsiteY12" fmla="*/ 1103378 h 1168811"/>
              <a:gd name="connsiteX13" fmla="*/ 513232 w 1303199"/>
              <a:gd name="connsiteY13" fmla="*/ 1087625 h 1168811"/>
              <a:gd name="connsiteX14" fmla="*/ 111348 w 1303199"/>
              <a:gd name="connsiteY14" fmla="*/ 823958 h 1168811"/>
              <a:gd name="connsiteX15" fmla="*/ 391228 w 1303199"/>
              <a:gd name="connsiteY15" fmla="*/ 823958 h 1168811"/>
              <a:gd name="connsiteX16" fmla="*/ 501934 w 1303199"/>
              <a:gd name="connsiteY16" fmla="*/ 941794 h 1168811"/>
              <a:gd name="connsiteX17" fmla="*/ 501934 w 1303199"/>
              <a:gd name="connsiteY17" fmla="*/ 944274 h 1168811"/>
              <a:gd name="connsiteX18" fmla="*/ 510642 w 1303199"/>
              <a:gd name="connsiteY18" fmla="*/ 944274 h 1168811"/>
              <a:gd name="connsiteX19" fmla="*/ 789278 w 1303199"/>
              <a:gd name="connsiteY19" fmla="*/ 944274 h 1168811"/>
              <a:gd name="connsiteX20" fmla="*/ 801716 w 1303199"/>
              <a:gd name="connsiteY20" fmla="*/ 944274 h 1168811"/>
              <a:gd name="connsiteX21" fmla="*/ 801716 w 1303199"/>
              <a:gd name="connsiteY21" fmla="*/ 941794 h 1168811"/>
              <a:gd name="connsiteX22" fmla="*/ 912424 w 1303199"/>
              <a:gd name="connsiteY22" fmla="*/ 823958 h 1168811"/>
              <a:gd name="connsiteX23" fmla="*/ 1191058 w 1303199"/>
              <a:gd name="connsiteY23" fmla="*/ 823958 h 1168811"/>
              <a:gd name="connsiteX24" fmla="*/ 1303010 w 1303199"/>
              <a:gd name="connsiteY24" fmla="*/ 941794 h 1168811"/>
              <a:gd name="connsiteX25" fmla="*/ 1290572 w 1303199"/>
              <a:gd name="connsiteY25" fmla="*/ 961640 h 1168811"/>
              <a:gd name="connsiteX26" fmla="*/ 1271912 w 1303199"/>
              <a:gd name="connsiteY26" fmla="*/ 950476 h 1168811"/>
              <a:gd name="connsiteX27" fmla="*/ 1191058 w 1303199"/>
              <a:gd name="connsiteY27" fmla="*/ 856208 h 1168811"/>
              <a:gd name="connsiteX28" fmla="*/ 912424 w 1303199"/>
              <a:gd name="connsiteY28" fmla="*/ 856208 h 1168811"/>
              <a:gd name="connsiteX29" fmla="*/ 832814 w 1303199"/>
              <a:gd name="connsiteY29" fmla="*/ 949236 h 1168811"/>
              <a:gd name="connsiteX30" fmla="*/ 901228 w 1303199"/>
              <a:gd name="connsiteY30" fmla="*/ 1062110 h 1168811"/>
              <a:gd name="connsiteX31" fmla="*/ 919888 w 1303199"/>
              <a:gd name="connsiteY31" fmla="*/ 1146455 h 1168811"/>
              <a:gd name="connsiteX32" fmla="*/ 907448 w 1303199"/>
              <a:gd name="connsiteY32" fmla="*/ 1166301 h 1168811"/>
              <a:gd name="connsiteX33" fmla="*/ 887546 w 1303199"/>
              <a:gd name="connsiteY33" fmla="*/ 1153897 h 1168811"/>
              <a:gd name="connsiteX34" fmla="*/ 870130 w 1303199"/>
              <a:gd name="connsiteY34" fmla="*/ 1069552 h 1168811"/>
              <a:gd name="connsiteX35" fmla="*/ 789278 w 1303199"/>
              <a:gd name="connsiteY35" fmla="*/ 976524 h 1168811"/>
              <a:gd name="connsiteX36" fmla="*/ 510642 w 1303199"/>
              <a:gd name="connsiteY36" fmla="*/ 976524 h 1168811"/>
              <a:gd name="connsiteX37" fmla="*/ 431032 w 1303199"/>
              <a:gd name="connsiteY37" fmla="*/ 1070792 h 1168811"/>
              <a:gd name="connsiteX38" fmla="*/ 409886 w 1303199"/>
              <a:gd name="connsiteY38" fmla="*/ 1155138 h 1168811"/>
              <a:gd name="connsiteX39" fmla="*/ 393716 w 1303199"/>
              <a:gd name="connsiteY39" fmla="*/ 1166301 h 1168811"/>
              <a:gd name="connsiteX40" fmla="*/ 389984 w 1303199"/>
              <a:gd name="connsiteY40" fmla="*/ 1166301 h 1168811"/>
              <a:gd name="connsiteX41" fmla="*/ 378788 w 1303199"/>
              <a:gd name="connsiteY41" fmla="*/ 1146455 h 1168811"/>
              <a:gd name="connsiteX42" fmla="*/ 399934 w 1303199"/>
              <a:gd name="connsiteY42" fmla="*/ 1062110 h 1168811"/>
              <a:gd name="connsiteX43" fmla="*/ 470838 w 1303199"/>
              <a:gd name="connsiteY43" fmla="*/ 949236 h 1168811"/>
              <a:gd name="connsiteX44" fmla="*/ 391228 w 1303199"/>
              <a:gd name="connsiteY44" fmla="*/ 856208 h 1168811"/>
              <a:gd name="connsiteX45" fmla="*/ 111348 w 1303199"/>
              <a:gd name="connsiteY45" fmla="*/ 856208 h 1168811"/>
              <a:gd name="connsiteX46" fmla="*/ 31738 w 1303199"/>
              <a:gd name="connsiteY46" fmla="*/ 950476 h 1168811"/>
              <a:gd name="connsiteX47" fmla="*/ 11836 w 1303199"/>
              <a:gd name="connsiteY47" fmla="*/ 961640 h 1168811"/>
              <a:gd name="connsiteX48" fmla="*/ 640 w 1303199"/>
              <a:gd name="connsiteY48" fmla="*/ 941794 h 1168811"/>
              <a:gd name="connsiteX49" fmla="*/ 111348 w 1303199"/>
              <a:gd name="connsiteY49" fmla="*/ 823958 h 1168811"/>
              <a:gd name="connsiteX50" fmla="*/ 653950 w 1303199"/>
              <a:gd name="connsiteY50" fmla="*/ 708074 h 1168811"/>
              <a:gd name="connsiteX51" fmla="*/ 557914 w 1303199"/>
              <a:gd name="connsiteY51" fmla="*/ 804108 h 1168811"/>
              <a:gd name="connsiteX52" fmla="*/ 653950 w 1303199"/>
              <a:gd name="connsiteY52" fmla="*/ 900143 h 1168811"/>
              <a:gd name="connsiteX53" fmla="*/ 749986 w 1303199"/>
              <a:gd name="connsiteY53" fmla="*/ 804108 h 1168811"/>
              <a:gd name="connsiteX54" fmla="*/ 653950 w 1303199"/>
              <a:gd name="connsiteY54" fmla="*/ 708074 h 1168811"/>
              <a:gd name="connsiteX55" fmla="*/ 653950 w 1303199"/>
              <a:gd name="connsiteY55" fmla="*/ 675646 h 1168811"/>
              <a:gd name="connsiteX56" fmla="*/ 782414 w 1303199"/>
              <a:gd name="connsiteY56" fmla="*/ 804108 h 1168811"/>
              <a:gd name="connsiteX57" fmla="*/ 653950 w 1303199"/>
              <a:gd name="connsiteY57" fmla="*/ 932570 h 1168811"/>
              <a:gd name="connsiteX58" fmla="*/ 525486 w 1303199"/>
              <a:gd name="connsiteY58" fmla="*/ 804108 h 1168811"/>
              <a:gd name="connsiteX59" fmla="*/ 653950 w 1303199"/>
              <a:gd name="connsiteY59" fmla="*/ 675646 h 1168811"/>
              <a:gd name="connsiteX60" fmla="*/ 1055564 w 1303199"/>
              <a:gd name="connsiteY60" fmla="*/ 588474 h 1168811"/>
              <a:gd name="connsiteX61" fmla="*/ 957810 w 1303199"/>
              <a:gd name="connsiteY61" fmla="*/ 684508 h 1168811"/>
              <a:gd name="connsiteX62" fmla="*/ 1055564 w 1303199"/>
              <a:gd name="connsiteY62" fmla="*/ 779296 h 1168811"/>
              <a:gd name="connsiteX63" fmla="*/ 1152064 w 1303199"/>
              <a:gd name="connsiteY63" fmla="*/ 684508 h 1168811"/>
              <a:gd name="connsiteX64" fmla="*/ 1055564 w 1303199"/>
              <a:gd name="connsiteY64" fmla="*/ 588474 h 1168811"/>
              <a:gd name="connsiteX65" fmla="*/ 252326 w 1303199"/>
              <a:gd name="connsiteY65" fmla="*/ 588474 h 1168811"/>
              <a:gd name="connsiteX66" fmla="*/ 155824 w 1303199"/>
              <a:gd name="connsiteY66" fmla="*/ 684508 h 1168811"/>
              <a:gd name="connsiteX67" fmla="*/ 252326 w 1303199"/>
              <a:gd name="connsiteY67" fmla="*/ 779296 h 1168811"/>
              <a:gd name="connsiteX68" fmla="*/ 348826 w 1303199"/>
              <a:gd name="connsiteY68" fmla="*/ 684508 h 1168811"/>
              <a:gd name="connsiteX69" fmla="*/ 252326 w 1303199"/>
              <a:gd name="connsiteY69" fmla="*/ 588474 h 1168811"/>
              <a:gd name="connsiteX70" fmla="*/ 1055564 w 1303199"/>
              <a:gd name="connsiteY70" fmla="*/ 554799 h 1168811"/>
              <a:gd name="connsiteX71" fmla="*/ 1183396 w 1303199"/>
              <a:gd name="connsiteY71" fmla="*/ 684508 h 1168811"/>
              <a:gd name="connsiteX72" fmla="*/ 1055564 w 1303199"/>
              <a:gd name="connsiteY72" fmla="*/ 811723 h 1168811"/>
              <a:gd name="connsiteX73" fmla="*/ 926478 w 1303199"/>
              <a:gd name="connsiteY73" fmla="*/ 684508 h 1168811"/>
              <a:gd name="connsiteX74" fmla="*/ 1055564 w 1303199"/>
              <a:gd name="connsiteY74" fmla="*/ 554799 h 1168811"/>
              <a:gd name="connsiteX75" fmla="*/ 252326 w 1303199"/>
              <a:gd name="connsiteY75" fmla="*/ 554799 h 1168811"/>
              <a:gd name="connsiteX76" fmla="*/ 381410 w 1303199"/>
              <a:gd name="connsiteY76" fmla="*/ 684508 h 1168811"/>
              <a:gd name="connsiteX77" fmla="*/ 252326 w 1303199"/>
              <a:gd name="connsiteY77" fmla="*/ 811723 h 1168811"/>
              <a:gd name="connsiteX78" fmla="*/ 124492 w 1303199"/>
              <a:gd name="connsiteY78" fmla="*/ 684508 h 1168811"/>
              <a:gd name="connsiteX79" fmla="*/ 252326 w 1303199"/>
              <a:gd name="connsiteY79" fmla="*/ 554799 h 1168811"/>
              <a:gd name="connsiteX80" fmla="*/ 709666 w 1303199"/>
              <a:gd name="connsiteY80" fmla="*/ 32502 h 1168811"/>
              <a:gd name="connsiteX81" fmla="*/ 672274 w 1303199"/>
              <a:gd name="connsiteY81" fmla="*/ 70003 h 1168811"/>
              <a:gd name="connsiteX82" fmla="*/ 672274 w 1303199"/>
              <a:gd name="connsiteY82" fmla="*/ 171258 h 1168811"/>
              <a:gd name="connsiteX83" fmla="*/ 656070 w 1303199"/>
              <a:gd name="connsiteY83" fmla="*/ 171258 h 1168811"/>
              <a:gd name="connsiteX84" fmla="*/ 586268 w 1303199"/>
              <a:gd name="connsiteY84" fmla="*/ 241261 h 1168811"/>
              <a:gd name="connsiteX85" fmla="*/ 656070 w 1303199"/>
              <a:gd name="connsiteY85" fmla="*/ 311264 h 1168811"/>
              <a:gd name="connsiteX86" fmla="*/ 672274 w 1303199"/>
              <a:gd name="connsiteY86" fmla="*/ 311264 h 1168811"/>
              <a:gd name="connsiteX87" fmla="*/ 672274 w 1303199"/>
              <a:gd name="connsiteY87" fmla="*/ 413769 h 1168811"/>
              <a:gd name="connsiteX88" fmla="*/ 709666 w 1303199"/>
              <a:gd name="connsiteY88" fmla="*/ 451271 h 1168811"/>
              <a:gd name="connsiteX89" fmla="*/ 779468 w 1303199"/>
              <a:gd name="connsiteY89" fmla="*/ 451271 h 1168811"/>
              <a:gd name="connsiteX90" fmla="*/ 880430 w 1303199"/>
              <a:gd name="connsiteY90" fmla="*/ 363767 h 1168811"/>
              <a:gd name="connsiteX91" fmla="*/ 982638 w 1303199"/>
              <a:gd name="connsiteY91" fmla="*/ 451271 h 1168811"/>
              <a:gd name="connsiteX92" fmla="*/ 1058670 w 1303199"/>
              <a:gd name="connsiteY92" fmla="*/ 451271 h 1168811"/>
              <a:gd name="connsiteX93" fmla="*/ 1094818 w 1303199"/>
              <a:gd name="connsiteY93" fmla="*/ 413769 h 1168811"/>
              <a:gd name="connsiteX94" fmla="*/ 1094818 w 1303199"/>
              <a:gd name="connsiteY94" fmla="*/ 126256 h 1168811"/>
              <a:gd name="connsiteX95" fmla="*/ 1001334 w 1303199"/>
              <a:gd name="connsiteY95" fmla="*/ 32502 h 1168811"/>
              <a:gd name="connsiteX96" fmla="*/ 312052 w 1303199"/>
              <a:gd name="connsiteY96" fmla="*/ 32502 h 1168811"/>
              <a:gd name="connsiteX97" fmla="*/ 217322 w 1303199"/>
              <a:gd name="connsiteY97" fmla="*/ 126256 h 1168811"/>
              <a:gd name="connsiteX98" fmla="*/ 217322 w 1303199"/>
              <a:gd name="connsiteY98" fmla="*/ 413769 h 1168811"/>
              <a:gd name="connsiteX99" fmla="*/ 253468 w 1303199"/>
              <a:gd name="connsiteY99" fmla="*/ 451271 h 1168811"/>
              <a:gd name="connsiteX100" fmla="*/ 331994 w 1303199"/>
              <a:gd name="connsiteY100" fmla="*/ 451271 h 1168811"/>
              <a:gd name="connsiteX101" fmla="*/ 358170 w 1303199"/>
              <a:gd name="connsiteY101" fmla="*/ 475022 h 1168811"/>
              <a:gd name="connsiteX102" fmla="*/ 429216 w 1303199"/>
              <a:gd name="connsiteY102" fmla="*/ 537525 h 1168811"/>
              <a:gd name="connsiteX103" fmla="*/ 499018 w 1303199"/>
              <a:gd name="connsiteY103" fmla="*/ 475022 h 1168811"/>
              <a:gd name="connsiteX104" fmla="*/ 525192 w 1303199"/>
              <a:gd name="connsiteY104" fmla="*/ 451271 h 1168811"/>
              <a:gd name="connsiteX105" fmla="*/ 603718 w 1303199"/>
              <a:gd name="connsiteY105" fmla="*/ 451271 h 1168811"/>
              <a:gd name="connsiteX106" fmla="*/ 639866 w 1303199"/>
              <a:gd name="connsiteY106" fmla="*/ 413769 h 1168811"/>
              <a:gd name="connsiteX107" fmla="*/ 639866 w 1303199"/>
              <a:gd name="connsiteY107" fmla="*/ 342516 h 1168811"/>
              <a:gd name="connsiteX108" fmla="*/ 553862 w 1303199"/>
              <a:gd name="connsiteY108" fmla="*/ 241261 h 1168811"/>
              <a:gd name="connsiteX109" fmla="*/ 639866 w 1303199"/>
              <a:gd name="connsiteY109" fmla="*/ 140007 h 1168811"/>
              <a:gd name="connsiteX110" fmla="*/ 639866 w 1303199"/>
              <a:gd name="connsiteY110" fmla="*/ 70003 h 1168811"/>
              <a:gd name="connsiteX111" fmla="*/ 603718 w 1303199"/>
              <a:gd name="connsiteY111" fmla="*/ 32502 h 1168811"/>
              <a:gd name="connsiteX112" fmla="*/ 312052 w 1303199"/>
              <a:gd name="connsiteY112" fmla="*/ 0 h 1168811"/>
              <a:gd name="connsiteX113" fmla="*/ 603718 w 1303199"/>
              <a:gd name="connsiteY113" fmla="*/ 0 h 1168811"/>
              <a:gd name="connsiteX114" fmla="*/ 656070 w 1303199"/>
              <a:gd name="connsiteY114" fmla="*/ 23751 h 1168811"/>
              <a:gd name="connsiteX115" fmla="*/ 709666 w 1303199"/>
              <a:gd name="connsiteY115" fmla="*/ 0 h 1168811"/>
              <a:gd name="connsiteX116" fmla="*/ 1001334 w 1303199"/>
              <a:gd name="connsiteY116" fmla="*/ 0 h 1168811"/>
              <a:gd name="connsiteX117" fmla="*/ 1128472 w 1303199"/>
              <a:gd name="connsiteY117" fmla="*/ 126256 h 1168811"/>
              <a:gd name="connsiteX118" fmla="*/ 1128472 w 1303199"/>
              <a:gd name="connsiteY118" fmla="*/ 413769 h 1168811"/>
              <a:gd name="connsiteX119" fmla="*/ 1058670 w 1303199"/>
              <a:gd name="connsiteY119" fmla="*/ 482522 h 1168811"/>
              <a:gd name="connsiteX120" fmla="*/ 977652 w 1303199"/>
              <a:gd name="connsiteY120" fmla="*/ 482522 h 1168811"/>
              <a:gd name="connsiteX121" fmla="*/ 951476 w 1303199"/>
              <a:gd name="connsiteY121" fmla="*/ 458771 h 1168811"/>
              <a:gd name="connsiteX122" fmla="*/ 880430 w 1303199"/>
              <a:gd name="connsiteY122" fmla="*/ 396268 h 1168811"/>
              <a:gd name="connsiteX123" fmla="*/ 810628 w 1303199"/>
              <a:gd name="connsiteY123" fmla="*/ 458771 h 1168811"/>
              <a:gd name="connsiteX124" fmla="*/ 785700 w 1303199"/>
              <a:gd name="connsiteY124" fmla="*/ 482522 h 1168811"/>
              <a:gd name="connsiteX125" fmla="*/ 709666 w 1303199"/>
              <a:gd name="connsiteY125" fmla="*/ 482522 h 1168811"/>
              <a:gd name="connsiteX126" fmla="*/ 656070 w 1303199"/>
              <a:gd name="connsiteY126" fmla="*/ 458771 h 1168811"/>
              <a:gd name="connsiteX127" fmla="*/ 603718 w 1303199"/>
              <a:gd name="connsiteY127" fmla="*/ 482522 h 1168811"/>
              <a:gd name="connsiteX128" fmla="*/ 530178 w 1303199"/>
              <a:gd name="connsiteY128" fmla="*/ 482522 h 1168811"/>
              <a:gd name="connsiteX129" fmla="*/ 429216 w 1303199"/>
              <a:gd name="connsiteY129" fmla="*/ 570026 h 1168811"/>
              <a:gd name="connsiteX130" fmla="*/ 328254 w 1303199"/>
              <a:gd name="connsiteY130" fmla="*/ 482522 h 1168811"/>
              <a:gd name="connsiteX131" fmla="*/ 253468 w 1303199"/>
              <a:gd name="connsiteY131" fmla="*/ 482522 h 1168811"/>
              <a:gd name="connsiteX132" fmla="*/ 184914 w 1303199"/>
              <a:gd name="connsiteY132" fmla="*/ 413769 h 1168811"/>
              <a:gd name="connsiteX133" fmla="*/ 184914 w 1303199"/>
              <a:gd name="connsiteY133" fmla="*/ 126256 h 1168811"/>
              <a:gd name="connsiteX134" fmla="*/ 312052 w 1303199"/>
              <a:gd name="connsiteY134" fmla="*/ 0 h 116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3199" h="1168811">
                <a:moveTo>
                  <a:pt x="793468" y="1087625"/>
                </a:moveTo>
                <a:cubicBezTo>
                  <a:pt x="801708" y="1087625"/>
                  <a:pt x="809948" y="1094896"/>
                  <a:pt x="809948" y="1103378"/>
                </a:cubicBezTo>
                <a:lnTo>
                  <a:pt x="809948" y="1153058"/>
                </a:lnTo>
                <a:cubicBezTo>
                  <a:pt x="809948" y="1161540"/>
                  <a:pt x="801708" y="1168811"/>
                  <a:pt x="793468" y="1168811"/>
                </a:cubicBezTo>
                <a:cubicBezTo>
                  <a:pt x="785228" y="1168811"/>
                  <a:pt x="778166" y="1161540"/>
                  <a:pt x="778166" y="1153058"/>
                </a:cubicBezTo>
                <a:lnTo>
                  <a:pt x="778166" y="1103378"/>
                </a:lnTo>
                <a:cubicBezTo>
                  <a:pt x="778166" y="1094896"/>
                  <a:pt x="785228" y="1087625"/>
                  <a:pt x="793468" y="1087625"/>
                </a:cubicBezTo>
                <a:close/>
                <a:moveTo>
                  <a:pt x="513232" y="1087625"/>
                </a:moveTo>
                <a:cubicBezTo>
                  <a:pt x="523374" y="1087625"/>
                  <a:pt x="529712" y="1094896"/>
                  <a:pt x="529712" y="1103378"/>
                </a:cubicBezTo>
                <a:lnTo>
                  <a:pt x="529712" y="1153058"/>
                </a:lnTo>
                <a:cubicBezTo>
                  <a:pt x="529712" y="1161540"/>
                  <a:pt x="523374" y="1168811"/>
                  <a:pt x="513232" y="1168811"/>
                </a:cubicBezTo>
                <a:cubicBezTo>
                  <a:pt x="504360" y="1168811"/>
                  <a:pt x="498020" y="1161540"/>
                  <a:pt x="498020" y="1153058"/>
                </a:cubicBezTo>
                <a:lnTo>
                  <a:pt x="498020" y="1103378"/>
                </a:lnTo>
                <a:cubicBezTo>
                  <a:pt x="498020" y="1094896"/>
                  <a:pt x="504360" y="1087625"/>
                  <a:pt x="513232" y="1087625"/>
                </a:cubicBezTo>
                <a:close/>
                <a:moveTo>
                  <a:pt x="111348" y="823958"/>
                </a:moveTo>
                <a:lnTo>
                  <a:pt x="391228" y="823958"/>
                </a:lnTo>
                <a:cubicBezTo>
                  <a:pt x="458398" y="823958"/>
                  <a:pt x="475812" y="850006"/>
                  <a:pt x="501934" y="941794"/>
                </a:cubicBezTo>
                <a:cubicBezTo>
                  <a:pt x="501934" y="943034"/>
                  <a:pt x="501934" y="944274"/>
                  <a:pt x="501934" y="944274"/>
                </a:cubicBezTo>
                <a:cubicBezTo>
                  <a:pt x="505666" y="944274"/>
                  <a:pt x="508154" y="944274"/>
                  <a:pt x="510642" y="944274"/>
                </a:cubicBezTo>
                <a:lnTo>
                  <a:pt x="789278" y="944274"/>
                </a:lnTo>
                <a:cubicBezTo>
                  <a:pt x="794252" y="944274"/>
                  <a:pt x="796740" y="944274"/>
                  <a:pt x="801716" y="944274"/>
                </a:cubicBezTo>
                <a:cubicBezTo>
                  <a:pt x="801716" y="944274"/>
                  <a:pt x="801716" y="943034"/>
                  <a:pt x="801716" y="941794"/>
                </a:cubicBezTo>
                <a:cubicBezTo>
                  <a:pt x="826594" y="850006"/>
                  <a:pt x="844008" y="823958"/>
                  <a:pt x="912424" y="823958"/>
                </a:cubicBezTo>
                <a:lnTo>
                  <a:pt x="1191058" y="823958"/>
                </a:lnTo>
                <a:cubicBezTo>
                  <a:pt x="1259474" y="823958"/>
                  <a:pt x="1276888" y="850006"/>
                  <a:pt x="1303010" y="941794"/>
                </a:cubicBezTo>
                <a:cubicBezTo>
                  <a:pt x="1304254" y="950476"/>
                  <a:pt x="1299278" y="960399"/>
                  <a:pt x="1290572" y="961640"/>
                </a:cubicBezTo>
                <a:cubicBezTo>
                  <a:pt x="1283108" y="964120"/>
                  <a:pt x="1273156" y="959159"/>
                  <a:pt x="1271912" y="950476"/>
                </a:cubicBezTo>
                <a:cubicBezTo>
                  <a:pt x="1244546" y="856208"/>
                  <a:pt x="1232108" y="856208"/>
                  <a:pt x="1191058" y="856208"/>
                </a:cubicBezTo>
                <a:lnTo>
                  <a:pt x="912424" y="856208"/>
                </a:lnTo>
                <a:cubicBezTo>
                  <a:pt x="871374" y="856208"/>
                  <a:pt x="858936" y="856208"/>
                  <a:pt x="832814" y="949236"/>
                </a:cubicBezTo>
                <a:cubicBezTo>
                  <a:pt x="866400" y="961640"/>
                  <a:pt x="881326" y="993889"/>
                  <a:pt x="901228" y="1062110"/>
                </a:cubicBezTo>
                <a:lnTo>
                  <a:pt x="919888" y="1146455"/>
                </a:lnTo>
                <a:cubicBezTo>
                  <a:pt x="921132" y="1155138"/>
                  <a:pt x="916156" y="1165061"/>
                  <a:pt x="907448" y="1166301"/>
                </a:cubicBezTo>
                <a:cubicBezTo>
                  <a:pt x="898740" y="1168782"/>
                  <a:pt x="890034" y="1162580"/>
                  <a:pt x="887546" y="1153897"/>
                </a:cubicBezTo>
                <a:lnTo>
                  <a:pt x="870130" y="1069552"/>
                </a:lnTo>
                <a:cubicBezTo>
                  <a:pt x="842766" y="976524"/>
                  <a:pt x="830326" y="976524"/>
                  <a:pt x="789278" y="976524"/>
                </a:cubicBezTo>
                <a:lnTo>
                  <a:pt x="510642" y="976524"/>
                </a:lnTo>
                <a:cubicBezTo>
                  <a:pt x="469594" y="976524"/>
                  <a:pt x="457154" y="976524"/>
                  <a:pt x="431032" y="1070792"/>
                </a:cubicBezTo>
                <a:lnTo>
                  <a:pt x="409886" y="1155138"/>
                </a:lnTo>
                <a:cubicBezTo>
                  <a:pt x="407398" y="1161340"/>
                  <a:pt x="401178" y="1166301"/>
                  <a:pt x="393716" y="1166301"/>
                </a:cubicBezTo>
                <a:cubicBezTo>
                  <a:pt x="392472" y="1166301"/>
                  <a:pt x="391228" y="1166301"/>
                  <a:pt x="389984" y="1166301"/>
                </a:cubicBezTo>
                <a:cubicBezTo>
                  <a:pt x="381276" y="1163820"/>
                  <a:pt x="376300" y="1155138"/>
                  <a:pt x="378788" y="1146455"/>
                </a:cubicBezTo>
                <a:lnTo>
                  <a:pt x="399934" y="1062110"/>
                </a:lnTo>
                <a:cubicBezTo>
                  <a:pt x="418594" y="992649"/>
                  <a:pt x="434764" y="960399"/>
                  <a:pt x="470838" y="949236"/>
                </a:cubicBezTo>
                <a:cubicBezTo>
                  <a:pt x="443472" y="856208"/>
                  <a:pt x="431032" y="856208"/>
                  <a:pt x="391228" y="856208"/>
                </a:cubicBezTo>
                <a:lnTo>
                  <a:pt x="111348" y="856208"/>
                </a:lnTo>
                <a:cubicBezTo>
                  <a:pt x="70300" y="856208"/>
                  <a:pt x="59104" y="856208"/>
                  <a:pt x="31738" y="950476"/>
                </a:cubicBezTo>
                <a:cubicBezTo>
                  <a:pt x="30494" y="959159"/>
                  <a:pt x="20544" y="964120"/>
                  <a:pt x="11836" y="961640"/>
                </a:cubicBezTo>
                <a:cubicBezTo>
                  <a:pt x="3128" y="960399"/>
                  <a:pt x="-1848" y="950476"/>
                  <a:pt x="640" y="941794"/>
                </a:cubicBezTo>
                <a:cubicBezTo>
                  <a:pt x="26762" y="850006"/>
                  <a:pt x="44178" y="823958"/>
                  <a:pt x="111348" y="823958"/>
                </a:cubicBezTo>
                <a:close/>
                <a:moveTo>
                  <a:pt x="653950" y="708074"/>
                </a:moveTo>
                <a:cubicBezTo>
                  <a:pt x="600320" y="708074"/>
                  <a:pt x="557914" y="751726"/>
                  <a:pt x="557914" y="804108"/>
                </a:cubicBezTo>
                <a:cubicBezTo>
                  <a:pt x="557914" y="857738"/>
                  <a:pt x="600320" y="900143"/>
                  <a:pt x="653950" y="900143"/>
                </a:cubicBezTo>
                <a:cubicBezTo>
                  <a:pt x="707580" y="900143"/>
                  <a:pt x="749986" y="857738"/>
                  <a:pt x="749986" y="804108"/>
                </a:cubicBezTo>
                <a:cubicBezTo>
                  <a:pt x="749986" y="751726"/>
                  <a:pt x="707580" y="708074"/>
                  <a:pt x="653950" y="708074"/>
                </a:cubicBezTo>
                <a:close/>
                <a:moveTo>
                  <a:pt x="653950" y="675646"/>
                </a:moveTo>
                <a:cubicBezTo>
                  <a:pt x="723794" y="675646"/>
                  <a:pt x="782414" y="733018"/>
                  <a:pt x="782414" y="804108"/>
                </a:cubicBezTo>
                <a:cubicBezTo>
                  <a:pt x="782414" y="875199"/>
                  <a:pt x="723794" y="932570"/>
                  <a:pt x="653950" y="932570"/>
                </a:cubicBezTo>
                <a:cubicBezTo>
                  <a:pt x="582858" y="932570"/>
                  <a:pt x="525486" y="875199"/>
                  <a:pt x="525486" y="804108"/>
                </a:cubicBezTo>
                <a:cubicBezTo>
                  <a:pt x="525486" y="733018"/>
                  <a:pt x="582858" y="675646"/>
                  <a:pt x="653950" y="675646"/>
                </a:cubicBezTo>
                <a:close/>
                <a:moveTo>
                  <a:pt x="1055564" y="588474"/>
                </a:moveTo>
                <a:cubicBezTo>
                  <a:pt x="1001674" y="588474"/>
                  <a:pt x="957810" y="630879"/>
                  <a:pt x="957810" y="684508"/>
                </a:cubicBezTo>
                <a:cubicBezTo>
                  <a:pt x="957810" y="736891"/>
                  <a:pt x="1001674" y="779296"/>
                  <a:pt x="1055564" y="779296"/>
                </a:cubicBezTo>
                <a:cubicBezTo>
                  <a:pt x="1108200" y="779296"/>
                  <a:pt x="1152064" y="736891"/>
                  <a:pt x="1152064" y="684508"/>
                </a:cubicBezTo>
                <a:cubicBezTo>
                  <a:pt x="1152064" y="630879"/>
                  <a:pt x="1108200" y="588474"/>
                  <a:pt x="1055564" y="588474"/>
                </a:cubicBezTo>
                <a:close/>
                <a:moveTo>
                  <a:pt x="252326" y="588474"/>
                </a:moveTo>
                <a:cubicBezTo>
                  <a:pt x="199688" y="588474"/>
                  <a:pt x="155824" y="630879"/>
                  <a:pt x="155824" y="684508"/>
                </a:cubicBezTo>
                <a:cubicBezTo>
                  <a:pt x="155824" y="736891"/>
                  <a:pt x="199688" y="779296"/>
                  <a:pt x="252326" y="779296"/>
                </a:cubicBezTo>
                <a:cubicBezTo>
                  <a:pt x="304962" y="779296"/>
                  <a:pt x="348826" y="736891"/>
                  <a:pt x="348826" y="684508"/>
                </a:cubicBezTo>
                <a:cubicBezTo>
                  <a:pt x="348826" y="630879"/>
                  <a:pt x="304962" y="588474"/>
                  <a:pt x="252326" y="588474"/>
                </a:cubicBezTo>
                <a:close/>
                <a:moveTo>
                  <a:pt x="1055564" y="554799"/>
                </a:moveTo>
                <a:cubicBezTo>
                  <a:pt x="1125746" y="554799"/>
                  <a:pt x="1183396" y="613418"/>
                  <a:pt x="1183396" y="684508"/>
                </a:cubicBezTo>
                <a:cubicBezTo>
                  <a:pt x="1183396" y="754352"/>
                  <a:pt x="1125746" y="811723"/>
                  <a:pt x="1055564" y="811723"/>
                </a:cubicBezTo>
                <a:cubicBezTo>
                  <a:pt x="984128" y="811723"/>
                  <a:pt x="926478" y="754352"/>
                  <a:pt x="926478" y="684508"/>
                </a:cubicBezTo>
                <a:cubicBezTo>
                  <a:pt x="926478" y="613418"/>
                  <a:pt x="984128" y="554799"/>
                  <a:pt x="1055564" y="554799"/>
                </a:cubicBezTo>
                <a:close/>
                <a:moveTo>
                  <a:pt x="252326" y="554799"/>
                </a:moveTo>
                <a:cubicBezTo>
                  <a:pt x="323760" y="554799"/>
                  <a:pt x="381410" y="613418"/>
                  <a:pt x="381410" y="684508"/>
                </a:cubicBezTo>
                <a:cubicBezTo>
                  <a:pt x="381410" y="754352"/>
                  <a:pt x="323760" y="811723"/>
                  <a:pt x="252326" y="811723"/>
                </a:cubicBezTo>
                <a:cubicBezTo>
                  <a:pt x="180890" y="811723"/>
                  <a:pt x="124492" y="754352"/>
                  <a:pt x="124492" y="684508"/>
                </a:cubicBezTo>
                <a:cubicBezTo>
                  <a:pt x="124492" y="613418"/>
                  <a:pt x="180890" y="554799"/>
                  <a:pt x="252326" y="554799"/>
                </a:cubicBezTo>
                <a:close/>
                <a:moveTo>
                  <a:pt x="709666" y="32502"/>
                </a:moveTo>
                <a:cubicBezTo>
                  <a:pt x="688478" y="32502"/>
                  <a:pt x="672274" y="48752"/>
                  <a:pt x="672274" y="70003"/>
                </a:cubicBezTo>
                <a:lnTo>
                  <a:pt x="672274" y="171258"/>
                </a:lnTo>
                <a:lnTo>
                  <a:pt x="656070" y="171258"/>
                </a:lnTo>
                <a:cubicBezTo>
                  <a:pt x="617430" y="171258"/>
                  <a:pt x="586268" y="202509"/>
                  <a:pt x="586268" y="241261"/>
                </a:cubicBezTo>
                <a:cubicBezTo>
                  <a:pt x="586268" y="280013"/>
                  <a:pt x="617430" y="311264"/>
                  <a:pt x="656070" y="311264"/>
                </a:cubicBezTo>
                <a:lnTo>
                  <a:pt x="672274" y="311264"/>
                </a:lnTo>
                <a:lnTo>
                  <a:pt x="672274" y="413769"/>
                </a:lnTo>
                <a:cubicBezTo>
                  <a:pt x="672274" y="433770"/>
                  <a:pt x="688478" y="451271"/>
                  <a:pt x="709666" y="451271"/>
                </a:cubicBezTo>
                <a:lnTo>
                  <a:pt x="779468" y="451271"/>
                </a:lnTo>
                <a:cubicBezTo>
                  <a:pt x="786946" y="401268"/>
                  <a:pt x="829326" y="363767"/>
                  <a:pt x="880430" y="363767"/>
                </a:cubicBezTo>
                <a:cubicBezTo>
                  <a:pt x="931534" y="363767"/>
                  <a:pt x="975160" y="401268"/>
                  <a:pt x="982638" y="451271"/>
                </a:cubicBezTo>
                <a:lnTo>
                  <a:pt x="1058670" y="451271"/>
                </a:lnTo>
                <a:cubicBezTo>
                  <a:pt x="1079860" y="451271"/>
                  <a:pt x="1094818" y="433770"/>
                  <a:pt x="1094818" y="413769"/>
                </a:cubicBezTo>
                <a:lnTo>
                  <a:pt x="1094818" y="126256"/>
                </a:lnTo>
                <a:cubicBezTo>
                  <a:pt x="1094818" y="75004"/>
                  <a:pt x="1053684" y="32502"/>
                  <a:pt x="1001334" y="32502"/>
                </a:cubicBezTo>
                <a:close/>
                <a:moveTo>
                  <a:pt x="312052" y="32502"/>
                </a:moveTo>
                <a:cubicBezTo>
                  <a:pt x="259700" y="32502"/>
                  <a:pt x="217322" y="75004"/>
                  <a:pt x="217322" y="126256"/>
                </a:cubicBezTo>
                <a:lnTo>
                  <a:pt x="217322" y="413769"/>
                </a:lnTo>
                <a:cubicBezTo>
                  <a:pt x="217322" y="433770"/>
                  <a:pt x="233526" y="451271"/>
                  <a:pt x="253468" y="451271"/>
                </a:cubicBezTo>
                <a:lnTo>
                  <a:pt x="331994" y="451271"/>
                </a:lnTo>
                <a:cubicBezTo>
                  <a:pt x="345706" y="451271"/>
                  <a:pt x="356924" y="460021"/>
                  <a:pt x="358170" y="475022"/>
                </a:cubicBezTo>
                <a:cubicBezTo>
                  <a:pt x="363156" y="510023"/>
                  <a:pt x="393070" y="537525"/>
                  <a:pt x="429216" y="537525"/>
                </a:cubicBezTo>
                <a:cubicBezTo>
                  <a:pt x="465364" y="537525"/>
                  <a:pt x="494032" y="510023"/>
                  <a:pt x="499018" y="475022"/>
                </a:cubicBezTo>
                <a:cubicBezTo>
                  <a:pt x="500264" y="460021"/>
                  <a:pt x="511482" y="451271"/>
                  <a:pt x="525192" y="451271"/>
                </a:cubicBezTo>
                <a:lnTo>
                  <a:pt x="603718" y="451271"/>
                </a:lnTo>
                <a:cubicBezTo>
                  <a:pt x="623662" y="451271"/>
                  <a:pt x="639866" y="433770"/>
                  <a:pt x="639866" y="413769"/>
                </a:cubicBezTo>
                <a:lnTo>
                  <a:pt x="639866" y="342516"/>
                </a:lnTo>
                <a:cubicBezTo>
                  <a:pt x="591254" y="335015"/>
                  <a:pt x="553862" y="292514"/>
                  <a:pt x="553862" y="241261"/>
                </a:cubicBezTo>
                <a:cubicBezTo>
                  <a:pt x="553862" y="190009"/>
                  <a:pt x="591254" y="147507"/>
                  <a:pt x="639866" y="140007"/>
                </a:cubicBezTo>
                <a:lnTo>
                  <a:pt x="639866" y="70003"/>
                </a:lnTo>
                <a:cubicBezTo>
                  <a:pt x="639866" y="48752"/>
                  <a:pt x="623662" y="32502"/>
                  <a:pt x="603718" y="32502"/>
                </a:cubicBezTo>
                <a:close/>
                <a:moveTo>
                  <a:pt x="312052" y="0"/>
                </a:moveTo>
                <a:lnTo>
                  <a:pt x="603718" y="0"/>
                </a:lnTo>
                <a:cubicBezTo>
                  <a:pt x="624908" y="0"/>
                  <a:pt x="643606" y="10001"/>
                  <a:pt x="656070" y="23751"/>
                </a:cubicBezTo>
                <a:cubicBezTo>
                  <a:pt x="669780" y="10001"/>
                  <a:pt x="688478" y="0"/>
                  <a:pt x="709666" y="0"/>
                </a:cubicBezTo>
                <a:lnTo>
                  <a:pt x="1001334" y="0"/>
                </a:lnTo>
                <a:cubicBezTo>
                  <a:pt x="1071136" y="0"/>
                  <a:pt x="1128472" y="57503"/>
                  <a:pt x="1128472" y="126256"/>
                </a:cubicBezTo>
                <a:lnTo>
                  <a:pt x="1128472" y="413769"/>
                </a:lnTo>
                <a:cubicBezTo>
                  <a:pt x="1128472" y="451271"/>
                  <a:pt x="1097310" y="482522"/>
                  <a:pt x="1058670" y="482522"/>
                </a:cubicBezTo>
                <a:lnTo>
                  <a:pt x="977652" y="482522"/>
                </a:lnTo>
                <a:cubicBezTo>
                  <a:pt x="963942" y="482522"/>
                  <a:pt x="952724" y="472522"/>
                  <a:pt x="951476" y="458771"/>
                </a:cubicBezTo>
                <a:cubicBezTo>
                  <a:pt x="947738" y="423770"/>
                  <a:pt x="916576" y="396268"/>
                  <a:pt x="880430" y="396268"/>
                </a:cubicBezTo>
                <a:cubicBezTo>
                  <a:pt x="845528" y="396268"/>
                  <a:pt x="814368" y="423770"/>
                  <a:pt x="810628" y="458771"/>
                </a:cubicBezTo>
                <a:cubicBezTo>
                  <a:pt x="810628" y="472522"/>
                  <a:pt x="799410" y="482522"/>
                  <a:pt x="785700" y="482522"/>
                </a:cubicBezTo>
                <a:lnTo>
                  <a:pt x="709666" y="482522"/>
                </a:lnTo>
                <a:cubicBezTo>
                  <a:pt x="688478" y="482522"/>
                  <a:pt x="669780" y="473772"/>
                  <a:pt x="656070" y="458771"/>
                </a:cubicBezTo>
                <a:cubicBezTo>
                  <a:pt x="643606" y="473772"/>
                  <a:pt x="624908" y="482522"/>
                  <a:pt x="603718" y="482522"/>
                </a:cubicBezTo>
                <a:lnTo>
                  <a:pt x="530178" y="482522"/>
                </a:lnTo>
                <a:cubicBezTo>
                  <a:pt x="521454" y="532524"/>
                  <a:pt x="479074" y="570026"/>
                  <a:pt x="429216" y="570026"/>
                </a:cubicBezTo>
                <a:cubicBezTo>
                  <a:pt x="378112" y="570026"/>
                  <a:pt x="335734" y="532524"/>
                  <a:pt x="328254" y="482522"/>
                </a:cubicBezTo>
                <a:lnTo>
                  <a:pt x="253468" y="482522"/>
                </a:lnTo>
                <a:cubicBezTo>
                  <a:pt x="214828" y="482522"/>
                  <a:pt x="184914" y="451271"/>
                  <a:pt x="184914" y="413769"/>
                </a:cubicBezTo>
                <a:lnTo>
                  <a:pt x="184914" y="126256"/>
                </a:lnTo>
                <a:cubicBezTo>
                  <a:pt x="184914" y="57503"/>
                  <a:pt x="241004" y="0"/>
                  <a:pt x="312052" y="0"/>
                </a:cubicBezTo>
                <a:close/>
              </a:path>
            </a:pathLst>
          </a:custGeom>
          <a:solidFill>
            <a:schemeClr val="accent3"/>
          </a:solidFill>
          <a:ln>
            <a:noFill/>
          </a:ln>
          <a:effectLst/>
        </p:spPr>
        <p:txBody>
          <a:bodyPr wrap="square" anchor="ctr">
            <a:noAutofit/>
          </a:bodyPr>
          <a:lstStyle/>
          <a:p>
            <a:endParaRPr lang="en-US" dirty="0">
              <a:latin typeface="Poppins" pitchFamily="2" charset="77"/>
            </a:endParaRPr>
          </a:p>
        </p:txBody>
      </p:sp>
      <p:sp>
        <p:nvSpPr>
          <p:cNvPr id="14" name="Freeform 443">
            <a:extLst>
              <a:ext uri="{FF2B5EF4-FFF2-40B4-BE49-F238E27FC236}">
                <a16:creationId xmlns:a16="http://schemas.microsoft.com/office/drawing/2014/main" id="{50FABDBC-56A4-AE8A-908D-6A648122B5A2}"/>
              </a:ext>
            </a:extLst>
          </p:cNvPr>
          <p:cNvSpPr>
            <a:spLocks noChangeArrowheads="1"/>
          </p:cNvSpPr>
          <p:nvPr/>
        </p:nvSpPr>
        <p:spPr bwMode="auto">
          <a:xfrm>
            <a:off x="1781212" y="4163377"/>
            <a:ext cx="876141" cy="469655"/>
          </a:xfrm>
          <a:custGeom>
            <a:avLst/>
            <a:gdLst>
              <a:gd name="T0" fmla="*/ 1407 w 1408"/>
              <a:gd name="T1" fmla="*/ 0 h 753"/>
              <a:gd name="T2" fmla="*/ 1407 w 1408"/>
              <a:gd name="T3" fmla="*/ 415 h 753"/>
              <a:gd name="T4" fmla="*/ 0 w 1408"/>
              <a:gd name="T5" fmla="*/ 415 h 753"/>
              <a:gd name="T6" fmla="*/ 0 w 1408"/>
              <a:gd name="T7" fmla="*/ 752 h 753"/>
            </a:gdLst>
            <a:ahLst/>
            <a:cxnLst>
              <a:cxn ang="0">
                <a:pos x="T0" y="T1"/>
              </a:cxn>
              <a:cxn ang="0">
                <a:pos x="T2" y="T3"/>
              </a:cxn>
              <a:cxn ang="0">
                <a:pos x="T4" y="T5"/>
              </a:cxn>
              <a:cxn ang="0">
                <a:pos x="T6" y="T7"/>
              </a:cxn>
            </a:cxnLst>
            <a:rect l="0" t="0" r="r" b="b"/>
            <a:pathLst>
              <a:path w="1408" h="753">
                <a:moveTo>
                  <a:pt x="1407" y="0"/>
                </a:moveTo>
                <a:lnTo>
                  <a:pt x="1407" y="415"/>
                </a:lnTo>
                <a:lnTo>
                  <a:pt x="0" y="415"/>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5" name="Freeform 444">
            <a:extLst>
              <a:ext uri="{FF2B5EF4-FFF2-40B4-BE49-F238E27FC236}">
                <a16:creationId xmlns:a16="http://schemas.microsoft.com/office/drawing/2014/main" id="{55CE4EC1-295E-42BF-815A-F943EE7F3B54}"/>
              </a:ext>
            </a:extLst>
          </p:cNvPr>
          <p:cNvSpPr>
            <a:spLocks noChangeArrowheads="1"/>
          </p:cNvSpPr>
          <p:nvPr/>
        </p:nvSpPr>
        <p:spPr bwMode="auto">
          <a:xfrm>
            <a:off x="9553872" y="4163377"/>
            <a:ext cx="878888" cy="469655"/>
          </a:xfrm>
          <a:custGeom>
            <a:avLst/>
            <a:gdLst>
              <a:gd name="T0" fmla="*/ 0 w 1409"/>
              <a:gd name="T1" fmla="*/ 0 h 753"/>
              <a:gd name="T2" fmla="*/ 0 w 1409"/>
              <a:gd name="T3" fmla="*/ 415 h 753"/>
              <a:gd name="T4" fmla="*/ 1408 w 1409"/>
              <a:gd name="T5" fmla="*/ 415 h 753"/>
              <a:gd name="T6" fmla="*/ 1408 w 1409"/>
              <a:gd name="T7" fmla="*/ 752 h 753"/>
            </a:gdLst>
            <a:ahLst/>
            <a:cxnLst>
              <a:cxn ang="0">
                <a:pos x="T0" y="T1"/>
              </a:cxn>
              <a:cxn ang="0">
                <a:pos x="T2" y="T3"/>
              </a:cxn>
              <a:cxn ang="0">
                <a:pos x="T4" y="T5"/>
              </a:cxn>
              <a:cxn ang="0">
                <a:pos x="T6" y="T7"/>
              </a:cxn>
            </a:cxnLst>
            <a:rect l="0" t="0" r="r" b="b"/>
            <a:pathLst>
              <a:path w="1409" h="753">
                <a:moveTo>
                  <a:pt x="0" y="0"/>
                </a:moveTo>
                <a:lnTo>
                  <a:pt x="0" y="415"/>
                </a:lnTo>
                <a:lnTo>
                  <a:pt x="1408" y="415"/>
                </a:lnTo>
                <a:lnTo>
                  <a:pt x="1408"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6" name="Line 445">
            <a:extLst>
              <a:ext uri="{FF2B5EF4-FFF2-40B4-BE49-F238E27FC236}">
                <a16:creationId xmlns:a16="http://schemas.microsoft.com/office/drawing/2014/main" id="{700BB822-BD3B-5A3E-8833-DA9DF6090495}"/>
              </a:ext>
            </a:extLst>
          </p:cNvPr>
          <p:cNvSpPr>
            <a:spLocks noChangeShapeType="1"/>
          </p:cNvSpPr>
          <p:nvPr/>
        </p:nvSpPr>
        <p:spPr bwMode="auto">
          <a:xfrm>
            <a:off x="6095999" y="4163377"/>
            <a:ext cx="0" cy="469655"/>
          </a:xfrm>
          <a:prstGeom prst="line">
            <a:avLst/>
          </a:prstGeom>
          <a:noFill/>
          <a:ln w="3175" cap="flat">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7" name="Freeform 446">
            <a:extLst>
              <a:ext uri="{FF2B5EF4-FFF2-40B4-BE49-F238E27FC236}">
                <a16:creationId xmlns:a16="http://schemas.microsoft.com/office/drawing/2014/main" id="{66D6B874-856D-3FEE-299A-06493D5725DC}"/>
              </a:ext>
            </a:extLst>
          </p:cNvPr>
          <p:cNvSpPr>
            <a:spLocks noChangeArrowheads="1"/>
          </p:cNvSpPr>
          <p:nvPr/>
        </p:nvSpPr>
        <p:spPr bwMode="auto">
          <a:xfrm>
            <a:off x="3939980" y="4163377"/>
            <a:ext cx="455923" cy="469655"/>
          </a:xfrm>
          <a:custGeom>
            <a:avLst/>
            <a:gdLst>
              <a:gd name="T0" fmla="*/ 730 w 731"/>
              <a:gd name="T1" fmla="*/ 0 h 753"/>
              <a:gd name="T2" fmla="*/ 730 w 731"/>
              <a:gd name="T3" fmla="*/ 376 h 753"/>
              <a:gd name="T4" fmla="*/ 0 w 731"/>
              <a:gd name="T5" fmla="*/ 376 h 753"/>
              <a:gd name="T6" fmla="*/ 0 w 731"/>
              <a:gd name="T7" fmla="*/ 752 h 753"/>
            </a:gdLst>
            <a:ahLst/>
            <a:cxnLst>
              <a:cxn ang="0">
                <a:pos x="T0" y="T1"/>
              </a:cxn>
              <a:cxn ang="0">
                <a:pos x="T2" y="T3"/>
              </a:cxn>
              <a:cxn ang="0">
                <a:pos x="T4" y="T5"/>
              </a:cxn>
              <a:cxn ang="0">
                <a:pos x="T6" y="T7"/>
              </a:cxn>
            </a:cxnLst>
            <a:rect l="0" t="0" r="r" b="b"/>
            <a:pathLst>
              <a:path w="731" h="753">
                <a:moveTo>
                  <a:pt x="730" y="0"/>
                </a:moveTo>
                <a:lnTo>
                  <a:pt x="730" y="376"/>
                </a:lnTo>
                <a:lnTo>
                  <a:pt x="0" y="376"/>
                </a:lnTo>
                <a:lnTo>
                  <a:pt x="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8" name="Freeform 447">
            <a:extLst>
              <a:ext uri="{FF2B5EF4-FFF2-40B4-BE49-F238E27FC236}">
                <a16:creationId xmlns:a16="http://schemas.microsoft.com/office/drawing/2014/main" id="{AF2F29E1-F96E-C245-4EA9-88E0999C6CF5}"/>
              </a:ext>
            </a:extLst>
          </p:cNvPr>
          <p:cNvSpPr>
            <a:spLocks noChangeArrowheads="1"/>
          </p:cNvSpPr>
          <p:nvPr/>
        </p:nvSpPr>
        <p:spPr bwMode="auto">
          <a:xfrm>
            <a:off x="7823564" y="4163377"/>
            <a:ext cx="455923" cy="469655"/>
          </a:xfrm>
          <a:custGeom>
            <a:avLst/>
            <a:gdLst>
              <a:gd name="T0" fmla="*/ 0 w 731"/>
              <a:gd name="T1" fmla="*/ 0 h 753"/>
              <a:gd name="T2" fmla="*/ 0 w 731"/>
              <a:gd name="T3" fmla="*/ 376 h 753"/>
              <a:gd name="T4" fmla="*/ 730 w 731"/>
              <a:gd name="T5" fmla="*/ 376 h 753"/>
              <a:gd name="T6" fmla="*/ 730 w 731"/>
              <a:gd name="T7" fmla="*/ 752 h 753"/>
            </a:gdLst>
            <a:ahLst/>
            <a:cxnLst>
              <a:cxn ang="0">
                <a:pos x="T0" y="T1"/>
              </a:cxn>
              <a:cxn ang="0">
                <a:pos x="T2" y="T3"/>
              </a:cxn>
              <a:cxn ang="0">
                <a:pos x="T4" y="T5"/>
              </a:cxn>
              <a:cxn ang="0">
                <a:pos x="T6" y="T7"/>
              </a:cxn>
            </a:cxnLst>
            <a:rect l="0" t="0" r="r" b="b"/>
            <a:pathLst>
              <a:path w="731" h="753">
                <a:moveTo>
                  <a:pt x="0" y="0"/>
                </a:moveTo>
                <a:lnTo>
                  <a:pt x="0" y="376"/>
                </a:lnTo>
                <a:lnTo>
                  <a:pt x="730" y="376"/>
                </a:lnTo>
                <a:lnTo>
                  <a:pt x="730" y="752"/>
                </a:lnTo>
              </a:path>
            </a:pathLst>
          </a:custGeom>
          <a:noFill/>
          <a:ln w="3175" cap="flat">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19" name="TextBox 5">
            <a:extLst>
              <a:ext uri="{FF2B5EF4-FFF2-40B4-BE49-F238E27FC236}">
                <a16:creationId xmlns:a16="http://schemas.microsoft.com/office/drawing/2014/main" id="{B40DB92B-B876-863C-EE44-A55E0FB94314}"/>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20" name="TextBox 6">
            <a:extLst>
              <a:ext uri="{FF2B5EF4-FFF2-40B4-BE49-F238E27FC236}">
                <a16:creationId xmlns:a16="http://schemas.microsoft.com/office/drawing/2014/main" id="{44BE7592-43FE-9E23-9D2E-B1235C4A979D}"/>
              </a:ext>
            </a:extLst>
          </p:cNvPr>
          <p:cNvSpPr txBox="1"/>
          <p:nvPr/>
        </p:nvSpPr>
        <p:spPr>
          <a:xfrm>
            <a:off x="762000"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7">
            <a:extLst>
              <a:ext uri="{FF2B5EF4-FFF2-40B4-BE49-F238E27FC236}">
                <a16:creationId xmlns:a16="http://schemas.microsoft.com/office/drawing/2014/main" id="{9B2EF22B-F510-1C0F-6D4F-2315914D1A50}"/>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22" name="TextBox 8">
            <a:extLst>
              <a:ext uri="{FF2B5EF4-FFF2-40B4-BE49-F238E27FC236}">
                <a16:creationId xmlns:a16="http://schemas.microsoft.com/office/drawing/2014/main" id="{834976D5-EB7B-5089-4AF9-9252866AEB99}"/>
              </a:ext>
            </a:extLst>
          </p:cNvPr>
          <p:cNvSpPr txBox="1"/>
          <p:nvPr/>
        </p:nvSpPr>
        <p:spPr>
          <a:xfrm>
            <a:off x="2918791"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9">
            <a:extLst>
              <a:ext uri="{FF2B5EF4-FFF2-40B4-BE49-F238E27FC236}">
                <a16:creationId xmlns:a16="http://schemas.microsoft.com/office/drawing/2014/main" id="{031B5225-FC26-671C-B316-6F31229665C8}"/>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24" name="TextBox 10">
            <a:extLst>
              <a:ext uri="{FF2B5EF4-FFF2-40B4-BE49-F238E27FC236}">
                <a16:creationId xmlns:a16="http://schemas.microsoft.com/office/drawing/2014/main" id="{897EB9DF-6747-264A-044D-DE59973C9173}"/>
              </a:ext>
            </a:extLst>
          </p:cNvPr>
          <p:cNvSpPr txBox="1"/>
          <p:nvPr/>
        </p:nvSpPr>
        <p:spPr>
          <a:xfrm>
            <a:off x="5078227"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5" name="TextBox 11">
            <a:extLst>
              <a:ext uri="{FF2B5EF4-FFF2-40B4-BE49-F238E27FC236}">
                <a16:creationId xmlns:a16="http://schemas.microsoft.com/office/drawing/2014/main" id="{9E79AF0E-AB92-7F6E-84BA-A7C927AEF09D}"/>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26" name="TextBox 12">
            <a:extLst>
              <a:ext uri="{FF2B5EF4-FFF2-40B4-BE49-F238E27FC236}">
                <a16:creationId xmlns:a16="http://schemas.microsoft.com/office/drawing/2014/main" id="{0523AECD-67AC-C106-B1C6-B70F5BE7115E}"/>
              </a:ext>
            </a:extLst>
          </p:cNvPr>
          <p:cNvSpPr txBox="1"/>
          <p:nvPr/>
        </p:nvSpPr>
        <p:spPr>
          <a:xfrm>
            <a:off x="7237665"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7" name="TextBox 13">
            <a:extLst>
              <a:ext uri="{FF2B5EF4-FFF2-40B4-BE49-F238E27FC236}">
                <a16:creationId xmlns:a16="http://schemas.microsoft.com/office/drawing/2014/main" id="{2BA97685-459A-8CD8-5D54-F05A006BACAC}"/>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28" name="TextBox 14">
            <a:extLst>
              <a:ext uri="{FF2B5EF4-FFF2-40B4-BE49-F238E27FC236}">
                <a16:creationId xmlns:a16="http://schemas.microsoft.com/office/drawing/2014/main" id="{4354802B-6E29-1787-CF4E-51FFB9FAD63E}"/>
              </a:ext>
            </a:extLst>
          </p:cNvPr>
          <p:cNvSpPr txBox="1"/>
          <p:nvPr/>
        </p:nvSpPr>
        <p:spPr>
          <a:xfrm>
            <a:off x="9394454" y="5245977"/>
            <a:ext cx="2035545" cy="773289"/>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 name="Footer Placeholder 1">
            <a:extLst>
              <a:ext uri="{FF2B5EF4-FFF2-40B4-BE49-F238E27FC236}">
                <a16:creationId xmlns:a16="http://schemas.microsoft.com/office/drawing/2014/main" id="{3A380C7C-DDCE-C663-D939-53211F357F68}"/>
              </a:ext>
            </a:extLst>
          </p:cNvPr>
          <p:cNvSpPr>
            <a:spLocks noGrp="1"/>
          </p:cNvSpPr>
          <p:nvPr>
            <p:ph type="ftr" sz="quarter" idx="3"/>
          </p:nvPr>
        </p:nvSpPr>
        <p:spPr/>
        <p:txBody>
          <a:bodyPr/>
          <a:lstStyle/>
          <a:p>
            <a:r>
              <a:rPr lang="en-US"/>
              <a:t>Source:_______</a:t>
            </a:r>
            <a:endParaRPr lang="en-US" dirty="0"/>
          </a:p>
        </p:txBody>
      </p:sp>
      <p:sp>
        <p:nvSpPr>
          <p:cNvPr id="31" name="Título 30">
            <a:extLst>
              <a:ext uri="{FF2B5EF4-FFF2-40B4-BE49-F238E27FC236}">
                <a16:creationId xmlns:a16="http://schemas.microsoft.com/office/drawing/2014/main" id="{FCB76D09-7F8D-F178-0503-612C9DA66951}"/>
              </a:ext>
            </a:extLst>
          </p:cNvPr>
          <p:cNvSpPr>
            <a:spLocks noGrp="1"/>
          </p:cNvSpPr>
          <p:nvPr>
            <p:ph type="title"/>
          </p:nvPr>
        </p:nvSpPr>
        <p:spPr/>
        <p:txBody>
          <a:bodyPr vert="horz"/>
          <a:lstStyle/>
          <a:p>
            <a:r>
              <a:rPr lang="en-US" dirty="0"/>
              <a:t>Template - Decision Slide</a:t>
            </a:r>
          </a:p>
        </p:txBody>
      </p:sp>
    </p:spTree>
    <p:extLst>
      <p:ext uri="{BB962C8B-B14F-4D97-AF65-F5344CB8AC3E}">
        <p14:creationId xmlns:p14="http://schemas.microsoft.com/office/powerpoint/2010/main" val="104893886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extLst>
              <p:ext uri="{D42A27DB-BD31-4B8C-83A1-F6EECF244321}">
                <p14:modId xmlns:p14="http://schemas.microsoft.com/office/powerpoint/2010/main" val="1725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DA6D9D3-56DC-990C-4657-A2F53C4E319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p:txBody>
          <a:bodyPr vert="horz"/>
          <a:lstStyle/>
          <a:p>
            <a:r>
              <a:rPr lang="en-US" dirty="0"/>
              <a:t>Template - Decision Slide</a:t>
            </a:r>
          </a:p>
        </p:txBody>
      </p:sp>
      <p:sp>
        <p:nvSpPr>
          <p:cNvPr id="4" name="Rectangle 5">
            <a:extLst>
              <a:ext uri="{FF2B5EF4-FFF2-40B4-BE49-F238E27FC236}">
                <a16:creationId xmlns:a16="http://schemas.microsoft.com/office/drawing/2014/main" id="{1AD0DA38-C94B-B806-0CBA-EF68E2669671}"/>
              </a:ext>
            </a:extLst>
          </p:cNvPr>
          <p:cNvSpPr/>
          <p:nvPr/>
        </p:nvSpPr>
        <p:spPr>
          <a:xfrm>
            <a:off x="371475" y="3465513"/>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761999" y="4921879"/>
            <a:ext cx="2035545" cy="307777"/>
          </a:xfrm>
          <a:prstGeom prst="rect">
            <a:avLst/>
          </a:prstGeom>
          <a:noFill/>
        </p:spPr>
        <p:txBody>
          <a:bodyPr wrap="square" lIns="0" rtlCol="0" anchor="b">
            <a:spAutoFit/>
          </a:bodyPr>
          <a:lstStyle/>
          <a:p>
            <a:r>
              <a:rPr lang="en-US" sz="1400" b="1" spc="-15" dirty="0">
                <a:solidFill>
                  <a:schemeClr val="accent1"/>
                </a:solidFill>
                <a:cs typeface="Poppins" pitchFamily="2" charset="77"/>
              </a:rPr>
              <a:t>Alternatives</a:t>
            </a:r>
          </a:p>
        </p:txBody>
      </p:sp>
      <p:sp>
        <p:nvSpPr>
          <p:cNvPr id="11" name="TextBox 6">
            <a:extLst>
              <a:ext uri="{FF2B5EF4-FFF2-40B4-BE49-F238E27FC236}">
                <a16:creationId xmlns:a16="http://schemas.microsoft.com/office/drawing/2014/main" id="{6665DD1D-146C-2DCC-F7EE-2F49E97FE290}"/>
              </a:ext>
            </a:extLst>
          </p:cNvPr>
          <p:cNvSpPr txBox="1"/>
          <p:nvPr/>
        </p:nvSpPr>
        <p:spPr>
          <a:xfrm>
            <a:off x="762000"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7">
            <a:extLst>
              <a:ext uri="{FF2B5EF4-FFF2-40B4-BE49-F238E27FC236}">
                <a16:creationId xmlns:a16="http://schemas.microsoft.com/office/drawing/2014/main" id="{A320C6E3-E96E-277E-44B4-87899ED80101}"/>
              </a:ext>
            </a:extLst>
          </p:cNvPr>
          <p:cNvSpPr txBox="1"/>
          <p:nvPr/>
        </p:nvSpPr>
        <p:spPr>
          <a:xfrm>
            <a:off x="2918790" y="4921879"/>
            <a:ext cx="2035545" cy="307777"/>
          </a:xfrm>
          <a:prstGeom prst="rect">
            <a:avLst/>
          </a:prstGeom>
          <a:noFill/>
        </p:spPr>
        <p:txBody>
          <a:bodyPr wrap="square" lIns="0" rtlCol="0" anchor="b">
            <a:spAutoFit/>
          </a:bodyPr>
          <a:lstStyle/>
          <a:p>
            <a:r>
              <a:rPr lang="en-US" sz="1400" b="1" spc="-15" dirty="0">
                <a:solidFill>
                  <a:schemeClr val="tx2"/>
                </a:solidFill>
                <a:cs typeface="Poppins" pitchFamily="2" charset="77"/>
              </a:rPr>
              <a:t>Uncertainty</a:t>
            </a:r>
          </a:p>
        </p:txBody>
      </p:sp>
      <p:sp>
        <p:nvSpPr>
          <p:cNvPr id="13" name="TextBox 8">
            <a:extLst>
              <a:ext uri="{FF2B5EF4-FFF2-40B4-BE49-F238E27FC236}">
                <a16:creationId xmlns:a16="http://schemas.microsoft.com/office/drawing/2014/main" id="{9643A58A-DF34-010F-A65E-03DF91043263}"/>
              </a:ext>
            </a:extLst>
          </p:cNvPr>
          <p:cNvSpPr txBox="1"/>
          <p:nvPr/>
        </p:nvSpPr>
        <p:spPr>
          <a:xfrm>
            <a:off x="2918791"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9">
            <a:extLst>
              <a:ext uri="{FF2B5EF4-FFF2-40B4-BE49-F238E27FC236}">
                <a16:creationId xmlns:a16="http://schemas.microsoft.com/office/drawing/2014/main" id="{58119EBD-A319-4C05-C7CF-ACD584F6E44D}"/>
              </a:ext>
            </a:extLst>
          </p:cNvPr>
          <p:cNvSpPr txBox="1"/>
          <p:nvPr/>
        </p:nvSpPr>
        <p:spPr>
          <a:xfrm>
            <a:off x="5078227" y="4706436"/>
            <a:ext cx="2035545" cy="523220"/>
          </a:xfrm>
          <a:prstGeom prst="rect">
            <a:avLst/>
          </a:prstGeom>
          <a:noFill/>
        </p:spPr>
        <p:txBody>
          <a:bodyPr wrap="square" lIns="0" rtlCol="0" anchor="b">
            <a:spAutoFit/>
          </a:bodyPr>
          <a:lstStyle/>
          <a:p>
            <a:r>
              <a:rPr lang="en-US" sz="1400" b="1" spc="-15" dirty="0">
                <a:solidFill>
                  <a:schemeClr val="accent2"/>
                </a:solidFill>
                <a:cs typeface="Poppins" pitchFamily="2" charset="77"/>
              </a:rPr>
              <a:t>High-risk Consequences</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078228"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B9A0E2F4-5B6A-D727-1ADB-8FF16B5AE38E}"/>
              </a:ext>
            </a:extLst>
          </p:cNvPr>
          <p:cNvSpPr txBox="1"/>
          <p:nvPr/>
        </p:nvSpPr>
        <p:spPr>
          <a:xfrm>
            <a:off x="7237665" y="4706436"/>
            <a:ext cx="2035545" cy="523220"/>
          </a:xfrm>
          <a:prstGeom prst="rect">
            <a:avLst/>
          </a:prstGeom>
          <a:noFill/>
        </p:spPr>
        <p:txBody>
          <a:bodyPr wrap="square" lIns="0" rtlCol="0" anchor="b">
            <a:spAutoFit/>
          </a:bodyPr>
          <a:lstStyle/>
          <a:p>
            <a:r>
              <a:rPr lang="en-US" sz="1400" b="1" spc="-15" dirty="0">
                <a:solidFill>
                  <a:schemeClr val="accent4"/>
                </a:solidFill>
                <a:cs typeface="Poppins" pitchFamily="2" charset="77"/>
              </a:rPr>
              <a:t>Interpersonal Issues</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237666"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3">
            <a:extLst>
              <a:ext uri="{FF2B5EF4-FFF2-40B4-BE49-F238E27FC236}">
                <a16:creationId xmlns:a16="http://schemas.microsoft.com/office/drawing/2014/main" id="{1D995A90-F922-CCF6-E427-228BE6D4ED23}"/>
              </a:ext>
            </a:extLst>
          </p:cNvPr>
          <p:cNvSpPr txBox="1"/>
          <p:nvPr/>
        </p:nvSpPr>
        <p:spPr>
          <a:xfrm>
            <a:off x="9394454" y="4921879"/>
            <a:ext cx="2035545" cy="307777"/>
          </a:xfrm>
          <a:prstGeom prst="rect">
            <a:avLst/>
          </a:prstGeom>
          <a:noFill/>
        </p:spPr>
        <p:txBody>
          <a:bodyPr wrap="square" lIns="0" rtlCol="0" anchor="b">
            <a:spAutoFit/>
          </a:bodyPr>
          <a:lstStyle/>
          <a:p>
            <a:r>
              <a:rPr lang="en-US" sz="1400" b="1" spc="-15" dirty="0">
                <a:solidFill>
                  <a:schemeClr val="accent3"/>
                </a:solidFill>
                <a:cs typeface="Poppins" pitchFamily="2" charset="77"/>
              </a:rPr>
              <a:t>Complexity</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394455" y="5245977"/>
            <a:ext cx="2035545" cy="6463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81212" y="2168348"/>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5999" y="1525662"/>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67445"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1808" y="2168348"/>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14931" y="2778077"/>
            <a:ext cx="1601224" cy="1518826"/>
          </a:xfrm>
          <a:prstGeom prst="rect">
            <a:avLst/>
          </a:prstGeom>
          <a:solidFill>
            <a:schemeClr val="accent1"/>
          </a:solidFill>
          <a:ln>
            <a:noFill/>
          </a:ln>
          <a:effectLst/>
        </p:spPr>
        <p:txBody>
          <a:bodyPr wrap="none" anchor="ctr"/>
          <a:lstStyle/>
          <a:p>
            <a:endParaRPr lang="en-US" dirty="0">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143487" y="2778077"/>
            <a:ext cx="1601222" cy="1518826"/>
          </a:xfrm>
          <a:prstGeom prst="rect">
            <a:avLst/>
          </a:prstGeom>
          <a:solidFill>
            <a:schemeClr val="tx2"/>
          </a:solidFill>
          <a:ln>
            <a:noFill/>
          </a:ln>
          <a:effectLst/>
        </p:spPr>
        <p:txBody>
          <a:bodyPr wrap="none" anchor="ctr"/>
          <a:lstStyle/>
          <a:p>
            <a:endParaRPr lang="en-US" dirty="0">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272043" y="2778077"/>
            <a:ext cx="1598477" cy="1518826"/>
          </a:xfrm>
          <a:prstGeom prst="rect">
            <a:avLst/>
          </a:prstGeom>
          <a:solidFill>
            <a:schemeClr val="accent2"/>
          </a:solidFill>
          <a:ln>
            <a:noFill/>
          </a:ln>
          <a:effectLst/>
        </p:spPr>
        <p:txBody>
          <a:bodyPr wrap="none" anchor="ctr"/>
          <a:lstStyle/>
          <a:p>
            <a:endParaRPr lang="en-US" dirty="0">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397852" y="2778077"/>
            <a:ext cx="1598477" cy="1518826"/>
          </a:xfrm>
          <a:prstGeom prst="rect">
            <a:avLst/>
          </a:prstGeom>
          <a:solidFill>
            <a:schemeClr val="accent4"/>
          </a:solidFill>
          <a:ln>
            <a:noFill/>
          </a:ln>
          <a:effectLst/>
        </p:spPr>
        <p:txBody>
          <a:bodyPr wrap="none" anchor="ctr"/>
          <a:lstStyle/>
          <a:p>
            <a:endParaRPr lang="en-US" dirty="0">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526407" y="2778077"/>
            <a:ext cx="1601222" cy="1518826"/>
          </a:xfrm>
          <a:prstGeom prst="rect">
            <a:avLst/>
          </a:prstGeom>
          <a:solidFill>
            <a:schemeClr val="accent3"/>
          </a:solidFill>
          <a:ln>
            <a:noFill/>
          </a:ln>
          <a:effectLst/>
        </p:spPr>
        <p:txBody>
          <a:bodyPr wrap="none" anchor="ctr"/>
          <a:lstStyle/>
          <a:p>
            <a:endParaRPr lang="en-US" dirty="0">
              <a:latin typeface="Poppins" pitchFamily="2" charset="77"/>
            </a:endParaRPr>
          </a:p>
        </p:txBody>
      </p:sp>
      <p:sp>
        <p:nvSpPr>
          <p:cNvPr id="34" name="Freeform 30">
            <a:extLst>
              <a:ext uri="{FF2B5EF4-FFF2-40B4-BE49-F238E27FC236}">
                <a16:creationId xmlns:a16="http://schemas.microsoft.com/office/drawing/2014/main" id="{E455A8A7-1F24-F614-674D-8E5934B47786}"/>
              </a:ext>
            </a:extLst>
          </p:cNvPr>
          <p:cNvSpPr>
            <a:spLocks noChangeArrowheads="1"/>
          </p:cNvSpPr>
          <p:nvPr/>
        </p:nvSpPr>
        <p:spPr bwMode="auto">
          <a:xfrm>
            <a:off x="1419998" y="3190437"/>
            <a:ext cx="790817" cy="695371"/>
          </a:xfrm>
          <a:custGeom>
            <a:avLst/>
            <a:gdLst>
              <a:gd name="connsiteX0" fmla="*/ 1107162 w 1581633"/>
              <a:gd name="connsiteY0" fmla="*/ 1224184 h 1390741"/>
              <a:gd name="connsiteX1" fmla="*/ 1446033 w 1581633"/>
              <a:gd name="connsiteY1" fmla="*/ 1224184 h 1390741"/>
              <a:gd name="connsiteX2" fmla="*/ 1581082 w 1581633"/>
              <a:gd name="connsiteY2" fmla="*/ 1365882 h 1390741"/>
              <a:gd name="connsiteX3" fmla="*/ 1567327 w 1581633"/>
              <a:gd name="connsiteY3" fmla="*/ 1389498 h 1390741"/>
              <a:gd name="connsiteX4" fmla="*/ 1561075 w 1581633"/>
              <a:gd name="connsiteY4" fmla="*/ 1390741 h 1390741"/>
              <a:gd name="connsiteX5" fmla="*/ 1542318 w 1581633"/>
              <a:gd name="connsiteY5" fmla="*/ 1375826 h 1390741"/>
              <a:gd name="connsiteX6" fmla="*/ 1446033 w 1581633"/>
              <a:gd name="connsiteY6" fmla="*/ 1262716 h 1390741"/>
              <a:gd name="connsiteX7" fmla="*/ 1107162 w 1581633"/>
              <a:gd name="connsiteY7" fmla="*/ 1262716 h 1390741"/>
              <a:gd name="connsiteX8" fmla="*/ 1009626 w 1581633"/>
              <a:gd name="connsiteY8" fmla="*/ 1375826 h 1390741"/>
              <a:gd name="connsiteX9" fmla="*/ 985868 w 1581633"/>
              <a:gd name="connsiteY9" fmla="*/ 1389498 h 1390741"/>
              <a:gd name="connsiteX10" fmla="*/ 972113 w 1581633"/>
              <a:gd name="connsiteY10" fmla="*/ 1365882 h 1390741"/>
              <a:gd name="connsiteX11" fmla="*/ 1107162 w 1581633"/>
              <a:gd name="connsiteY11" fmla="*/ 1224184 h 1390741"/>
              <a:gd name="connsiteX12" fmla="*/ 134614 w 1581633"/>
              <a:gd name="connsiteY12" fmla="*/ 1224184 h 1390741"/>
              <a:gd name="connsiteX13" fmla="*/ 474047 w 1581633"/>
              <a:gd name="connsiteY13" fmla="*/ 1224184 h 1390741"/>
              <a:gd name="connsiteX14" fmla="*/ 608821 w 1581633"/>
              <a:gd name="connsiteY14" fmla="*/ 1365882 h 1390741"/>
              <a:gd name="connsiteX15" fmla="*/ 595094 w 1581633"/>
              <a:gd name="connsiteY15" fmla="*/ 1389498 h 1390741"/>
              <a:gd name="connsiteX16" fmla="*/ 590102 w 1581633"/>
              <a:gd name="connsiteY16" fmla="*/ 1390741 h 1390741"/>
              <a:gd name="connsiteX17" fmla="*/ 570136 w 1581633"/>
              <a:gd name="connsiteY17" fmla="*/ 1375826 h 1390741"/>
              <a:gd name="connsiteX18" fmla="*/ 474047 w 1581633"/>
              <a:gd name="connsiteY18" fmla="*/ 1262716 h 1390741"/>
              <a:gd name="connsiteX19" fmla="*/ 134614 w 1581633"/>
              <a:gd name="connsiteY19" fmla="*/ 1262716 h 1390741"/>
              <a:gd name="connsiteX20" fmla="*/ 38525 w 1581633"/>
              <a:gd name="connsiteY20" fmla="*/ 1375826 h 1390741"/>
              <a:gd name="connsiteX21" fmla="*/ 14815 w 1581633"/>
              <a:gd name="connsiteY21" fmla="*/ 1389498 h 1390741"/>
              <a:gd name="connsiteX22" fmla="*/ 1088 w 1581633"/>
              <a:gd name="connsiteY22" fmla="*/ 1365882 h 1390741"/>
              <a:gd name="connsiteX23" fmla="*/ 134614 w 1581633"/>
              <a:gd name="connsiteY23" fmla="*/ 1224184 h 1390741"/>
              <a:gd name="connsiteX24" fmla="*/ 960173 w 1581633"/>
              <a:gd name="connsiteY24" fmla="*/ 1081365 h 1390741"/>
              <a:gd name="connsiteX25" fmla="*/ 979397 w 1581633"/>
              <a:gd name="connsiteY25" fmla="*/ 1101730 h 1390741"/>
              <a:gd name="connsiteX26" fmla="*/ 979397 w 1581633"/>
              <a:gd name="connsiteY26" fmla="*/ 1165370 h 1390741"/>
              <a:gd name="connsiteX27" fmla="*/ 960173 w 1581633"/>
              <a:gd name="connsiteY27" fmla="*/ 1184462 h 1390741"/>
              <a:gd name="connsiteX28" fmla="*/ 942150 w 1581633"/>
              <a:gd name="connsiteY28" fmla="*/ 1165370 h 1390741"/>
              <a:gd name="connsiteX29" fmla="*/ 942150 w 1581633"/>
              <a:gd name="connsiteY29" fmla="*/ 1101730 h 1390741"/>
              <a:gd name="connsiteX30" fmla="*/ 960173 w 1581633"/>
              <a:gd name="connsiteY30" fmla="*/ 1081365 h 1390741"/>
              <a:gd name="connsiteX31" fmla="*/ 620805 w 1581633"/>
              <a:gd name="connsiteY31" fmla="*/ 1081365 h 1390741"/>
              <a:gd name="connsiteX32" fmla="*/ 638828 w 1581633"/>
              <a:gd name="connsiteY32" fmla="*/ 1101730 h 1390741"/>
              <a:gd name="connsiteX33" fmla="*/ 638828 w 1581633"/>
              <a:gd name="connsiteY33" fmla="*/ 1165370 h 1390741"/>
              <a:gd name="connsiteX34" fmla="*/ 620805 w 1581633"/>
              <a:gd name="connsiteY34" fmla="*/ 1184462 h 1390741"/>
              <a:gd name="connsiteX35" fmla="*/ 601581 w 1581633"/>
              <a:gd name="connsiteY35" fmla="*/ 1165370 h 1390741"/>
              <a:gd name="connsiteX36" fmla="*/ 601581 w 1581633"/>
              <a:gd name="connsiteY36" fmla="*/ 1101730 h 1390741"/>
              <a:gd name="connsiteX37" fmla="*/ 620805 w 1581633"/>
              <a:gd name="connsiteY37" fmla="*/ 1081365 h 1390741"/>
              <a:gd name="connsiteX38" fmla="*/ 1273226 w 1581633"/>
              <a:gd name="connsiteY38" fmla="*/ 932897 h 1390741"/>
              <a:gd name="connsiteX39" fmla="*/ 1156753 w 1581633"/>
              <a:gd name="connsiteY39" fmla="*/ 1047788 h 1390741"/>
              <a:gd name="connsiteX40" fmla="*/ 1273226 w 1581633"/>
              <a:gd name="connsiteY40" fmla="*/ 1162679 h 1390741"/>
              <a:gd name="connsiteX41" fmla="*/ 1389700 w 1581633"/>
              <a:gd name="connsiteY41" fmla="*/ 1047788 h 1390741"/>
              <a:gd name="connsiteX42" fmla="*/ 1273226 w 1581633"/>
              <a:gd name="connsiteY42" fmla="*/ 932897 h 1390741"/>
              <a:gd name="connsiteX43" fmla="*/ 307702 w 1581633"/>
              <a:gd name="connsiteY43" fmla="*/ 932897 h 1390741"/>
              <a:gd name="connsiteX44" fmla="*/ 191229 w 1581633"/>
              <a:gd name="connsiteY44" fmla="*/ 1047788 h 1390741"/>
              <a:gd name="connsiteX45" fmla="*/ 307702 w 1581633"/>
              <a:gd name="connsiteY45" fmla="*/ 1162679 h 1390741"/>
              <a:gd name="connsiteX46" fmla="*/ 424176 w 1581633"/>
              <a:gd name="connsiteY46" fmla="*/ 1047788 h 1390741"/>
              <a:gd name="connsiteX47" fmla="*/ 307702 w 1581633"/>
              <a:gd name="connsiteY47" fmla="*/ 932897 h 1390741"/>
              <a:gd name="connsiteX48" fmla="*/ 622429 w 1581633"/>
              <a:gd name="connsiteY48" fmla="*/ 911083 h 1390741"/>
              <a:gd name="connsiteX49" fmla="*/ 962254 w 1581633"/>
              <a:gd name="connsiteY49" fmla="*/ 911083 h 1390741"/>
              <a:gd name="connsiteX50" fmla="*/ 1095935 w 1581633"/>
              <a:gd name="connsiteY50" fmla="*/ 1054651 h 1390741"/>
              <a:gd name="connsiteX51" fmla="*/ 1119673 w 1581633"/>
              <a:gd name="connsiteY51" fmla="*/ 1158270 h 1390741"/>
              <a:gd name="connsiteX52" fmla="*/ 1104681 w 1581633"/>
              <a:gd name="connsiteY52" fmla="*/ 1181990 h 1390741"/>
              <a:gd name="connsiteX53" fmla="*/ 1080943 w 1581633"/>
              <a:gd name="connsiteY53" fmla="*/ 1167009 h 1390741"/>
              <a:gd name="connsiteX54" fmla="*/ 1058454 w 1581633"/>
              <a:gd name="connsiteY54" fmla="*/ 1064639 h 1390741"/>
              <a:gd name="connsiteX55" fmla="*/ 962254 w 1581633"/>
              <a:gd name="connsiteY55" fmla="*/ 949784 h 1390741"/>
              <a:gd name="connsiteX56" fmla="*/ 622429 w 1581633"/>
              <a:gd name="connsiteY56" fmla="*/ 949784 h 1390741"/>
              <a:gd name="connsiteX57" fmla="*/ 526228 w 1581633"/>
              <a:gd name="connsiteY57" fmla="*/ 1064639 h 1390741"/>
              <a:gd name="connsiteX58" fmla="*/ 499992 w 1581633"/>
              <a:gd name="connsiteY58" fmla="*/ 1167009 h 1390741"/>
              <a:gd name="connsiteX59" fmla="*/ 480002 w 1581633"/>
              <a:gd name="connsiteY59" fmla="*/ 1181990 h 1390741"/>
              <a:gd name="connsiteX60" fmla="*/ 476254 w 1581633"/>
              <a:gd name="connsiteY60" fmla="*/ 1181990 h 1390741"/>
              <a:gd name="connsiteX61" fmla="*/ 461262 w 1581633"/>
              <a:gd name="connsiteY61" fmla="*/ 1157022 h 1390741"/>
              <a:gd name="connsiteX62" fmla="*/ 488747 w 1581633"/>
              <a:gd name="connsiteY62" fmla="*/ 1054651 h 1390741"/>
              <a:gd name="connsiteX63" fmla="*/ 622429 w 1581633"/>
              <a:gd name="connsiteY63" fmla="*/ 911083 h 1390741"/>
              <a:gd name="connsiteX64" fmla="*/ 1273226 w 1581633"/>
              <a:gd name="connsiteY64" fmla="*/ 894600 h 1390741"/>
              <a:gd name="connsiteX65" fmla="*/ 1429777 w 1581633"/>
              <a:gd name="connsiteY65" fmla="*/ 1047788 h 1390741"/>
              <a:gd name="connsiteX66" fmla="*/ 1273226 w 1581633"/>
              <a:gd name="connsiteY66" fmla="*/ 1200976 h 1390741"/>
              <a:gd name="connsiteX67" fmla="*/ 1117928 w 1581633"/>
              <a:gd name="connsiteY67" fmla="*/ 1047788 h 1390741"/>
              <a:gd name="connsiteX68" fmla="*/ 1273226 w 1581633"/>
              <a:gd name="connsiteY68" fmla="*/ 894600 h 1390741"/>
              <a:gd name="connsiteX69" fmla="*/ 307702 w 1581633"/>
              <a:gd name="connsiteY69" fmla="*/ 894600 h 1390741"/>
              <a:gd name="connsiteX70" fmla="*/ 463000 w 1581633"/>
              <a:gd name="connsiteY70" fmla="*/ 1047788 h 1390741"/>
              <a:gd name="connsiteX71" fmla="*/ 307702 w 1581633"/>
              <a:gd name="connsiteY71" fmla="*/ 1200976 h 1390741"/>
              <a:gd name="connsiteX72" fmla="*/ 151152 w 1581633"/>
              <a:gd name="connsiteY72" fmla="*/ 1047788 h 1390741"/>
              <a:gd name="connsiteX73" fmla="*/ 307702 w 1581633"/>
              <a:gd name="connsiteY73" fmla="*/ 894600 h 1390741"/>
              <a:gd name="connsiteX74" fmla="*/ 463645 w 1581633"/>
              <a:gd name="connsiteY74" fmla="*/ 743185 h 1390741"/>
              <a:gd name="connsiteX75" fmla="*/ 486837 w 1581633"/>
              <a:gd name="connsiteY75" fmla="*/ 756320 h 1390741"/>
              <a:gd name="connsiteX76" fmla="*/ 474631 w 1581633"/>
              <a:gd name="connsiteY76" fmla="*/ 779008 h 1390741"/>
              <a:gd name="connsiteX77" fmla="*/ 419701 w 1581633"/>
              <a:gd name="connsiteY77" fmla="*/ 793338 h 1390741"/>
              <a:gd name="connsiteX78" fmla="*/ 414818 w 1581633"/>
              <a:gd name="connsiteY78" fmla="*/ 794532 h 1390741"/>
              <a:gd name="connsiteX79" fmla="*/ 395287 w 1581633"/>
              <a:gd name="connsiteY79" fmla="*/ 780203 h 1390741"/>
              <a:gd name="connsiteX80" fmla="*/ 409935 w 1581633"/>
              <a:gd name="connsiteY80" fmla="*/ 757514 h 1390741"/>
              <a:gd name="connsiteX81" fmla="*/ 486648 w 1581633"/>
              <a:gd name="connsiteY81" fmla="*/ 687106 h 1390741"/>
              <a:gd name="connsiteX82" fmla="*/ 510003 w 1581633"/>
              <a:gd name="connsiteY82" fmla="*/ 701990 h 1390741"/>
              <a:gd name="connsiteX83" fmla="*/ 496482 w 1581633"/>
              <a:gd name="connsiteY83" fmla="*/ 725557 h 1390741"/>
              <a:gd name="connsiteX84" fmla="*/ 366185 w 1581633"/>
              <a:gd name="connsiteY84" fmla="*/ 761527 h 1390741"/>
              <a:gd name="connsiteX85" fmla="*/ 360039 w 1581633"/>
              <a:gd name="connsiteY85" fmla="*/ 761527 h 1390741"/>
              <a:gd name="connsiteX86" fmla="*/ 341601 w 1581633"/>
              <a:gd name="connsiteY86" fmla="*/ 747883 h 1390741"/>
              <a:gd name="connsiteX87" fmla="*/ 355122 w 1581633"/>
              <a:gd name="connsiteY87" fmla="*/ 723076 h 1390741"/>
              <a:gd name="connsiteX88" fmla="*/ 1100032 w 1581633"/>
              <a:gd name="connsiteY88" fmla="*/ 660818 h 1390741"/>
              <a:gd name="connsiteX89" fmla="*/ 1171971 w 1581633"/>
              <a:gd name="connsiteY89" fmla="*/ 680153 h 1390741"/>
              <a:gd name="connsiteX90" fmla="*/ 1185615 w 1581633"/>
              <a:gd name="connsiteY90" fmla="*/ 703113 h 1390741"/>
              <a:gd name="connsiteX91" fmla="*/ 1167010 w 1581633"/>
              <a:gd name="connsiteY91" fmla="*/ 717614 h 1390741"/>
              <a:gd name="connsiteX92" fmla="*/ 1162049 w 1581633"/>
              <a:gd name="connsiteY92" fmla="*/ 716405 h 1390741"/>
              <a:gd name="connsiteX93" fmla="*/ 1090109 w 1581633"/>
              <a:gd name="connsiteY93" fmla="*/ 698279 h 1390741"/>
              <a:gd name="connsiteX94" fmla="*/ 1076466 w 1581633"/>
              <a:gd name="connsiteY94" fmla="*/ 674111 h 1390741"/>
              <a:gd name="connsiteX95" fmla="*/ 1100032 w 1581633"/>
              <a:gd name="connsiteY95" fmla="*/ 660818 h 1390741"/>
              <a:gd name="connsiteX96" fmla="*/ 473327 w 1581633"/>
              <a:gd name="connsiteY96" fmla="*/ 631996 h 1390741"/>
              <a:gd name="connsiteX97" fmla="*/ 345166 w 1581633"/>
              <a:gd name="connsiteY97" fmla="*/ 666727 h 1390741"/>
              <a:gd name="connsiteX98" fmla="*/ 348899 w 1581633"/>
              <a:gd name="connsiteY98" fmla="*/ 677890 h 1390741"/>
              <a:gd name="connsiteX99" fmla="*/ 475816 w 1581633"/>
              <a:gd name="connsiteY99" fmla="*/ 644400 h 1390741"/>
              <a:gd name="connsiteX100" fmla="*/ 789839 w 1581633"/>
              <a:gd name="connsiteY100" fmla="*/ 619796 h 1390741"/>
              <a:gd name="connsiteX101" fmla="*/ 673365 w 1581633"/>
              <a:gd name="connsiteY101" fmla="*/ 734687 h 1390741"/>
              <a:gd name="connsiteX102" fmla="*/ 789839 w 1581633"/>
              <a:gd name="connsiteY102" fmla="*/ 849578 h 1390741"/>
              <a:gd name="connsiteX103" fmla="*/ 906313 w 1581633"/>
              <a:gd name="connsiteY103" fmla="*/ 734687 h 1390741"/>
              <a:gd name="connsiteX104" fmla="*/ 789839 w 1581633"/>
              <a:gd name="connsiteY104" fmla="*/ 619796 h 1390741"/>
              <a:gd name="connsiteX105" fmla="*/ 1062773 w 1581633"/>
              <a:gd name="connsiteY105" fmla="*/ 589464 h 1390741"/>
              <a:gd name="connsiteX106" fmla="*/ 1232425 w 1581633"/>
              <a:gd name="connsiteY106" fmla="*/ 635266 h 1390741"/>
              <a:gd name="connsiteX107" fmla="*/ 1246046 w 1581633"/>
              <a:gd name="connsiteY107" fmla="*/ 660024 h 1390741"/>
              <a:gd name="connsiteX108" fmla="*/ 1226233 w 1581633"/>
              <a:gd name="connsiteY108" fmla="*/ 673640 h 1390741"/>
              <a:gd name="connsiteX109" fmla="*/ 1222518 w 1581633"/>
              <a:gd name="connsiteY109" fmla="*/ 673640 h 1390741"/>
              <a:gd name="connsiteX110" fmla="*/ 1052866 w 1581633"/>
              <a:gd name="connsiteY110" fmla="*/ 627839 h 1390741"/>
              <a:gd name="connsiteX111" fmla="*/ 1039245 w 1581633"/>
              <a:gd name="connsiteY111" fmla="*/ 604319 h 1390741"/>
              <a:gd name="connsiteX112" fmla="*/ 1062773 w 1581633"/>
              <a:gd name="connsiteY112" fmla="*/ 589464 h 1390741"/>
              <a:gd name="connsiteX113" fmla="*/ 789839 w 1581633"/>
              <a:gd name="connsiteY113" fmla="*/ 581499 h 1390741"/>
              <a:gd name="connsiteX114" fmla="*/ 946389 w 1581633"/>
              <a:gd name="connsiteY114" fmla="*/ 734687 h 1390741"/>
              <a:gd name="connsiteX115" fmla="*/ 789839 w 1581633"/>
              <a:gd name="connsiteY115" fmla="*/ 887875 h 1390741"/>
              <a:gd name="connsiteX116" fmla="*/ 634541 w 1581633"/>
              <a:gd name="connsiteY116" fmla="*/ 734687 h 1390741"/>
              <a:gd name="connsiteX117" fmla="*/ 789839 w 1581633"/>
              <a:gd name="connsiteY117" fmla="*/ 581499 h 1390741"/>
              <a:gd name="connsiteX118" fmla="*/ 1083809 w 1581633"/>
              <a:gd name="connsiteY118" fmla="*/ 508285 h 1390741"/>
              <a:gd name="connsiteX119" fmla="*/ 1077575 w 1581633"/>
              <a:gd name="connsiteY119" fmla="*/ 531858 h 1390741"/>
              <a:gd name="connsiteX120" fmla="*/ 1077575 w 1581633"/>
              <a:gd name="connsiteY120" fmla="*/ 533099 h 1390741"/>
              <a:gd name="connsiteX121" fmla="*/ 1078822 w 1581633"/>
              <a:gd name="connsiteY121" fmla="*/ 534339 h 1390741"/>
              <a:gd name="connsiteX122" fmla="*/ 1250871 w 1581633"/>
              <a:gd name="connsiteY122" fmla="*/ 579005 h 1390741"/>
              <a:gd name="connsiteX123" fmla="*/ 1252118 w 1581633"/>
              <a:gd name="connsiteY123" fmla="*/ 579005 h 1390741"/>
              <a:gd name="connsiteX124" fmla="*/ 1252118 w 1581633"/>
              <a:gd name="connsiteY124" fmla="*/ 577764 h 1390741"/>
              <a:gd name="connsiteX125" fmla="*/ 1258352 w 1581633"/>
              <a:gd name="connsiteY125" fmla="*/ 555431 h 1390741"/>
              <a:gd name="connsiteX126" fmla="*/ 344736 w 1581633"/>
              <a:gd name="connsiteY126" fmla="*/ 281312 h 1390741"/>
              <a:gd name="connsiteX127" fmla="*/ 442155 w 1581633"/>
              <a:gd name="connsiteY127" fmla="*/ 313581 h 1390741"/>
              <a:gd name="connsiteX128" fmla="*/ 445860 w 1581633"/>
              <a:gd name="connsiteY128" fmla="*/ 342109 h 1390741"/>
              <a:gd name="connsiteX129" fmla="*/ 431041 w 1581633"/>
              <a:gd name="connsiteY129" fmla="*/ 349551 h 1390741"/>
              <a:gd name="connsiteX130" fmla="*/ 418693 w 1581633"/>
              <a:gd name="connsiteY130" fmla="*/ 344590 h 1390741"/>
              <a:gd name="connsiteX131" fmla="*/ 321139 w 1581633"/>
              <a:gd name="connsiteY131" fmla="*/ 324744 h 1390741"/>
              <a:gd name="connsiteX132" fmla="*/ 296442 w 1581633"/>
              <a:gd name="connsiteY132" fmla="*/ 309860 h 1390741"/>
              <a:gd name="connsiteX133" fmla="*/ 310025 w 1581633"/>
              <a:gd name="connsiteY133" fmla="*/ 286293 h 1390741"/>
              <a:gd name="connsiteX134" fmla="*/ 344736 w 1581633"/>
              <a:gd name="connsiteY134" fmla="*/ 281312 h 1390741"/>
              <a:gd name="connsiteX135" fmla="*/ 351387 w 1581633"/>
              <a:gd name="connsiteY135" fmla="*/ 267330 h 1390741"/>
              <a:gd name="connsiteX136" fmla="*/ 299128 w 1581633"/>
              <a:gd name="connsiteY136" fmla="*/ 274772 h 1390741"/>
              <a:gd name="connsiteX137" fmla="*/ 185898 w 1581633"/>
              <a:gd name="connsiteY137" fmla="*/ 474470 h 1390741"/>
              <a:gd name="connsiteX138" fmla="*/ 305349 w 1581633"/>
              <a:gd name="connsiteY138" fmla="*/ 598507 h 1390741"/>
              <a:gd name="connsiteX139" fmla="*/ 335212 w 1581633"/>
              <a:gd name="connsiteY139" fmla="*/ 628275 h 1390741"/>
              <a:gd name="connsiteX140" fmla="*/ 463373 w 1581633"/>
              <a:gd name="connsiteY140" fmla="*/ 594786 h 1390741"/>
              <a:gd name="connsiteX141" fmla="*/ 462129 w 1581633"/>
              <a:gd name="connsiteY141" fmla="*/ 593545 h 1390741"/>
              <a:gd name="connsiteX142" fmla="*/ 473327 w 1581633"/>
              <a:gd name="connsiteY142" fmla="*/ 553854 h 1390741"/>
              <a:gd name="connsiteX143" fmla="*/ 515633 w 1581633"/>
              <a:gd name="connsiteY143" fmla="*/ 392606 h 1390741"/>
              <a:gd name="connsiteX144" fmla="*/ 433510 w 1581633"/>
              <a:gd name="connsiteY144" fmla="*/ 287176 h 1390741"/>
              <a:gd name="connsiteX145" fmla="*/ 351387 w 1581633"/>
              <a:gd name="connsiteY145" fmla="*/ 267330 h 1390741"/>
              <a:gd name="connsiteX146" fmla="*/ 371451 w 1581633"/>
              <a:gd name="connsiteY146" fmla="*/ 227793 h 1390741"/>
              <a:gd name="connsiteX147" fmla="*/ 452174 w 1581633"/>
              <a:gd name="connsiteY147" fmla="*/ 252446 h 1390741"/>
              <a:gd name="connsiteX148" fmla="*/ 554205 w 1581633"/>
              <a:gd name="connsiteY148" fmla="*/ 381443 h 1390741"/>
              <a:gd name="connsiteX149" fmla="*/ 500701 w 1581633"/>
              <a:gd name="connsiteY149" fmla="*/ 581142 h 1390741"/>
              <a:gd name="connsiteX150" fmla="*/ 500701 w 1581633"/>
              <a:gd name="connsiteY150" fmla="*/ 583622 h 1390741"/>
              <a:gd name="connsiteX151" fmla="*/ 514388 w 1581633"/>
              <a:gd name="connsiteY151" fmla="*/ 636958 h 1390741"/>
              <a:gd name="connsiteX152" fmla="*/ 489503 w 1581633"/>
              <a:gd name="connsiteY152" fmla="*/ 680371 h 1390741"/>
              <a:gd name="connsiteX153" fmla="*/ 355120 w 1581633"/>
              <a:gd name="connsiteY153" fmla="*/ 716342 h 1390741"/>
              <a:gd name="connsiteX154" fmla="*/ 346410 w 1581633"/>
              <a:gd name="connsiteY154" fmla="*/ 717582 h 1390741"/>
              <a:gd name="connsiteX155" fmla="*/ 311570 w 1581633"/>
              <a:gd name="connsiteY155" fmla="*/ 690294 h 1390741"/>
              <a:gd name="connsiteX156" fmla="*/ 297883 w 1581633"/>
              <a:gd name="connsiteY156" fmla="*/ 638198 h 1390741"/>
              <a:gd name="connsiteX157" fmla="*/ 295395 w 1581633"/>
              <a:gd name="connsiteY157" fmla="*/ 635717 h 1390741"/>
              <a:gd name="connsiteX158" fmla="*/ 147325 w 1581633"/>
              <a:gd name="connsiteY158" fmla="*/ 481913 h 1390741"/>
              <a:gd name="connsiteX159" fmla="*/ 287929 w 1581633"/>
              <a:gd name="connsiteY159" fmla="*/ 237561 h 1390741"/>
              <a:gd name="connsiteX160" fmla="*/ 371451 w 1581633"/>
              <a:gd name="connsiteY160" fmla="*/ 227793 h 1390741"/>
              <a:gd name="connsiteX161" fmla="*/ 1293832 w 1581633"/>
              <a:gd name="connsiteY161" fmla="*/ 78624 h 1390741"/>
              <a:gd name="connsiteX162" fmla="*/ 1421774 w 1581633"/>
              <a:gd name="connsiteY162" fmla="*/ 191637 h 1390741"/>
              <a:gd name="connsiteX163" fmla="*/ 1410485 w 1581633"/>
              <a:gd name="connsiteY163" fmla="*/ 216475 h 1390741"/>
              <a:gd name="connsiteX164" fmla="*/ 1402959 w 1581633"/>
              <a:gd name="connsiteY164" fmla="*/ 217717 h 1390741"/>
              <a:gd name="connsiteX165" fmla="*/ 1384144 w 1581633"/>
              <a:gd name="connsiteY165" fmla="*/ 205298 h 1390741"/>
              <a:gd name="connsiteX166" fmla="*/ 1282543 w 1581633"/>
              <a:gd name="connsiteY166" fmla="*/ 117123 h 1390741"/>
              <a:gd name="connsiteX167" fmla="*/ 1268745 w 1581633"/>
              <a:gd name="connsiteY167" fmla="*/ 92285 h 1390741"/>
              <a:gd name="connsiteX168" fmla="*/ 1293832 w 1581633"/>
              <a:gd name="connsiteY168" fmla="*/ 78624 h 1390741"/>
              <a:gd name="connsiteX169" fmla="*/ 1244637 w 1581633"/>
              <a:gd name="connsiteY169" fmla="*/ 39299 h 1390741"/>
              <a:gd name="connsiteX170" fmla="*/ 1028952 w 1581633"/>
              <a:gd name="connsiteY170" fmla="*/ 196868 h 1390741"/>
              <a:gd name="connsiteX171" fmla="*/ 1083809 w 1581633"/>
              <a:gd name="connsiteY171" fmla="*/ 418954 h 1390741"/>
              <a:gd name="connsiteX172" fmla="*/ 1096276 w 1581633"/>
              <a:gd name="connsiteY172" fmla="*/ 466101 h 1390741"/>
              <a:gd name="connsiteX173" fmla="*/ 1093783 w 1581633"/>
              <a:gd name="connsiteY173" fmla="*/ 472304 h 1390741"/>
              <a:gd name="connsiteX174" fmla="*/ 1268325 w 1581633"/>
              <a:gd name="connsiteY174" fmla="*/ 516969 h 1390741"/>
              <a:gd name="connsiteX175" fmla="*/ 1270819 w 1581633"/>
              <a:gd name="connsiteY175" fmla="*/ 510766 h 1390741"/>
              <a:gd name="connsiteX176" fmla="*/ 1304481 w 1581633"/>
              <a:gd name="connsiteY176" fmla="*/ 477267 h 1390741"/>
              <a:gd name="connsiteX177" fmla="*/ 1460323 w 1581633"/>
              <a:gd name="connsiteY177" fmla="*/ 320938 h 1390741"/>
              <a:gd name="connsiteX178" fmla="*/ 1435388 w 1581633"/>
              <a:gd name="connsiteY178" fmla="*/ 145999 h 1390741"/>
              <a:gd name="connsiteX179" fmla="*/ 1292013 w 1581633"/>
              <a:gd name="connsiteY179" fmla="*/ 44262 h 1390741"/>
              <a:gd name="connsiteX180" fmla="*/ 1244637 w 1581633"/>
              <a:gd name="connsiteY180" fmla="*/ 39299 h 1390741"/>
              <a:gd name="connsiteX181" fmla="*/ 1249598 w 1581633"/>
              <a:gd name="connsiteY181" fmla="*/ 45 h 1390741"/>
              <a:gd name="connsiteX182" fmla="*/ 1299494 w 1581633"/>
              <a:gd name="connsiteY182" fmla="*/ 5800 h 1390741"/>
              <a:gd name="connsiteX183" fmla="*/ 1469050 w 1581633"/>
              <a:gd name="connsiteY183" fmla="*/ 126148 h 1390741"/>
              <a:gd name="connsiteX184" fmla="*/ 1498971 w 1581633"/>
              <a:gd name="connsiteY184" fmla="*/ 330864 h 1390741"/>
              <a:gd name="connsiteX185" fmla="*/ 1315701 w 1581633"/>
              <a:gd name="connsiteY185" fmla="*/ 514488 h 1390741"/>
              <a:gd name="connsiteX186" fmla="*/ 1308221 w 1581633"/>
              <a:gd name="connsiteY186" fmla="*/ 521932 h 1390741"/>
              <a:gd name="connsiteX187" fmla="*/ 1290767 w 1581633"/>
              <a:gd name="connsiteY187" fmla="*/ 587690 h 1390741"/>
              <a:gd name="connsiteX188" fmla="*/ 1270819 w 1581633"/>
              <a:gd name="connsiteY188" fmla="*/ 613744 h 1390741"/>
              <a:gd name="connsiteX189" fmla="*/ 1250871 w 1581633"/>
              <a:gd name="connsiteY189" fmla="*/ 618707 h 1390741"/>
              <a:gd name="connsiteX190" fmla="*/ 1239651 w 1581633"/>
              <a:gd name="connsiteY190" fmla="*/ 617466 h 1390741"/>
              <a:gd name="connsiteX191" fmla="*/ 1068848 w 1581633"/>
              <a:gd name="connsiteY191" fmla="*/ 571560 h 1390741"/>
              <a:gd name="connsiteX192" fmla="*/ 1043913 w 1581633"/>
              <a:gd name="connsiteY192" fmla="*/ 552950 h 1390741"/>
              <a:gd name="connsiteX193" fmla="*/ 1038926 w 1581633"/>
              <a:gd name="connsiteY193" fmla="*/ 521932 h 1390741"/>
              <a:gd name="connsiteX194" fmla="*/ 1057627 w 1581633"/>
              <a:gd name="connsiteY194" fmla="*/ 454934 h 1390741"/>
              <a:gd name="connsiteX195" fmla="*/ 1055134 w 1581633"/>
              <a:gd name="connsiteY195" fmla="*/ 446249 h 1390741"/>
              <a:gd name="connsiteX196" fmla="*/ 991550 w 1581633"/>
              <a:gd name="connsiteY196" fmla="*/ 185702 h 1390741"/>
              <a:gd name="connsiteX197" fmla="*/ 1249598 w 1581633"/>
              <a:gd name="connsiteY197" fmla="*/ 45 h 139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581633" h="1390741">
                <a:moveTo>
                  <a:pt x="1107162" y="1224184"/>
                </a:moveTo>
                <a:lnTo>
                  <a:pt x="1446033" y="1224184"/>
                </a:lnTo>
                <a:cubicBezTo>
                  <a:pt x="1528563" y="1224184"/>
                  <a:pt x="1549821" y="1255258"/>
                  <a:pt x="1581082" y="1365882"/>
                </a:cubicBezTo>
                <a:cubicBezTo>
                  <a:pt x="1583583" y="1375826"/>
                  <a:pt x="1577331" y="1387012"/>
                  <a:pt x="1567327" y="1389498"/>
                </a:cubicBezTo>
                <a:cubicBezTo>
                  <a:pt x="1566076" y="1390741"/>
                  <a:pt x="1563576" y="1390741"/>
                  <a:pt x="1561075" y="1390741"/>
                </a:cubicBezTo>
                <a:cubicBezTo>
                  <a:pt x="1553572" y="1390741"/>
                  <a:pt x="1546069" y="1385769"/>
                  <a:pt x="1542318" y="1375826"/>
                </a:cubicBezTo>
                <a:cubicBezTo>
                  <a:pt x="1509806" y="1262716"/>
                  <a:pt x="1496051" y="1262716"/>
                  <a:pt x="1446033" y="1262716"/>
                </a:cubicBezTo>
                <a:lnTo>
                  <a:pt x="1107162" y="1262716"/>
                </a:lnTo>
                <a:cubicBezTo>
                  <a:pt x="1057143" y="1262716"/>
                  <a:pt x="1042138" y="1262716"/>
                  <a:pt x="1009626" y="1375826"/>
                </a:cubicBezTo>
                <a:cubicBezTo>
                  <a:pt x="1005875" y="1387012"/>
                  <a:pt x="995871" y="1393227"/>
                  <a:pt x="985868" y="1389498"/>
                </a:cubicBezTo>
                <a:cubicBezTo>
                  <a:pt x="974614" y="1387012"/>
                  <a:pt x="969612" y="1375826"/>
                  <a:pt x="972113" y="1365882"/>
                </a:cubicBezTo>
                <a:cubicBezTo>
                  <a:pt x="1003374" y="1255258"/>
                  <a:pt x="1024632" y="1224184"/>
                  <a:pt x="1107162" y="1224184"/>
                </a:cubicBezTo>
                <a:close/>
                <a:moveTo>
                  <a:pt x="134614" y="1224184"/>
                </a:moveTo>
                <a:lnTo>
                  <a:pt x="474047" y="1224184"/>
                </a:lnTo>
                <a:cubicBezTo>
                  <a:pt x="555161" y="1224184"/>
                  <a:pt x="577623" y="1255258"/>
                  <a:pt x="608821" y="1365882"/>
                </a:cubicBezTo>
                <a:cubicBezTo>
                  <a:pt x="611317" y="1375826"/>
                  <a:pt x="605077" y="1387012"/>
                  <a:pt x="595094" y="1389498"/>
                </a:cubicBezTo>
                <a:cubicBezTo>
                  <a:pt x="592598" y="1390741"/>
                  <a:pt x="591350" y="1390741"/>
                  <a:pt x="590102" y="1390741"/>
                </a:cubicBezTo>
                <a:cubicBezTo>
                  <a:pt x="581367" y="1390741"/>
                  <a:pt x="573880" y="1385769"/>
                  <a:pt x="570136" y="1375826"/>
                </a:cubicBezTo>
                <a:cubicBezTo>
                  <a:pt x="538938" y="1262716"/>
                  <a:pt x="522715" y="1262716"/>
                  <a:pt x="474047" y="1262716"/>
                </a:cubicBezTo>
                <a:lnTo>
                  <a:pt x="134614" y="1262716"/>
                </a:lnTo>
                <a:cubicBezTo>
                  <a:pt x="85946" y="1262716"/>
                  <a:pt x="70971" y="1262716"/>
                  <a:pt x="38525" y="1375826"/>
                </a:cubicBezTo>
                <a:cubicBezTo>
                  <a:pt x="34781" y="1387012"/>
                  <a:pt x="24798" y="1393227"/>
                  <a:pt x="14815" y="1389498"/>
                </a:cubicBezTo>
                <a:cubicBezTo>
                  <a:pt x="3583" y="1387012"/>
                  <a:pt x="-2656" y="1375826"/>
                  <a:pt x="1088" y="1365882"/>
                </a:cubicBezTo>
                <a:cubicBezTo>
                  <a:pt x="32285" y="1255258"/>
                  <a:pt x="53500" y="1224184"/>
                  <a:pt x="134614" y="1224184"/>
                </a:cubicBezTo>
                <a:close/>
                <a:moveTo>
                  <a:pt x="960173" y="1081365"/>
                </a:moveTo>
                <a:cubicBezTo>
                  <a:pt x="970987" y="1081365"/>
                  <a:pt x="979397" y="1091548"/>
                  <a:pt x="979397" y="1101730"/>
                </a:cubicBezTo>
                <a:lnTo>
                  <a:pt x="979397" y="1165370"/>
                </a:lnTo>
                <a:cubicBezTo>
                  <a:pt x="979397" y="1175553"/>
                  <a:pt x="970987" y="1184462"/>
                  <a:pt x="960173" y="1184462"/>
                </a:cubicBezTo>
                <a:cubicBezTo>
                  <a:pt x="950561" y="1184462"/>
                  <a:pt x="942150" y="1175553"/>
                  <a:pt x="942150" y="1165370"/>
                </a:cubicBezTo>
                <a:lnTo>
                  <a:pt x="942150" y="1101730"/>
                </a:lnTo>
                <a:cubicBezTo>
                  <a:pt x="942150" y="1091548"/>
                  <a:pt x="950561" y="1081365"/>
                  <a:pt x="960173" y="1081365"/>
                </a:cubicBezTo>
                <a:close/>
                <a:moveTo>
                  <a:pt x="620805" y="1081365"/>
                </a:moveTo>
                <a:cubicBezTo>
                  <a:pt x="630418" y="1081365"/>
                  <a:pt x="638828" y="1091548"/>
                  <a:pt x="638828" y="1101730"/>
                </a:cubicBezTo>
                <a:lnTo>
                  <a:pt x="638828" y="1165370"/>
                </a:lnTo>
                <a:cubicBezTo>
                  <a:pt x="638828" y="1175553"/>
                  <a:pt x="630418" y="1184462"/>
                  <a:pt x="620805" y="1184462"/>
                </a:cubicBezTo>
                <a:cubicBezTo>
                  <a:pt x="608790" y="1184462"/>
                  <a:pt x="601581" y="1175553"/>
                  <a:pt x="601581" y="1165370"/>
                </a:cubicBezTo>
                <a:lnTo>
                  <a:pt x="601581" y="1101730"/>
                </a:lnTo>
                <a:cubicBezTo>
                  <a:pt x="601581" y="1091548"/>
                  <a:pt x="608790" y="1081365"/>
                  <a:pt x="620805" y="1081365"/>
                </a:cubicBezTo>
                <a:close/>
                <a:moveTo>
                  <a:pt x="1273226" y="932897"/>
                </a:moveTo>
                <a:cubicBezTo>
                  <a:pt x="1209354" y="932897"/>
                  <a:pt x="1156753" y="984783"/>
                  <a:pt x="1156753" y="1047788"/>
                </a:cubicBezTo>
                <a:cubicBezTo>
                  <a:pt x="1156753" y="1112028"/>
                  <a:pt x="1209354" y="1162679"/>
                  <a:pt x="1273226" y="1162679"/>
                </a:cubicBezTo>
                <a:cubicBezTo>
                  <a:pt x="1338351" y="1162679"/>
                  <a:pt x="1389700" y="1112028"/>
                  <a:pt x="1389700" y="1047788"/>
                </a:cubicBezTo>
                <a:cubicBezTo>
                  <a:pt x="1389700" y="984783"/>
                  <a:pt x="1338351" y="932897"/>
                  <a:pt x="1273226" y="932897"/>
                </a:cubicBezTo>
                <a:close/>
                <a:moveTo>
                  <a:pt x="307702" y="932897"/>
                </a:moveTo>
                <a:cubicBezTo>
                  <a:pt x="242577" y="932897"/>
                  <a:pt x="191229" y="984783"/>
                  <a:pt x="191229" y="1047788"/>
                </a:cubicBezTo>
                <a:cubicBezTo>
                  <a:pt x="191229" y="1112028"/>
                  <a:pt x="242577" y="1162679"/>
                  <a:pt x="307702" y="1162679"/>
                </a:cubicBezTo>
                <a:cubicBezTo>
                  <a:pt x="371575" y="1162679"/>
                  <a:pt x="424176" y="1112028"/>
                  <a:pt x="424176" y="1047788"/>
                </a:cubicBezTo>
                <a:cubicBezTo>
                  <a:pt x="424176" y="984783"/>
                  <a:pt x="371575" y="932897"/>
                  <a:pt x="307702" y="932897"/>
                </a:cubicBezTo>
                <a:close/>
                <a:moveTo>
                  <a:pt x="622429" y="911083"/>
                </a:moveTo>
                <a:lnTo>
                  <a:pt x="962254" y="911083"/>
                </a:lnTo>
                <a:cubicBezTo>
                  <a:pt x="1043462" y="911083"/>
                  <a:pt x="1064701" y="943542"/>
                  <a:pt x="1095935" y="1054651"/>
                </a:cubicBezTo>
                <a:lnTo>
                  <a:pt x="1119673" y="1158270"/>
                </a:lnTo>
                <a:cubicBezTo>
                  <a:pt x="1122172" y="1169506"/>
                  <a:pt x="1114676" y="1179493"/>
                  <a:pt x="1104681" y="1181990"/>
                </a:cubicBezTo>
                <a:cubicBezTo>
                  <a:pt x="1093437" y="1184487"/>
                  <a:pt x="1083442" y="1176996"/>
                  <a:pt x="1080943" y="1167009"/>
                </a:cubicBezTo>
                <a:lnTo>
                  <a:pt x="1058454" y="1064639"/>
                </a:lnTo>
                <a:cubicBezTo>
                  <a:pt x="1025971" y="949784"/>
                  <a:pt x="1012228" y="949784"/>
                  <a:pt x="962254" y="949784"/>
                </a:cubicBezTo>
                <a:lnTo>
                  <a:pt x="622429" y="949784"/>
                </a:lnTo>
                <a:cubicBezTo>
                  <a:pt x="573704" y="949784"/>
                  <a:pt x="558711" y="949784"/>
                  <a:pt x="526228" y="1064639"/>
                </a:cubicBezTo>
                <a:lnTo>
                  <a:pt x="499992" y="1167009"/>
                </a:lnTo>
                <a:cubicBezTo>
                  <a:pt x="497493" y="1176996"/>
                  <a:pt x="488747" y="1181990"/>
                  <a:pt x="480002" y="1181990"/>
                </a:cubicBezTo>
                <a:cubicBezTo>
                  <a:pt x="478753" y="1181990"/>
                  <a:pt x="477503" y="1181990"/>
                  <a:pt x="476254" y="1181990"/>
                </a:cubicBezTo>
                <a:cubicBezTo>
                  <a:pt x="465010" y="1178245"/>
                  <a:pt x="458763" y="1168257"/>
                  <a:pt x="461262" y="1157022"/>
                </a:cubicBezTo>
                <a:lnTo>
                  <a:pt x="488747" y="1054651"/>
                </a:lnTo>
                <a:cubicBezTo>
                  <a:pt x="519981" y="943542"/>
                  <a:pt x="541220" y="911083"/>
                  <a:pt x="622429" y="911083"/>
                </a:cubicBezTo>
                <a:close/>
                <a:moveTo>
                  <a:pt x="1273226" y="894600"/>
                </a:moveTo>
                <a:cubicBezTo>
                  <a:pt x="1359642" y="894600"/>
                  <a:pt x="1429777" y="963782"/>
                  <a:pt x="1429777" y="1047788"/>
                </a:cubicBezTo>
                <a:cubicBezTo>
                  <a:pt x="1429777" y="1133030"/>
                  <a:pt x="1359642" y="1200976"/>
                  <a:pt x="1273226" y="1200976"/>
                </a:cubicBezTo>
                <a:cubicBezTo>
                  <a:pt x="1188063" y="1200976"/>
                  <a:pt x="1117928" y="1133030"/>
                  <a:pt x="1117928" y="1047788"/>
                </a:cubicBezTo>
                <a:cubicBezTo>
                  <a:pt x="1117928" y="963782"/>
                  <a:pt x="1188063" y="894600"/>
                  <a:pt x="1273226" y="894600"/>
                </a:cubicBezTo>
                <a:close/>
                <a:moveTo>
                  <a:pt x="307702" y="894600"/>
                </a:moveTo>
                <a:cubicBezTo>
                  <a:pt x="392866" y="894600"/>
                  <a:pt x="463000" y="963782"/>
                  <a:pt x="463000" y="1047788"/>
                </a:cubicBezTo>
                <a:cubicBezTo>
                  <a:pt x="463000" y="1133030"/>
                  <a:pt x="392866" y="1200976"/>
                  <a:pt x="307702" y="1200976"/>
                </a:cubicBezTo>
                <a:cubicBezTo>
                  <a:pt x="221286" y="1200976"/>
                  <a:pt x="151152" y="1133030"/>
                  <a:pt x="151152" y="1047788"/>
                </a:cubicBezTo>
                <a:cubicBezTo>
                  <a:pt x="151152" y="963782"/>
                  <a:pt x="221286" y="894600"/>
                  <a:pt x="307702" y="894600"/>
                </a:cubicBezTo>
                <a:close/>
                <a:moveTo>
                  <a:pt x="463645" y="743185"/>
                </a:moveTo>
                <a:cubicBezTo>
                  <a:pt x="474631" y="740796"/>
                  <a:pt x="485617" y="745573"/>
                  <a:pt x="486837" y="756320"/>
                </a:cubicBezTo>
                <a:cubicBezTo>
                  <a:pt x="490499" y="765873"/>
                  <a:pt x="484396" y="776620"/>
                  <a:pt x="474631" y="779008"/>
                </a:cubicBezTo>
                <a:lnTo>
                  <a:pt x="419701" y="793338"/>
                </a:lnTo>
                <a:cubicBezTo>
                  <a:pt x="418480" y="793338"/>
                  <a:pt x="416039" y="794532"/>
                  <a:pt x="414818" y="794532"/>
                </a:cubicBezTo>
                <a:cubicBezTo>
                  <a:pt x="406273" y="794532"/>
                  <a:pt x="397729" y="788561"/>
                  <a:pt x="395287" y="780203"/>
                </a:cubicBezTo>
                <a:cubicBezTo>
                  <a:pt x="392846" y="770650"/>
                  <a:pt x="398949" y="759902"/>
                  <a:pt x="409935" y="757514"/>
                </a:cubicBezTo>
                <a:close/>
                <a:moveTo>
                  <a:pt x="486648" y="687106"/>
                </a:moveTo>
                <a:cubicBezTo>
                  <a:pt x="496482" y="685865"/>
                  <a:pt x="507545" y="690827"/>
                  <a:pt x="510003" y="701990"/>
                </a:cubicBezTo>
                <a:cubicBezTo>
                  <a:pt x="512462" y="711913"/>
                  <a:pt x="507545" y="723076"/>
                  <a:pt x="496482" y="725557"/>
                </a:cubicBezTo>
                <a:lnTo>
                  <a:pt x="366185" y="761527"/>
                </a:lnTo>
                <a:cubicBezTo>
                  <a:pt x="363726" y="761527"/>
                  <a:pt x="361268" y="761527"/>
                  <a:pt x="360039" y="761527"/>
                </a:cubicBezTo>
                <a:cubicBezTo>
                  <a:pt x="352663" y="761527"/>
                  <a:pt x="344059" y="755325"/>
                  <a:pt x="341601" y="747883"/>
                </a:cubicBezTo>
                <a:cubicBezTo>
                  <a:pt x="337913" y="736720"/>
                  <a:pt x="345288" y="726797"/>
                  <a:pt x="355122" y="723076"/>
                </a:cubicBezTo>
                <a:close/>
                <a:moveTo>
                  <a:pt x="1100032" y="660818"/>
                </a:moveTo>
                <a:lnTo>
                  <a:pt x="1171971" y="680153"/>
                </a:lnTo>
                <a:cubicBezTo>
                  <a:pt x="1181894" y="682570"/>
                  <a:pt x="1188096" y="693445"/>
                  <a:pt x="1185615" y="703113"/>
                </a:cubicBezTo>
                <a:cubicBezTo>
                  <a:pt x="1183134" y="711572"/>
                  <a:pt x="1175692" y="717614"/>
                  <a:pt x="1167010" y="717614"/>
                </a:cubicBezTo>
                <a:cubicBezTo>
                  <a:pt x="1164529" y="717614"/>
                  <a:pt x="1163289" y="716405"/>
                  <a:pt x="1162049" y="716405"/>
                </a:cubicBezTo>
                <a:lnTo>
                  <a:pt x="1090109" y="698279"/>
                </a:lnTo>
                <a:cubicBezTo>
                  <a:pt x="1080187" y="694654"/>
                  <a:pt x="1073985" y="684986"/>
                  <a:pt x="1076466" y="674111"/>
                </a:cubicBezTo>
                <a:cubicBezTo>
                  <a:pt x="1078946" y="664443"/>
                  <a:pt x="1090109" y="658401"/>
                  <a:pt x="1100032" y="660818"/>
                </a:cubicBezTo>
                <a:close/>
                <a:moveTo>
                  <a:pt x="473327" y="631996"/>
                </a:moveTo>
                <a:lnTo>
                  <a:pt x="345166" y="666727"/>
                </a:lnTo>
                <a:lnTo>
                  <a:pt x="348899" y="677890"/>
                </a:lnTo>
                <a:lnTo>
                  <a:pt x="475816" y="644400"/>
                </a:lnTo>
                <a:close/>
                <a:moveTo>
                  <a:pt x="789839" y="619796"/>
                </a:moveTo>
                <a:cubicBezTo>
                  <a:pt x="725966" y="619796"/>
                  <a:pt x="673365" y="671682"/>
                  <a:pt x="673365" y="734687"/>
                </a:cubicBezTo>
                <a:cubicBezTo>
                  <a:pt x="673365" y="797692"/>
                  <a:pt x="725966" y="849578"/>
                  <a:pt x="789839" y="849578"/>
                </a:cubicBezTo>
                <a:cubicBezTo>
                  <a:pt x="854964" y="849578"/>
                  <a:pt x="906313" y="797692"/>
                  <a:pt x="906313" y="734687"/>
                </a:cubicBezTo>
                <a:cubicBezTo>
                  <a:pt x="906313" y="671682"/>
                  <a:pt x="854964" y="619796"/>
                  <a:pt x="789839" y="619796"/>
                </a:cubicBezTo>
                <a:close/>
                <a:moveTo>
                  <a:pt x="1062773" y="589464"/>
                </a:moveTo>
                <a:lnTo>
                  <a:pt x="1232425" y="635266"/>
                </a:lnTo>
                <a:cubicBezTo>
                  <a:pt x="1242331" y="637742"/>
                  <a:pt x="1248523" y="648882"/>
                  <a:pt x="1246046" y="660024"/>
                </a:cubicBezTo>
                <a:cubicBezTo>
                  <a:pt x="1243569" y="667451"/>
                  <a:pt x="1236140" y="673640"/>
                  <a:pt x="1226233" y="673640"/>
                </a:cubicBezTo>
                <a:cubicBezTo>
                  <a:pt x="1224995" y="673640"/>
                  <a:pt x="1223756" y="673640"/>
                  <a:pt x="1222518" y="673640"/>
                </a:cubicBezTo>
                <a:lnTo>
                  <a:pt x="1052866" y="627839"/>
                </a:lnTo>
                <a:cubicBezTo>
                  <a:pt x="1041722" y="624125"/>
                  <a:pt x="1035530" y="614222"/>
                  <a:pt x="1039245" y="604319"/>
                </a:cubicBezTo>
                <a:cubicBezTo>
                  <a:pt x="1041722" y="593178"/>
                  <a:pt x="1051628" y="586989"/>
                  <a:pt x="1062773" y="589464"/>
                </a:cubicBezTo>
                <a:close/>
                <a:moveTo>
                  <a:pt x="789839" y="581499"/>
                </a:moveTo>
                <a:cubicBezTo>
                  <a:pt x="876255" y="581499"/>
                  <a:pt x="946389" y="650680"/>
                  <a:pt x="946389" y="734687"/>
                </a:cubicBezTo>
                <a:cubicBezTo>
                  <a:pt x="946389" y="819929"/>
                  <a:pt x="876255" y="887875"/>
                  <a:pt x="789839" y="887875"/>
                </a:cubicBezTo>
                <a:cubicBezTo>
                  <a:pt x="704675" y="887875"/>
                  <a:pt x="634541" y="819929"/>
                  <a:pt x="634541" y="734687"/>
                </a:cubicBezTo>
                <a:cubicBezTo>
                  <a:pt x="634541" y="650680"/>
                  <a:pt x="704675" y="581499"/>
                  <a:pt x="789839" y="581499"/>
                </a:cubicBezTo>
                <a:close/>
                <a:moveTo>
                  <a:pt x="1083809" y="508285"/>
                </a:moveTo>
                <a:lnTo>
                  <a:pt x="1077575" y="531858"/>
                </a:lnTo>
                <a:cubicBezTo>
                  <a:pt x="1077575" y="531858"/>
                  <a:pt x="1077575" y="531858"/>
                  <a:pt x="1077575" y="533099"/>
                </a:cubicBezTo>
                <a:cubicBezTo>
                  <a:pt x="1077575" y="533099"/>
                  <a:pt x="1077575" y="534339"/>
                  <a:pt x="1078822" y="534339"/>
                </a:cubicBezTo>
                <a:lnTo>
                  <a:pt x="1250871" y="579005"/>
                </a:lnTo>
                <a:cubicBezTo>
                  <a:pt x="1250871" y="580245"/>
                  <a:pt x="1250871" y="579005"/>
                  <a:pt x="1252118" y="579005"/>
                </a:cubicBezTo>
                <a:cubicBezTo>
                  <a:pt x="1252118" y="579005"/>
                  <a:pt x="1252118" y="579005"/>
                  <a:pt x="1252118" y="577764"/>
                </a:cubicBezTo>
                <a:lnTo>
                  <a:pt x="1258352" y="555431"/>
                </a:lnTo>
                <a:close/>
                <a:moveTo>
                  <a:pt x="344736" y="281312"/>
                </a:moveTo>
                <a:cubicBezTo>
                  <a:pt x="379640" y="280557"/>
                  <a:pt x="414371" y="292185"/>
                  <a:pt x="442155" y="313581"/>
                </a:cubicBezTo>
                <a:cubicBezTo>
                  <a:pt x="452034" y="321023"/>
                  <a:pt x="452034" y="333427"/>
                  <a:pt x="445860" y="342109"/>
                </a:cubicBezTo>
                <a:cubicBezTo>
                  <a:pt x="442155" y="347071"/>
                  <a:pt x="435981" y="349551"/>
                  <a:pt x="431041" y="349551"/>
                </a:cubicBezTo>
                <a:cubicBezTo>
                  <a:pt x="426102" y="349551"/>
                  <a:pt x="422397" y="347071"/>
                  <a:pt x="418693" y="344590"/>
                </a:cubicBezTo>
                <a:cubicBezTo>
                  <a:pt x="390291" y="322264"/>
                  <a:pt x="354480" y="314821"/>
                  <a:pt x="321139" y="324744"/>
                </a:cubicBezTo>
                <a:cubicBezTo>
                  <a:pt x="310025" y="327225"/>
                  <a:pt x="300146" y="321023"/>
                  <a:pt x="296442" y="309860"/>
                </a:cubicBezTo>
                <a:cubicBezTo>
                  <a:pt x="293972" y="299937"/>
                  <a:pt x="300146" y="290014"/>
                  <a:pt x="310025" y="286293"/>
                </a:cubicBezTo>
                <a:cubicBezTo>
                  <a:pt x="321448" y="283192"/>
                  <a:pt x="333102" y="281564"/>
                  <a:pt x="344736" y="281312"/>
                </a:cubicBezTo>
                <a:close/>
                <a:moveTo>
                  <a:pt x="351387" y="267330"/>
                </a:moveTo>
                <a:cubicBezTo>
                  <a:pt x="335212" y="267330"/>
                  <a:pt x="316548" y="268570"/>
                  <a:pt x="299128" y="274772"/>
                </a:cubicBezTo>
                <a:cubicBezTo>
                  <a:pt x="215761" y="302060"/>
                  <a:pt x="165989" y="388885"/>
                  <a:pt x="185898" y="474470"/>
                </a:cubicBezTo>
                <a:cubicBezTo>
                  <a:pt x="199585" y="532767"/>
                  <a:pt x="245623" y="581142"/>
                  <a:pt x="305349" y="598507"/>
                </a:cubicBezTo>
                <a:cubicBezTo>
                  <a:pt x="319036" y="602228"/>
                  <a:pt x="331479" y="613391"/>
                  <a:pt x="335212" y="628275"/>
                </a:cubicBezTo>
                <a:lnTo>
                  <a:pt x="463373" y="594786"/>
                </a:lnTo>
                <a:lnTo>
                  <a:pt x="462129" y="593545"/>
                </a:lnTo>
                <a:cubicBezTo>
                  <a:pt x="458396" y="579901"/>
                  <a:pt x="462129" y="563776"/>
                  <a:pt x="473327" y="553854"/>
                </a:cubicBezTo>
                <a:cubicBezTo>
                  <a:pt x="515633" y="510441"/>
                  <a:pt x="531808" y="450904"/>
                  <a:pt x="515633" y="392606"/>
                </a:cubicBezTo>
                <a:cubicBezTo>
                  <a:pt x="503190" y="346713"/>
                  <a:pt x="474571" y="309502"/>
                  <a:pt x="433510" y="287176"/>
                </a:cubicBezTo>
                <a:cubicBezTo>
                  <a:pt x="407380" y="273532"/>
                  <a:pt x="380006" y="267330"/>
                  <a:pt x="351387" y="267330"/>
                </a:cubicBezTo>
                <a:close/>
                <a:moveTo>
                  <a:pt x="371451" y="227793"/>
                </a:moveTo>
                <a:cubicBezTo>
                  <a:pt x="399292" y="230429"/>
                  <a:pt x="426667" y="238802"/>
                  <a:pt x="452174" y="252446"/>
                </a:cubicBezTo>
                <a:cubicBezTo>
                  <a:pt x="503190" y="280974"/>
                  <a:pt x="539274" y="326867"/>
                  <a:pt x="554205" y="381443"/>
                </a:cubicBezTo>
                <a:cubicBezTo>
                  <a:pt x="572870" y="452144"/>
                  <a:pt x="552961" y="527806"/>
                  <a:pt x="500701" y="581142"/>
                </a:cubicBezTo>
                <a:cubicBezTo>
                  <a:pt x="500701" y="581142"/>
                  <a:pt x="500701" y="582382"/>
                  <a:pt x="500701" y="583622"/>
                </a:cubicBezTo>
                <a:lnTo>
                  <a:pt x="514388" y="636958"/>
                </a:lnTo>
                <a:cubicBezTo>
                  <a:pt x="519365" y="655563"/>
                  <a:pt x="508167" y="675410"/>
                  <a:pt x="489503" y="680371"/>
                </a:cubicBezTo>
                <a:lnTo>
                  <a:pt x="355120" y="716342"/>
                </a:lnTo>
                <a:cubicBezTo>
                  <a:pt x="352632" y="716342"/>
                  <a:pt x="348899" y="717582"/>
                  <a:pt x="346410" y="717582"/>
                </a:cubicBezTo>
                <a:cubicBezTo>
                  <a:pt x="330235" y="717582"/>
                  <a:pt x="315303" y="706419"/>
                  <a:pt x="311570" y="690294"/>
                </a:cubicBezTo>
                <a:lnTo>
                  <a:pt x="297883" y="638198"/>
                </a:lnTo>
                <a:cubicBezTo>
                  <a:pt x="296639" y="636958"/>
                  <a:pt x="295395" y="636958"/>
                  <a:pt x="295395" y="635717"/>
                </a:cubicBezTo>
                <a:cubicBezTo>
                  <a:pt x="220738" y="614631"/>
                  <a:pt x="164745" y="556334"/>
                  <a:pt x="147325" y="481913"/>
                </a:cubicBezTo>
                <a:cubicBezTo>
                  <a:pt x="123684" y="377722"/>
                  <a:pt x="184654" y="269811"/>
                  <a:pt x="287929" y="237561"/>
                </a:cubicBezTo>
                <a:cubicBezTo>
                  <a:pt x="315303" y="228259"/>
                  <a:pt x="343611" y="225158"/>
                  <a:pt x="371451" y="227793"/>
                </a:cubicBezTo>
                <a:close/>
                <a:moveTo>
                  <a:pt x="1293832" y="78624"/>
                </a:moveTo>
                <a:cubicBezTo>
                  <a:pt x="1351531" y="93526"/>
                  <a:pt x="1399196" y="136993"/>
                  <a:pt x="1421774" y="191637"/>
                </a:cubicBezTo>
                <a:cubicBezTo>
                  <a:pt x="1424283" y="201572"/>
                  <a:pt x="1420520" y="212749"/>
                  <a:pt x="1410485" y="216475"/>
                </a:cubicBezTo>
                <a:cubicBezTo>
                  <a:pt x="1407977" y="217717"/>
                  <a:pt x="1405468" y="217717"/>
                  <a:pt x="1402959" y="217717"/>
                </a:cubicBezTo>
                <a:cubicBezTo>
                  <a:pt x="1395433" y="217717"/>
                  <a:pt x="1387907" y="213991"/>
                  <a:pt x="1384144" y="205298"/>
                </a:cubicBezTo>
                <a:cubicBezTo>
                  <a:pt x="1366583" y="161831"/>
                  <a:pt x="1330207" y="129542"/>
                  <a:pt x="1282543" y="117123"/>
                </a:cubicBezTo>
                <a:cubicBezTo>
                  <a:pt x="1272508" y="113397"/>
                  <a:pt x="1266236" y="103462"/>
                  <a:pt x="1268745" y="92285"/>
                </a:cubicBezTo>
                <a:cubicBezTo>
                  <a:pt x="1272508" y="82349"/>
                  <a:pt x="1282543" y="76140"/>
                  <a:pt x="1293832" y="78624"/>
                </a:cubicBezTo>
                <a:close/>
                <a:moveTo>
                  <a:pt x="1244637" y="39299"/>
                </a:moveTo>
                <a:cubicBezTo>
                  <a:pt x="1147392" y="39299"/>
                  <a:pt x="1057627" y="102575"/>
                  <a:pt x="1028952" y="196868"/>
                </a:cubicBezTo>
                <a:cubicBezTo>
                  <a:pt x="1005264" y="275032"/>
                  <a:pt x="1026459" y="360641"/>
                  <a:pt x="1083809" y="418954"/>
                </a:cubicBezTo>
                <a:cubicBezTo>
                  <a:pt x="1095029" y="431361"/>
                  <a:pt x="1100016" y="448731"/>
                  <a:pt x="1096276" y="466101"/>
                </a:cubicBezTo>
                <a:lnTo>
                  <a:pt x="1093783" y="472304"/>
                </a:lnTo>
                <a:lnTo>
                  <a:pt x="1268325" y="516969"/>
                </a:lnTo>
                <a:lnTo>
                  <a:pt x="1270819" y="510766"/>
                </a:lnTo>
                <a:cubicBezTo>
                  <a:pt x="1274559" y="494637"/>
                  <a:pt x="1288273" y="480989"/>
                  <a:pt x="1304481" y="477267"/>
                </a:cubicBezTo>
                <a:cubicBezTo>
                  <a:pt x="1380532" y="456175"/>
                  <a:pt x="1440375" y="396621"/>
                  <a:pt x="1460323" y="320938"/>
                </a:cubicBezTo>
                <a:cubicBezTo>
                  <a:pt x="1476530" y="261385"/>
                  <a:pt x="1467803" y="199350"/>
                  <a:pt x="1435388" y="145999"/>
                </a:cubicBezTo>
                <a:cubicBezTo>
                  <a:pt x="1404220" y="93890"/>
                  <a:pt x="1353103" y="57909"/>
                  <a:pt x="1292013" y="44262"/>
                </a:cubicBezTo>
                <a:cubicBezTo>
                  <a:pt x="1275806" y="40540"/>
                  <a:pt x="1259598" y="39299"/>
                  <a:pt x="1244637" y="39299"/>
                </a:cubicBezTo>
                <a:close/>
                <a:moveTo>
                  <a:pt x="1249598" y="45"/>
                </a:moveTo>
                <a:cubicBezTo>
                  <a:pt x="1266124" y="352"/>
                  <a:pt x="1282819" y="2233"/>
                  <a:pt x="1299494" y="5800"/>
                </a:cubicBezTo>
                <a:cubicBezTo>
                  <a:pt x="1370558" y="21929"/>
                  <a:pt x="1431648" y="64113"/>
                  <a:pt x="1469050" y="126148"/>
                </a:cubicBezTo>
                <a:cubicBezTo>
                  <a:pt x="1507699" y="188183"/>
                  <a:pt x="1517672" y="261385"/>
                  <a:pt x="1498971" y="330864"/>
                </a:cubicBezTo>
                <a:cubicBezTo>
                  <a:pt x="1474037" y="418954"/>
                  <a:pt x="1404220" y="488433"/>
                  <a:pt x="1315701" y="514488"/>
                </a:cubicBezTo>
                <a:cubicBezTo>
                  <a:pt x="1311961" y="514488"/>
                  <a:pt x="1309468" y="518210"/>
                  <a:pt x="1308221" y="521932"/>
                </a:cubicBezTo>
                <a:lnTo>
                  <a:pt x="1290767" y="587690"/>
                </a:lnTo>
                <a:cubicBezTo>
                  <a:pt x="1288273" y="598856"/>
                  <a:pt x="1280793" y="607541"/>
                  <a:pt x="1270819" y="613744"/>
                </a:cubicBezTo>
                <a:cubicBezTo>
                  <a:pt x="1264585" y="616226"/>
                  <a:pt x="1258352" y="618707"/>
                  <a:pt x="1250871" y="618707"/>
                </a:cubicBezTo>
                <a:cubicBezTo>
                  <a:pt x="1247131" y="618707"/>
                  <a:pt x="1243391" y="617466"/>
                  <a:pt x="1239651" y="617466"/>
                </a:cubicBezTo>
                <a:lnTo>
                  <a:pt x="1068848" y="571560"/>
                </a:lnTo>
                <a:cubicBezTo>
                  <a:pt x="1057627" y="569079"/>
                  <a:pt x="1048900" y="561635"/>
                  <a:pt x="1043913" y="552950"/>
                </a:cubicBezTo>
                <a:cubicBezTo>
                  <a:pt x="1037679" y="543024"/>
                  <a:pt x="1036432" y="531858"/>
                  <a:pt x="1038926" y="521932"/>
                </a:cubicBezTo>
                <a:lnTo>
                  <a:pt x="1057627" y="454934"/>
                </a:lnTo>
                <a:cubicBezTo>
                  <a:pt x="1057627" y="452453"/>
                  <a:pt x="1057627" y="448731"/>
                  <a:pt x="1055134" y="446249"/>
                </a:cubicBezTo>
                <a:cubicBezTo>
                  <a:pt x="987810" y="376770"/>
                  <a:pt x="964122" y="277514"/>
                  <a:pt x="991550" y="185702"/>
                </a:cubicBezTo>
                <a:cubicBezTo>
                  <a:pt x="1026459" y="72798"/>
                  <a:pt x="1133912" y="-2110"/>
                  <a:pt x="1249598" y="45"/>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5" name="Freeform 31">
            <a:extLst>
              <a:ext uri="{FF2B5EF4-FFF2-40B4-BE49-F238E27FC236}">
                <a16:creationId xmlns:a16="http://schemas.microsoft.com/office/drawing/2014/main" id="{631197AB-DD2C-1ADF-9E37-B63582EB0BE0}"/>
              </a:ext>
            </a:extLst>
          </p:cNvPr>
          <p:cNvSpPr>
            <a:spLocks noChangeArrowheads="1"/>
          </p:cNvSpPr>
          <p:nvPr/>
        </p:nvSpPr>
        <p:spPr bwMode="auto">
          <a:xfrm>
            <a:off x="3641934" y="3146111"/>
            <a:ext cx="605031" cy="784891"/>
          </a:xfrm>
          <a:custGeom>
            <a:avLst/>
            <a:gdLst>
              <a:gd name="connsiteX0" fmla="*/ 619606 w 1210062"/>
              <a:gd name="connsiteY0" fmla="*/ 1455653 h 1569781"/>
              <a:gd name="connsiteX1" fmla="*/ 638833 w 1210062"/>
              <a:gd name="connsiteY1" fmla="*/ 1475288 h 1569781"/>
              <a:gd name="connsiteX2" fmla="*/ 638833 w 1210062"/>
              <a:gd name="connsiteY2" fmla="*/ 1550146 h 1569781"/>
              <a:gd name="connsiteX3" fmla="*/ 619606 w 1210062"/>
              <a:gd name="connsiteY3" fmla="*/ 1569781 h 1569781"/>
              <a:gd name="connsiteX4" fmla="*/ 601581 w 1210062"/>
              <a:gd name="connsiteY4" fmla="*/ 1550146 h 1569781"/>
              <a:gd name="connsiteX5" fmla="*/ 601581 w 1210062"/>
              <a:gd name="connsiteY5" fmla="*/ 1475288 h 1569781"/>
              <a:gd name="connsiteX6" fmla="*/ 619606 w 1210062"/>
              <a:gd name="connsiteY6" fmla="*/ 1455653 h 1569781"/>
              <a:gd name="connsiteX7" fmla="*/ 191769 w 1210062"/>
              <a:gd name="connsiteY7" fmla="*/ 1455653 h 1569781"/>
              <a:gd name="connsiteX8" fmla="*/ 210413 w 1210062"/>
              <a:gd name="connsiteY8" fmla="*/ 1475288 h 1569781"/>
              <a:gd name="connsiteX9" fmla="*/ 210413 w 1210062"/>
              <a:gd name="connsiteY9" fmla="*/ 1550146 h 1569781"/>
              <a:gd name="connsiteX10" fmla="*/ 191769 w 1210062"/>
              <a:gd name="connsiteY10" fmla="*/ 1569781 h 1569781"/>
              <a:gd name="connsiteX11" fmla="*/ 173125 w 1210062"/>
              <a:gd name="connsiteY11" fmla="*/ 1550146 h 1569781"/>
              <a:gd name="connsiteX12" fmla="*/ 173125 w 1210062"/>
              <a:gd name="connsiteY12" fmla="*/ 1475288 h 1569781"/>
              <a:gd name="connsiteX13" fmla="*/ 191769 w 1210062"/>
              <a:gd name="connsiteY13" fmla="*/ 1455653 h 1569781"/>
              <a:gd name="connsiteX14" fmla="*/ 196971 w 1210062"/>
              <a:gd name="connsiteY14" fmla="*/ 1241426 h 1569781"/>
              <a:gd name="connsiteX15" fmla="*/ 619928 w 1210062"/>
              <a:gd name="connsiteY15" fmla="*/ 1241426 h 1569781"/>
              <a:gd name="connsiteX16" fmla="*/ 783372 w 1210062"/>
              <a:gd name="connsiteY16" fmla="*/ 1416789 h 1569781"/>
              <a:gd name="connsiteX17" fmla="*/ 812068 w 1210062"/>
              <a:gd name="connsiteY17" fmla="*/ 1544890 h 1569781"/>
              <a:gd name="connsiteX18" fmla="*/ 797096 w 1210062"/>
              <a:gd name="connsiteY18" fmla="*/ 1568521 h 1569781"/>
              <a:gd name="connsiteX19" fmla="*/ 773391 w 1210062"/>
              <a:gd name="connsiteY19" fmla="*/ 1553596 h 1569781"/>
              <a:gd name="connsiteX20" fmla="*/ 745942 w 1210062"/>
              <a:gd name="connsiteY20" fmla="*/ 1425495 h 1569781"/>
              <a:gd name="connsiteX21" fmla="*/ 619928 w 1210062"/>
              <a:gd name="connsiteY21" fmla="*/ 1281225 h 1569781"/>
              <a:gd name="connsiteX22" fmla="*/ 196971 w 1210062"/>
              <a:gd name="connsiteY22" fmla="*/ 1281225 h 1569781"/>
              <a:gd name="connsiteX23" fmla="*/ 70957 w 1210062"/>
              <a:gd name="connsiteY23" fmla="*/ 1426738 h 1569781"/>
              <a:gd name="connsiteX24" fmla="*/ 38518 w 1210062"/>
              <a:gd name="connsiteY24" fmla="*/ 1554840 h 1569781"/>
              <a:gd name="connsiteX25" fmla="*/ 19803 w 1210062"/>
              <a:gd name="connsiteY25" fmla="*/ 1568521 h 1569781"/>
              <a:gd name="connsiteX26" fmla="*/ 14812 w 1210062"/>
              <a:gd name="connsiteY26" fmla="*/ 1568521 h 1569781"/>
              <a:gd name="connsiteX27" fmla="*/ 1088 w 1210062"/>
              <a:gd name="connsiteY27" fmla="*/ 1544890 h 1569781"/>
              <a:gd name="connsiteX28" fmla="*/ 33527 w 1210062"/>
              <a:gd name="connsiteY28" fmla="*/ 1416789 h 1569781"/>
              <a:gd name="connsiteX29" fmla="*/ 196971 w 1210062"/>
              <a:gd name="connsiteY29" fmla="*/ 1241426 h 1569781"/>
              <a:gd name="connsiteX30" fmla="*/ 405330 w 1210062"/>
              <a:gd name="connsiteY30" fmla="*/ 869211 h 1569781"/>
              <a:gd name="connsiteX31" fmla="*/ 256963 w 1210062"/>
              <a:gd name="connsiteY31" fmla="*/ 1018335 h 1569781"/>
              <a:gd name="connsiteX32" fmla="*/ 405330 w 1210062"/>
              <a:gd name="connsiteY32" fmla="*/ 1167458 h 1569781"/>
              <a:gd name="connsiteX33" fmla="*/ 554944 w 1210062"/>
              <a:gd name="connsiteY33" fmla="*/ 1018335 h 1569781"/>
              <a:gd name="connsiteX34" fmla="*/ 405330 w 1210062"/>
              <a:gd name="connsiteY34" fmla="*/ 869211 h 1569781"/>
              <a:gd name="connsiteX35" fmla="*/ 659259 w 1210062"/>
              <a:gd name="connsiteY35" fmla="*/ 857897 h 1569781"/>
              <a:gd name="connsiteX36" fmla="*/ 639624 w 1210062"/>
              <a:gd name="connsiteY36" fmla="*/ 878250 h 1569781"/>
              <a:gd name="connsiteX37" fmla="*/ 659259 w 1210062"/>
              <a:gd name="connsiteY37" fmla="*/ 898604 h 1569781"/>
              <a:gd name="connsiteX38" fmla="*/ 677666 w 1210062"/>
              <a:gd name="connsiteY38" fmla="*/ 878250 h 1569781"/>
              <a:gd name="connsiteX39" fmla="*/ 659259 w 1210062"/>
              <a:gd name="connsiteY39" fmla="*/ 857897 h 1569781"/>
              <a:gd name="connsiteX40" fmla="*/ 405330 w 1210062"/>
              <a:gd name="connsiteY40" fmla="*/ 829445 h 1569781"/>
              <a:gd name="connsiteX41" fmla="*/ 594841 w 1210062"/>
              <a:gd name="connsiteY41" fmla="*/ 1018335 h 1569781"/>
              <a:gd name="connsiteX42" fmla="*/ 405330 w 1210062"/>
              <a:gd name="connsiteY42" fmla="*/ 1207225 h 1569781"/>
              <a:gd name="connsiteX43" fmla="*/ 217066 w 1210062"/>
              <a:gd name="connsiteY43" fmla="*/ 1018335 h 1569781"/>
              <a:gd name="connsiteX44" fmla="*/ 405330 w 1210062"/>
              <a:gd name="connsiteY44" fmla="*/ 829445 h 1569781"/>
              <a:gd name="connsiteX45" fmla="*/ 659259 w 1210062"/>
              <a:gd name="connsiteY45" fmla="*/ 818462 h 1569781"/>
              <a:gd name="connsiteX46" fmla="*/ 715709 w 1210062"/>
              <a:gd name="connsiteY46" fmla="*/ 878250 h 1569781"/>
              <a:gd name="connsiteX47" fmla="*/ 659259 w 1210062"/>
              <a:gd name="connsiteY47" fmla="*/ 938038 h 1569781"/>
              <a:gd name="connsiteX48" fmla="*/ 601581 w 1210062"/>
              <a:gd name="connsiteY48" fmla="*/ 878250 h 1569781"/>
              <a:gd name="connsiteX49" fmla="*/ 659259 w 1210062"/>
              <a:gd name="connsiteY49" fmla="*/ 818462 h 1569781"/>
              <a:gd name="connsiteX50" fmla="*/ 657140 w 1210062"/>
              <a:gd name="connsiteY50" fmla="*/ 633486 h 1569781"/>
              <a:gd name="connsiteX51" fmla="*/ 593394 w 1210062"/>
              <a:gd name="connsiteY51" fmla="*/ 697616 h 1569781"/>
              <a:gd name="connsiteX52" fmla="*/ 657140 w 1210062"/>
              <a:gd name="connsiteY52" fmla="*/ 761745 h 1569781"/>
              <a:gd name="connsiteX53" fmla="*/ 720885 w 1210062"/>
              <a:gd name="connsiteY53" fmla="*/ 697616 h 1569781"/>
              <a:gd name="connsiteX54" fmla="*/ 657140 w 1210062"/>
              <a:gd name="connsiteY54" fmla="*/ 633486 h 1569781"/>
              <a:gd name="connsiteX55" fmla="*/ 657140 w 1210062"/>
              <a:gd name="connsiteY55" fmla="*/ 593248 h 1569781"/>
              <a:gd name="connsiteX56" fmla="*/ 759632 w 1210062"/>
              <a:gd name="connsiteY56" fmla="*/ 697616 h 1569781"/>
              <a:gd name="connsiteX57" fmla="*/ 657140 w 1210062"/>
              <a:gd name="connsiteY57" fmla="*/ 800726 h 1569781"/>
              <a:gd name="connsiteX58" fmla="*/ 552147 w 1210062"/>
              <a:gd name="connsiteY58" fmla="*/ 697616 h 1569781"/>
              <a:gd name="connsiteX59" fmla="*/ 657140 w 1210062"/>
              <a:gd name="connsiteY59" fmla="*/ 593248 h 1569781"/>
              <a:gd name="connsiteX60" fmla="*/ 885542 w 1210062"/>
              <a:gd name="connsiteY60" fmla="*/ 38748 h 1569781"/>
              <a:gd name="connsiteX61" fmla="*/ 775705 w 1210062"/>
              <a:gd name="connsiteY61" fmla="*/ 84994 h 1569781"/>
              <a:gd name="connsiteX62" fmla="*/ 749494 w 1210062"/>
              <a:gd name="connsiteY62" fmla="*/ 87494 h 1569781"/>
              <a:gd name="connsiteX63" fmla="*/ 662123 w 1210062"/>
              <a:gd name="connsiteY63" fmla="*/ 58746 h 1569781"/>
              <a:gd name="connsiteX64" fmla="*/ 562271 w 1210062"/>
              <a:gd name="connsiteY64" fmla="*/ 96243 h 1569781"/>
              <a:gd name="connsiteX65" fmla="*/ 536060 w 1210062"/>
              <a:gd name="connsiteY65" fmla="*/ 94994 h 1569781"/>
              <a:gd name="connsiteX66" fmla="*/ 431215 w 1210062"/>
              <a:gd name="connsiteY66" fmla="*/ 53746 h 1569781"/>
              <a:gd name="connsiteX67" fmla="*/ 333859 w 1210062"/>
              <a:gd name="connsiteY67" fmla="*/ 88744 h 1569781"/>
              <a:gd name="connsiteX68" fmla="*/ 312641 w 1210062"/>
              <a:gd name="connsiteY68" fmla="*/ 91244 h 1569781"/>
              <a:gd name="connsiteX69" fmla="*/ 242744 w 1210062"/>
              <a:gd name="connsiteY69" fmla="*/ 74995 h 1569781"/>
              <a:gd name="connsiteX70" fmla="*/ 216533 w 1210062"/>
              <a:gd name="connsiteY70" fmla="*/ 77495 h 1569781"/>
              <a:gd name="connsiteX71" fmla="*/ 90470 w 1210062"/>
              <a:gd name="connsiteY71" fmla="*/ 209985 h 1569781"/>
              <a:gd name="connsiteX72" fmla="*/ 112936 w 1210062"/>
              <a:gd name="connsiteY72" fmla="*/ 311228 h 1569781"/>
              <a:gd name="connsiteX73" fmla="*/ 116681 w 1210062"/>
              <a:gd name="connsiteY73" fmla="*/ 321228 h 1569781"/>
              <a:gd name="connsiteX74" fmla="*/ 116681 w 1210062"/>
              <a:gd name="connsiteY74" fmla="*/ 328727 h 1569781"/>
              <a:gd name="connsiteX75" fmla="*/ 175344 w 1210062"/>
              <a:gd name="connsiteY75" fmla="*/ 468717 h 1569781"/>
              <a:gd name="connsiteX76" fmla="*/ 200307 w 1210062"/>
              <a:gd name="connsiteY76" fmla="*/ 488716 h 1569781"/>
              <a:gd name="connsiteX77" fmla="*/ 311393 w 1210062"/>
              <a:gd name="connsiteY77" fmla="*/ 523713 h 1569781"/>
              <a:gd name="connsiteX78" fmla="*/ 376296 w 1210062"/>
              <a:gd name="connsiteY78" fmla="*/ 523713 h 1569781"/>
              <a:gd name="connsiteX79" fmla="*/ 391274 w 1210062"/>
              <a:gd name="connsiteY79" fmla="*/ 529963 h 1569781"/>
              <a:gd name="connsiteX80" fmla="*/ 508601 w 1210062"/>
              <a:gd name="connsiteY80" fmla="*/ 584959 h 1569781"/>
              <a:gd name="connsiteX81" fmla="*/ 618438 w 1210062"/>
              <a:gd name="connsiteY81" fmla="*/ 539962 h 1569781"/>
              <a:gd name="connsiteX82" fmla="*/ 659627 w 1210062"/>
              <a:gd name="connsiteY82" fmla="*/ 523713 h 1569781"/>
              <a:gd name="connsiteX83" fmla="*/ 695823 w 1210062"/>
              <a:gd name="connsiteY83" fmla="*/ 536213 h 1569781"/>
              <a:gd name="connsiteX84" fmla="*/ 793179 w 1210062"/>
              <a:gd name="connsiteY84" fmla="*/ 569960 h 1569781"/>
              <a:gd name="connsiteX85" fmla="*/ 866820 w 1210062"/>
              <a:gd name="connsiteY85" fmla="*/ 552461 h 1569781"/>
              <a:gd name="connsiteX86" fmla="*/ 917994 w 1210062"/>
              <a:gd name="connsiteY86" fmla="*/ 547462 h 1569781"/>
              <a:gd name="connsiteX87" fmla="*/ 966672 w 1210062"/>
              <a:gd name="connsiteY87" fmla="*/ 556211 h 1569781"/>
              <a:gd name="connsiteX88" fmla="*/ 1120195 w 1210062"/>
              <a:gd name="connsiteY88" fmla="*/ 402472 h 1569781"/>
              <a:gd name="connsiteX89" fmla="*/ 1120195 w 1210062"/>
              <a:gd name="connsiteY89" fmla="*/ 397472 h 1569781"/>
              <a:gd name="connsiteX90" fmla="*/ 1120195 w 1210062"/>
              <a:gd name="connsiteY90" fmla="*/ 394972 h 1569781"/>
              <a:gd name="connsiteX91" fmla="*/ 1126436 w 1210062"/>
              <a:gd name="connsiteY91" fmla="*/ 379974 h 1569781"/>
              <a:gd name="connsiteX92" fmla="*/ 1171369 w 1210062"/>
              <a:gd name="connsiteY92" fmla="*/ 269981 h 1569781"/>
              <a:gd name="connsiteX93" fmla="*/ 1029080 w 1210062"/>
              <a:gd name="connsiteY93" fmla="*/ 116242 h 1569781"/>
              <a:gd name="connsiteX94" fmla="*/ 1014102 w 1210062"/>
              <a:gd name="connsiteY94" fmla="*/ 108743 h 1569781"/>
              <a:gd name="connsiteX95" fmla="*/ 885542 w 1210062"/>
              <a:gd name="connsiteY95" fmla="*/ 38748 h 1569781"/>
              <a:gd name="connsiteX96" fmla="*/ 885542 w 1210062"/>
              <a:gd name="connsiteY96" fmla="*/ 0 h 1569781"/>
              <a:gd name="connsiteX97" fmla="*/ 1041562 w 1210062"/>
              <a:gd name="connsiteY97" fmla="*/ 78745 h 1569781"/>
              <a:gd name="connsiteX98" fmla="*/ 1210062 w 1210062"/>
              <a:gd name="connsiteY98" fmla="*/ 269981 h 1569781"/>
              <a:gd name="connsiteX99" fmla="*/ 1158888 w 1210062"/>
              <a:gd name="connsiteY99" fmla="*/ 401222 h 1569781"/>
              <a:gd name="connsiteX100" fmla="*/ 1158888 w 1210062"/>
              <a:gd name="connsiteY100" fmla="*/ 402472 h 1569781"/>
              <a:gd name="connsiteX101" fmla="*/ 966672 w 1210062"/>
              <a:gd name="connsiteY101" fmla="*/ 594958 h 1569781"/>
              <a:gd name="connsiteX102" fmla="*/ 904265 w 1210062"/>
              <a:gd name="connsiteY102" fmla="*/ 583709 h 1569781"/>
              <a:gd name="connsiteX103" fmla="*/ 885542 w 1210062"/>
              <a:gd name="connsiteY103" fmla="*/ 586209 h 1569781"/>
              <a:gd name="connsiteX104" fmla="*/ 793179 w 1210062"/>
              <a:gd name="connsiteY104" fmla="*/ 608707 h 1569781"/>
              <a:gd name="connsiteX105" fmla="*/ 670860 w 1210062"/>
              <a:gd name="connsiteY105" fmla="*/ 566210 h 1569781"/>
              <a:gd name="connsiteX106" fmla="*/ 647145 w 1210062"/>
              <a:gd name="connsiteY106" fmla="*/ 567460 h 1569781"/>
              <a:gd name="connsiteX107" fmla="*/ 508601 w 1210062"/>
              <a:gd name="connsiteY107" fmla="*/ 624956 h 1569781"/>
              <a:gd name="connsiteX108" fmla="*/ 366311 w 1210062"/>
              <a:gd name="connsiteY108" fmla="*/ 562461 h 1569781"/>
              <a:gd name="connsiteX109" fmla="*/ 311393 w 1210062"/>
              <a:gd name="connsiteY109" fmla="*/ 562461 h 1569781"/>
              <a:gd name="connsiteX110" fmla="*/ 179088 w 1210062"/>
              <a:gd name="connsiteY110" fmla="*/ 522464 h 1569781"/>
              <a:gd name="connsiteX111" fmla="*/ 147885 w 1210062"/>
              <a:gd name="connsiteY111" fmla="*/ 496215 h 1569781"/>
              <a:gd name="connsiteX112" fmla="*/ 76740 w 1210062"/>
              <a:gd name="connsiteY112" fmla="*/ 328727 h 1569781"/>
              <a:gd name="connsiteX113" fmla="*/ 76740 w 1210062"/>
              <a:gd name="connsiteY113" fmla="*/ 327477 h 1569781"/>
              <a:gd name="connsiteX114" fmla="*/ 51777 w 1210062"/>
              <a:gd name="connsiteY114" fmla="*/ 204986 h 1569781"/>
              <a:gd name="connsiteX115" fmla="*/ 210292 w 1210062"/>
              <a:gd name="connsiteY115" fmla="*/ 37498 h 1569781"/>
              <a:gd name="connsiteX116" fmla="*/ 318881 w 1210062"/>
              <a:gd name="connsiteY116" fmla="*/ 51247 h 1569781"/>
              <a:gd name="connsiteX117" fmla="*/ 431215 w 1210062"/>
              <a:gd name="connsiteY117" fmla="*/ 13749 h 1569781"/>
              <a:gd name="connsiteX118" fmla="*/ 549790 w 1210062"/>
              <a:gd name="connsiteY118" fmla="*/ 56246 h 1569781"/>
              <a:gd name="connsiteX119" fmla="*/ 662123 w 1210062"/>
              <a:gd name="connsiteY119" fmla="*/ 19999 h 1569781"/>
              <a:gd name="connsiteX120" fmla="*/ 758231 w 1210062"/>
              <a:gd name="connsiteY120" fmla="*/ 47497 h 1569781"/>
              <a:gd name="connsiteX121" fmla="*/ 885542 w 1210062"/>
              <a:gd name="connsiteY121" fmla="*/ 0 h 156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210062" h="1569781">
                <a:moveTo>
                  <a:pt x="619606" y="1455653"/>
                </a:moveTo>
                <a:cubicBezTo>
                  <a:pt x="630421" y="1455653"/>
                  <a:pt x="638833" y="1464244"/>
                  <a:pt x="638833" y="1475288"/>
                </a:cubicBezTo>
                <a:lnTo>
                  <a:pt x="638833" y="1550146"/>
                </a:lnTo>
                <a:cubicBezTo>
                  <a:pt x="638833" y="1561191"/>
                  <a:pt x="630421" y="1569781"/>
                  <a:pt x="619606" y="1569781"/>
                </a:cubicBezTo>
                <a:cubicBezTo>
                  <a:pt x="609993" y="1569781"/>
                  <a:pt x="601581" y="1561191"/>
                  <a:pt x="601581" y="1550146"/>
                </a:cubicBezTo>
                <a:lnTo>
                  <a:pt x="601581" y="1475288"/>
                </a:lnTo>
                <a:cubicBezTo>
                  <a:pt x="601581" y="1464244"/>
                  <a:pt x="609993" y="1455653"/>
                  <a:pt x="619606" y="1455653"/>
                </a:cubicBezTo>
                <a:close/>
                <a:moveTo>
                  <a:pt x="191769" y="1455653"/>
                </a:moveTo>
                <a:cubicBezTo>
                  <a:pt x="201091" y="1455653"/>
                  <a:pt x="210413" y="1464244"/>
                  <a:pt x="210413" y="1475288"/>
                </a:cubicBezTo>
                <a:lnTo>
                  <a:pt x="210413" y="1550146"/>
                </a:lnTo>
                <a:cubicBezTo>
                  <a:pt x="210413" y="1561191"/>
                  <a:pt x="201091" y="1569781"/>
                  <a:pt x="191769" y="1569781"/>
                </a:cubicBezTo>
                <a:cubicBezTo>
                  <a:pt x="181282" y="1569781"/>
                  <a:pt x="173125" y="1561191"/>
                  <a:pt x="173125" y="1550146"/>
                </a:cubicBezTo>
                <a:lnTo>
                  <a:pt x="173125" y="1475288"/>
                </a:lnTo>
                <a:cubicBezTo>
                  <a:pt x="173125" y="1464244"/>
                  <a:pt x="181282" y="1455653"/>
                  <a:pt x="191769" y="1455653"/>
                </a:cubicBezTo>
                <a:close/>
                <a:moveTo>
                  <a:pt x="196971" y="1241426"/>
                </a:moveTo>
                <a:lnTo>
                  <a:pt x="619928" y="1241426"/>
                </a:lnTo>
                <a:cubicBezTo>
                  <a:pt x="714751" y="1241426"/>
                  <a:pt x="742199" y="1270031"/>
                  <a:pt x="783372" y="1416789"/>
                </a:cubicBezTo>
                <a:lnTo>
                  <a:pt x="812068" y="1544890"/>
                </a:lnTo>
                <a:cubicBezTo>
                  <a:pt x="814564" y="1556084"/>
                  <a:pt x="807078" y="1566033"/>
                  <a:pt x="797096" y="1568521"/>
                </a:cubicBezTo>
                <a:cubicBezTo>
                  <a:pt x="785867" y="1569765"/>
                  <a:pt x="775886" y="1563546"/>
                  <a:pt x="773391" y="1553596"/>
                </a:cubicBezTo>
                <a:lnTo>
                  <a:pt x="745942" y="1425495"/>
                </a:lnTo>
                <a:cubicBezTo>
                  <a:pt x="706017" y="1286200"/>
                  <a:pt x="686054" y="1281225"/>
                  <a:pt x="619928" y="1281225"/>
                </a:cubicBezTo>
                <a:lnTo>
                  <a:pt x="196971" y="1281225"/>
                </a:lnTo>
                <a:cubicBezTo>
                  <a:pt x="129597" y="1281225"/>
                  <a:pt x="110882" y="1286200"/>
                  <a:pt x="70957" y="1426738"/>
                </a:cubicBezTo>
                <a:lnTo>
                  <a:pt x="38518" y="1554840"/>
                </a:lnTo>
                <a:cubicBezTo>
                  <a:pt x="36022" y="1562302"/>
                  <a:pt x="28536" y="1568521"/>
                  <a:pt x="19803" y="1568521"/>
                </a:cubicBezTo>
                <a:cubicBezTo>
                  <a:pt x="17307" y="1568521"/>
                  <a:pt x="16060" y="1568521"/>
                  <a:pt x="14812" y="1568521"/>
                </a:cubicBezTo>
                <a:cubicBezTo>
                  <a:pt x="3583" y="1566033"/>
                  <a:pt x="-2655" y="1554840"/>
                  <a:pt x="1088" y="1544890"/>
                </a:cubicBezTo>
                <a:lnTo>
                  <a:pt x="33527" y="1416789"/>
                </a:lnTo>
                <a:cubicBezTo>
                  <a:pt x="74700" y="1270031"/>
                  <a:pt x="102149" y="1241426"/>
                  <a:pt x="196971" y="1241426"/>
                </a:cubicBezTo>
                <a:close/>
                <a:moveTo>
                  <a:pt x="405330" y="869211"/>
                </a:moveTo>
                <a:cubicBezTo>
                  <a:pt x="324290" y="869211"/>
                  <a:pt x="256963" y="936317"/>
                  <a:pt x="256963" y="1018335"/>
                </a:cubicBezTo>
                <a:cubicBezTo>
                  <a:pt x="256963" y="1100353"/>
                  <a:pt x="324290" y="1167458"/>
                  <a:pt x="405330" y="1167458"/>
                </a:cubicBezTo>
                <a:cubicBezTo>
                  <a:pt x="488865" y="1167458"/>
                  <a:pt x="554944" y="1100353"/>
                  <a:pt x="554944" y="1018335"/>
                </a:cubicBezTo>
                <a:cubicBezTo>
                  <a:pt x="554944" y="936317"/>
                  <a:pt x="488865" y="869211"/>
                  <a:pt x="405330" y="869211"/>
                </a:cubicBezTo>
                <a:close/>
                <a:moveTo>
                  <a:pt x="659259" y="857897"/>
                </a:moveTo>
                <a:cubicBezTo>
                  <a:pt x="648214" y="857897"/>
                  <a:pt x="639624" y="866801"/>
                  <a:pt x="639624" y="878250"/>
                </a:cubicBezTo>
                <a:cubicBezTo>
                  <a:pt x="639624" y="888427"/>
                  <a:pt x="648214" y="898604"/>
                  <a:pt x="659259" y="898604"/>
                </a:cubicBezTo>
                <a:cubicBezTo>
                  <a:pt x="669076" y="898604"/>
                  <a:pt x="677666" y="888427"/>
                  <a:pt x="677666" y="878250"/>
                </a:cubicBezTo>
                <a:cubicBezTo>
                  <a:pt x="677666" y="866801"/>
                  <a:pt x="669076" y="857897"/>
                  <a:pt x="659259" y="857897"/>
                </a:cubicBezTo>
                <a:close/>
                <a:moveTo>
                  <a:pt x="405330" y="829445"/>
                </a:moveTo>
                <a:cubicBezTo>
                  <a:pt x="510060" y="829445"/>
                  <a:pt x="594841" y="913949"/>
                  <a:pt x="594841" y="1018335"/>
                </a:cubicBezTo>
                <a:cubicBezTo>
                  <a:pt x="594841" y="1122721"/>
                  <a:pt x="510060" y="1207225"/>
                  <a:pt x="405330" y="1207225"/>
                </a:cubicBezTo>
                <a:cubicBezTo>
                  <a:pt x="301847" y="1207225"/>
                  <a:pt x="217066" y="1122721"/>
                  <a:pt x="217066" y="1018335"/>
                </a:cubicBezTo>
                <a:cubicBezTo>
                  <a:pt x="217066" y="913949"/>
                  <a:pt x="301847" y="829445"/>
                  <a:pt x="405330" y="829445"/>
                </a:cubicBezTo>
                <a:close/>
                <a:moveTo>
                  <a:pt x="659259" y="818462"/>
                </a:moveTo>
                <a:cubicBezTo>
                  <a:pt x="689938" y="818462"/>
                  <a:pt x="715709" y="845176"/>
                  <a:pt x="715709" y="878250"/>
                </a:cubicBezTo>
                <a:cubicBezTo>
                  <a:pt x="715709" y="911324"/>
                  <a:pt x="689938" y="938038"/>
                  <a:pt x="659259" y="938038"/>
                </a:cubicBezTo>
                <a:cubicBezTo>
                  <a:pt x="626125" y="938038"/>
                  <a:pt x="601581" y="911324"/>
                  <a:pt x="601581" y="878250"/>
                </a:cubicBezTo>
                <a:cubicBezTo>
                  <a:pt x="601581" y="845176"/>
                  <a:pt x="626125" y="818462"/>
                  <a:pt x="659259" y="818462"/>
                </a:cubicBezTo>
                <a:close/>
                <a:moveTo>
                  <a:pt x="657140" y="633486"/>
                </a:moveTo>
                <a:cubicBezTo>
                  <a:pt x="620892" y="633486"/>
                  <a:pt x="593394" y="662407"/>
                  <a:pt x="593394" y="697616"/>
                </a:cubicBezTo>
                <a:cubicBezTo>
                  <a:pt x="593394" y="732824"/>
                  <a:pt x="620892" y="761745"/>
                  <a:pt x="657140" y="761745"/>
                </a:cubicBezTo>
                <a:cubicBezTo>
                  <a:pt x="692137" y="761745"/>
                  <a:pt x="720885" y="732824"/>
                  <a:pt x="720885" y="697616"/>
                </a:cubicBezTo>
                <a:cubicBezTo>
                  <a:pt x="720885" y="662407"/>
                  <a:pt x="692137" y="633486"/>
                  <a:pt x="657140" y="633486"/>
                </a:cubicBezTo>
                <a:close/>
                <a:moveTo>
                  <a:pt x="657140" y="593248"/>
                </a:moveTo>
                <a:cubicBezTo>
                  <a:pt x="713386" y="593248"/>
                  <a:pt x="759632" y="639774"/>
                  <a:pt x="759632" y="697616"/>
                </a:cubicBezTo>
                <a:cubicBezTo>
                  <a:pt x="759632" y="755458"/>
                  <a:pt x="713386" y="800726"/>
                  <a:pt x="657140" y="800726"/>
                </a:cubicBezTo>
                <a:cubicBezTo>
                  <a:pt x="599644" y="800726"/>
                  <a:pt x="552147" y="755458"/>
                  <a:pt x="552147" y="697616"/>
                </a:cubicBezTo>
                <a:cubicBezTo>
                  <a:pt x="552147" y="639774"/>
                  <a:pt x="599644" y="593248"/>
                  <a:pt x="657140" y="593248"/>
                </a:cubicBezTo>
                <a:close/>
                <a:moveTo>
                  <a:pt x="885542" y="38748"/>
                </a:moveTo>
                <a:cubicBezTo>
                  <a:pt x="843105" y="38748"/>
                  <a:pt x="804413" y="56246"/>
                  <a:pt x="775705" y="84994"/>
                </a:cubicBezTo>
                <a:cubicBezTo>
                  <a:pt x="768216" y="92494"/>
                  <a:pt x="758231" y="93744"/>
                  <a:pt x="749494" y="87494"/>
                </a:cubicBezTo>
                <a:cubicBezTo>
                  <a:pt x="723283" y="69995"/>
                  <a:pt x="693327" y="58746"/>
                  <a:pt x="662123" y="58746"/>
                </a:cubicBezTo>
                <a:cubicBezTo>
                  <a:pt x="625927" y="58746"/>
                  <a:pt x="589730" y="72495"/>
                  <a:pt x="562271" y="96243"/>
                </a:cubicBezTo>
                <a:cubicBezTo>
                  <a:pt x="554782" y="102493"/>
                  <a:pt x="543549" y="102493"/>
                  <a:pt x="536060" y="94994"/>
                </a:cubicBezTo>
                <a:cubicBezTo>
                  <a:pt x="507352" y="68745"/>
                  <a:pt x="469908" y="53746"/>
                  <a:pt x="431215" y="53746"/>
                </a:cubicBezTo>
                <a:cubicBezTo>
                  <a:pt x="395019" y="53746"/>
                  <a:pt x="361319" y="66246"/>
                  <a:pt x="333859" y="88744"/>
                </a:cubicBezTo>
                <a:cubicBezTo>
                  <a:pt x="327618" y="93744"/>
                  <a:pt x="318881" y="94994"/>
                  <a:pt x="312641" y="91244"/>
                </a:cubicBezTo>
                <a:cubicBezTo>
                  <a:pt x="290174" y="79995"/>
                  <a:pt x="267707" y="74995"/>
                  <a:pt x="242744" y="74995"/>
                </a:cubicBezTo>
                <a:cubicBezTo>
                  <a:pt x="234007" y="74995"/>
                  <a:pt x="225270" y="74995"/>
                  <a:pt x="216533" y="77495"/>
                </a:cubicBezTo>
                <a:cubicBezTo>
                  <a:pt x="150381" y="87494"/>
                  <a:pt x="97958" y="142490"/>
                  <a:pt x="90470" y="209985"/>
                </a:cubicBezTo>
                <a:cubicBezTo>
                  <a:pt x="86725" y="246233"/>
                  <a:pt x="94214" y="281230"/>
                  <a:pt x="112936" y="311228"/>
                </a:cubicBezTo>
                <a:cubicBezTo>
                  <a:pt x="115433" y="313728"/>
                  <a:pt x="116681" y="317478"/>
                  <a:pt x="116681" y="321228"/>
                </a:cubicBezTo>
                <a:lnTo>
                  <a:pt x="116681" y="328727"/>
                </a:lnTo>
                <a:cubicBezTo>
                  <a:pt x="116681" y="381223"/>
                  <a:pt x="136651" y="431220"/>
                  <a:pt x="175344" y="468717"/>
                </a:cubicBezTo>
                <a:cubicBezTo>
                  <a:pt x="182833" y="476217"/>
                  <a:pt x="190322" y="482466"/>
                  <a:pt x="200307" y="488716"/>
                </a:cubicBezTo>
                <a:cubicBezTo>
                  <a:pt x="232759" y="511214"/>
                  <a:pt x="271452" y="523713"/>
                  <a:pt x="311393" y="523713"/>
                </a:cubicBezTo>
                <a:lnTo>
                  <a:pt x="376296" y="523713"/>
                </a:lnTo>
                <a:cubicBezTo>
                  <a:pt x="381289" y="523713"/>
                  <a:pt x="387530" y="524963"/>
                  <a:pt x="391274" y="529963"/>
                </a:cubicBezTo>
                <a:cubicBezTo>
                  <a:pt x="419982" y="566210"/>
                  <a:pt x="463667" y="584959"/>
                  <a:pt x="508601" y="584959"/>
                </a:cubicBezTo>
                <a:cubicBezTo>
                  <a:pt x="549790" y="584959"/>
                  <a:pt x="589730" y="569960"/>
                  <a:pt x="618438" y="539962"/>
                </a:cubicBezTo>
                <a:cubicBezTo>
                  <a:pt x="628423" y="529963"/>
                  <a:pt x="644649" y="523713"/>
                  <a:pt x="659627" y="523713"/>
                </a:cubicBezTo>
                <a:cubicBezTo>
                  <a:pt x="672108" y="523713"/>
                  <a:pt x="685838" y="527463"/>
                  <a:pt x="695823" y="536213"/>
                </a:cubicBezTo>
                <a:cubicBezTo>
                  <a:pt x="723283" y="558711"/>
                  <a:pt x="756983" y="569960"/>
                  <a:pt x="793179" y="569960"/>
                </a:cubicBezTo>
                <a:cubicBezTo>
                  <a:pt x="819390" y="569960"/>
                  <a:pt x="844353" y="564961"/>
                  <a:pt x="866820" y="552461"/>
                </a:cubicBezTo>
                <a:cubicBezTo>
                  <a:pt x="883046" y="543712"/>
                  <a:pt x="900520" y="542462"/>
                  <a:pt x="917994" y="547462"/>
                </a:cubicBezTo>
                <a:cubicBezTo>
                  <a:pt x="934220" y="553711"/>
                  <a:pt x="949198" y="556211"/>
                  <a:pt x="966672" y="556211"/>
                </a:cubicBezTo>
                <a:cubicBezTo>
                  <a:pt x="1051547" y="556211"/>
                  <a:pt x="1120195" y="487466"/>
                  <a:pt x="1120195" y="402472"/>
                </a:cubicBezTo>
                <a:cubicBezTo>
                  <a:pt x="1120195" y="401222"/>
                  <a:pt x="1120195" y="399972"/>
                  <a:pt x="1120195" y="397472"/>
                </a:cubicBezTo>
                <a:lnTo>
                  <a:pt x="1120195" y="394972"/>
                </a:lnTo>
                <a:cubicBezTo>
                  <a:pt x="1120195" y="388723"/>
                  <a:pt x="1122691" y="383723"/>
                  <a:pt x="1126436" y="379974"/>
                </a:cubicBezTo>
                <a:cubicBezTo>
                  <a:pt x="1155143" y="351226"/>
                  <a:pt x="1171369" y="311228"/>
                  <a:pt x="1171369" y="269981"/>
                </a:cubicBezTo>
                <a:cubicBezTo>
                  <a:pt x="1171369" y="191237"/>
                  <a:pt x="1108961" y="122492"/>
                  <a:pt x="1029080" y="116242"/>
                </a:cubicBezTo>
                <a:cubicBezTo>
                  <a:pt x="1022839" y="116242"/>
                  <a:pt x="1017847" y="113742"/>
                  <a:pt x="1014102" y="108743"/>
                </a:cubicBezTo>
                <a:cubicBezTo>
                  <a:pt x="985395" y="64996"/>
                  <a:pt x="936717" y="38748"/>
                  <a:pt x="885542" y="38748"/>
                </a:cubicBezTo>
                <a:close/>
                <a:moveTo>
                  <a:pt x="885542" y="0"/>
                </a:moveTo>
                <a:cubicBezTo>
                  <a:pt x="947950" y="0"/>
                  <a:pt x="1005365" y="28748"/>
                  <a:pt x="1041562" y="78745"/>
                </a:cubicBezTo>
                <a:cubicBezTo>
                  <a:pt x="1136421" y="91244"/>
                  <a:pt x="1210062" y="173738"/>
                  <a:pt x="1210062" y="269981"/>
                </a:cubicBezTo>
                <a:cubicBezTo>
                  <a:pt x="1210062" y="318728"/>
                  <a:pt x="1192588" y="364975"/>
                  <a:pt x="1158888" y="401222"/>
                </a:cubicBezTo>
                <a:cubicBezTo>
                  <a:pt x="1158888" y="401222"/>
                  <a:pt x="1158888" y="401222"/>
                  <a:pt x="1158888" y="402472"/>
                </a:cubicBezTo>
                <a:cubicBezTo>
                  <a:pt x="1158888" y="508714"/>
                  <a:pt x="1072765" y="594958"/>
                  <a:pt x="966672" y="594958"/>
                </a:cubicBezTo>
                <a:cubicBezTo>
                  <a:pt x="945454" y="594958"/>
                  <a:pt x="924235" y="591209"/>
                  <a:pt x="904265" y="583709"/>
                </a:cubicBezTo>
                <a:cubicBezTo>
                  <a:pt x="898024" y="581209"/>
                  <a:pt x="891783" y="582459"/>
                  <a:pt x="885542" y="586209"/>
                </a:cubicBezTo>
                <a:cubicBezTo>
                  <a:pt x="856835" y="601208"/>
                  <a:pt x="825631" y="608707"/>
                  <a:pt x="793179" y="608707"/>
                </a:cubicBezTo>
                <a:cubicBezTo>
                  <a:pt x="749494" y="608707"/>
                  <a:pt x="705809" y="593709"/>
                  <a:pt x="670860" y="566210"/>
                </a:cubicBezTo>
                <a:cubicBezTo>
                  <a:pt x="664620" y="561211"/>
                  <a:pt x="652138" y="561211"/>
                  <a:pt x="647145" y="567460"/>
                </a:cubicBezTo>
                <a:cubicBezTo>
                  <a:pt x="609701" y="603708"/>
                  <a:pt x="561023" y="624956"/>
                  <a:pt x="508601" y="624956"/>
                </a:cubicBezTo>
                <a:cubicBezTo>
                  <a:pt x="454930" y="624956"/>
                  <a:pt x="403756" y="601208"/>
                  <a:pt x="366311" y="562461"/>
                </a:cubicBezTo>
                <a:lnTo>
                  <a:pt x="311393" y="562461"/>
                </a:lnTo>
                <a:cubicBezTo>
                  <a:pt x="262715" y="562461"/>
                  <a:pt x="217781" y="548712"/>
                  <a:pt x="179088" y="522464"/>
                </a:cubicBezTo>
                <a:cubicBezTo>
                  <a:pt x="167855" y="514964"/>
                  <a:pt x="156622" y="506215"/>
                  <a:pt x="147885" y="496215"/>
                </a:cubicBezTo>
                <a:cubicBezTo>
                  <a:pt x="101703" y="451219"/>
                  <a:pt x="76740" y="392473"/>
                  <a:pt x="76740" y="328727"/>
                </a:cubicBezTo>
                <a:lnTo>
                  <a:pt x="76740" y="327477"/>
                </a:lnTo>
                <a:cubicBezTo>
                  <a:pt x="55521" y="289980"/>
                  <a:pt x="46784" y="248733"/>
                  <a:pt x="51777" y="204986"/>
                </a:cubicBezTo>
                <a:cubicBezTo>
                  <a:pt x="61762" y="121242"/>
                  <a:pt x="126666" y="52497"/>
                  <a:pt x="210292" y="37498"/>
                </a:cubicBezTo>
                <a:cubicBezTo>
                  <a:pt x="247737" y="32498"/>
                  <a:pt x="285181" y="36248"/>
                  <a:pt x="318881" y="51247"/>
                </a:cubicBezTo>
                <a:cubicBezTo>
                  <a:pt x="351333" y="27498"/>
                  <a:pt x="391274" y="13749"/>
                  <a:pt x="431215" y="13749"/>
                </a:cubicBezTo>
                <a:cubicBezTo>
                  <a:pt x="474900" y="13749"/>
                  <a:pt x="517338" y="28748"/>
                  <a:pt x="549790" y="56246"/>
                </a:cubicBezTo>
                <a:cubicBezTo>
                  <a:pt x="582242" y="32498"/>
                  <a:pt x="620934" y="19999"/>
                  <a:pt x="662123" y="19999"/>
                </a:cubicBezTo>
                <a:cubicBezTo>
                  <a:pt x="695823" y="19999"/>
                  <a:pt x="729523" y="29998"/>
                  <a:pt x="758231" y="47497"/>
                </a:cubicBezTo>
                <a:cubicBezTo>
                  <a:pt x="793179" y="16249"/>
                  <a:pt x="838113" y="0"/>
                  <a:pt x="885542"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6" name="Freeform 32">
            <a:extLst>
              <a:ext uri="{FF2B5EF4-FFF2-40B4-BE49-F238E27FC236}">
                <a16:creationId xmlns:a16="http://schemas.microsoft.com/office/drawing/2014/main" id="{E5107C58-D502-0504-E558-F552DBB32302}"/>
              </a:ext>
            </a:extLst>
          </p:cNvPr>
          <p:cNvSpPr>
            <a:spLocks noChangeArrowheads="1"/>
          </p:cNvSpPr>
          <p:nvPr/>
        </p:nvSpPr>
        <p:spPr bwMode="auto">
          <a:xfrm>
            <a:off x="5653810" y="3143363"/>
            <a:ext cx="837060" cy="789821"/>
          </a:xfrm>
          <a:custGeom>
            <a:avLst/>
            <a:gdLst>
              <a:gd name="connsiteX0" fmla="*/ 1436686 w 1674120"/>
              <a:gd name="connsiteY0" fmla="*/ 1366695 h 1579642"/>
              <a:gd name="connsiteX1" fmla="*/ 1410539 w 1674120"/>
              <a:gd name="connsiteY1" fmla="*/ 1370428 h 1579642"/>
              <a:gd name="connsiteX2" fmla="*/ 1136619 w 1674120"/>
              <a:gd name="connsiteY2" fmla="*/ 1370428 h 1579642"/>
              <a:gd name="connsiteX3" fmla="*/ 1150315 w 1674120"/>
              <a:gd name="connsiteY3" fmla="*/ 1469990 h 1579642"/>
              <a:gd name="connsiteX4" fmla="*/ 1379412 w 1674120"/>
              <a:gd name="connsiteY4" fmla="*/ 1469990 h 1579642"/>
              <a:gd name="connsiteX5" fmla="*/ 1436686 w 1674120"/>
              <a:gd name="connsiteY5" fmla="*/ 1426432 h 1579642"/>
              <a:gd name="connsiteX6" fmla="*/ 216496 w 1674120"/>
              <a:gd name="connsiteY6" fmla="*/ 1366695 h 1579642"/>
              <a:gd name="connsiteX7" fmla="*/ 216496 w 1674120"/>
              <a:gd name="connsiteY7" fmla="*/ 1426432 h 1579642"/>
              <a:gd name="connsiteX8" fmla="*/ 272525 w 1674120"/>
              <a:gd name="connsiteY8" fmla="*/ 1469990 h 1579642"/>
              <a:gd name="connsiteX9" fmla="*/ 512828 w 1674120"/>
              <a:gd name="connsiteY9" fmla="*/ 1469990 h 1579642"/>
              <a:gd name="connsiteX10" fmla="*/ 530259 w 1674120"/>
              <a:gd name="connsiteY10" fmla="*/ 1370428 h 1579642"/>
              <a:gd name="connsiteX11" fmla="*/ 242643 w 1674120"/>
              <a:gd name="connsiteY11" fmla="*/ 1370428 h 1579642"/>
              <a:gd name="connsiteX12" fmla="*/ 216496 w 1674120"/>
              <a:gd name="connsiteY12" fmla="*/ 1366695 h 1579642"/>
              <a:gd name="connsiteX13" fmla="*/ 825458 w 1674120"/>
              <a:gd name="connsiteY13" fmla="*/ 880082 h 1579642"/>
              <a:gd name="connsiteX14" fmla="*/ 719706 w 1674120"/>
              <a:gd name="connsiteY14" fmla="*/ 985384 h 1579642"/>
              <a:gd name="connsiteX15" fmla="*/ 825458 w 1674120"/>
              <a:gd name="connsiteY15" fmla="*/ 1091925 h 1579642"/>
              <a:gd name="connsiteX16" fmla="*/ 931210 w 1674120"/>
              <a:gd name="connsiteY16" fmla="*/ 985384 h 1579642"/>
              <a:gd name="connsiteX17" fmla="*/ 825458 w 1674120"/>
              <a:gd name="connsiteY17" fmla="*/ 880082 h 1579642"/>
              <a:gd name="connsiteX18" fmla="*/ 825458 w 1674120"/>
              <a:gd name="connsiteY18" fmla="*/ 840439 h 1579642"/>
              <a:gd name="connsiteX19" fmla="*/ 971023 w 1674120"/>
              <a:gd name="connsiteY19" fmla="*/ 985384 h 1579642"/>
              <a:gd name="connsiteX20" fmla="*/ 825458 w 1674120"/>
              <a:gd name="connsiteY20" fmla="*/ 1130329 h 1579642"/>
              <a:gd name="connsiteX21" fmla="*/ 681137 w 1674120"/>
              <a:gd name="connsiteY21" fmla="*/ 985384 h 1579642"/>
              <a:gd name="connsiteX22" fmla="*/ 825458 w 1674120"/>
              <a:gd name="connsiteY22" fmla="*/ 840439 h 1579642"/>
              <a:gd name="connsiteX23" fmla="*/ 800295 w 1674120"/>
              <a:gd name="connsiteY23" fmla="*/ 686631 h 1579642"/>
              <a:gd name="connsiteX24" fmla="*/ 857338 w 1674120"/>
              <a:gd name="connsiteY24" fmla="*/ 686631 h 1579642"/>
              <a:gd name="connsiteX25" fmla="*/ 877619 w 1674120"/>
              <a:gd name="connsiteY25" fmla="*/ 705273 h 1579642"/>
              <a:gd name="connsiteX26" fmla="*/ 857338 w 1674120"/>
              <a:gd name="connsiteY26" fmla="*/ 723915 h 1579642"/>
              <a:gd name="connsiteX27" fmla="*/ 800295 w 1674120"/>
              <a:gd name="connsiteY27" fmla="*/ 723915 h 1579642"/>
              <a:gd name="connsiteX28" fmla="*/ 780013 w 1674120"/>
              <a:gd name="connsiteY28" fmla="*/ 705273 h 1579642"/>
              <a:gd name="connsiteX29" fmla="*/ 800295 w 1674120"/>
              <a:gd name="connsiteY29" fmla="*/ 686631 h 1579642"/>
              <a:gd name="connsiteX30" fmla="*/ 760256 w 1674120"/>
              <a:gd name="connsiteY30" fmla="*/ 637193 h 1579642"/>
              <a:gd name="connsiteX31" fmla="*/ 898634 w 1674120"/>
              <a:gd name="connsiteY31" fmla="*/ 637193 h 1579642"/>
              <a:gd name="connsiteX32" fmla="*/ 916087 w 1674120"/>
              <a:gd name="connsiteY32" fmla="*/ 656420 h 1579642"/>
              <a:gd name="connsiteX33" fmla="*/ 898634 w 1674120"/>
              <a:gd name="connsiteY33" fmla="*/ 674445 h 1579642"/>
              <a:gd name="connsiteX34" fmla="*/ 760256 w 1674120"/>
              <a:gd name="connsiteY34" fmla="*/ 674445 h 1579642"/>
              <a:gd name="connsiteX35" fmla="*/ 741556 w 1674120"/>
              <a:gd name="connsiteY35" fmla="*/ 656420 h 1579642"/>
              <a:gd name="connsiteX36" fmla="*/ 760256 w 1674120"/>
              <a:gd name="connsiteY36" fmla="*/ 637193 h 1579642"/>
              <a:gd name="connsiteX37" fmla="*/ 758111 w 1674120"/>
              <a:gd name="connsiteY37" fmla="*/ 582649 h 1579642"/>
              <a:gd name="connsiteX38" fmla="*/ 758111 w 1674120"/>
              <a:gd name="connsiteY38" fmla="*/ 593850 h 1579642"/>
              <a:gd name="connsiteX39" fmla="*/ 891336 w 1674120"/>
              <a:gd name="connsiteY39" fmla="*/ 593850 h 1579642"/>
              <a:gd name="connsiteX40" fmla="*/ 891336 w 1674120"/>
              <a:gd name="connsiteY40" fmla="*/ 582649 h 1579642"/>
              <a:gd name="connsiteX41" fmla="*/ 1010122 w 1674120"/>
              <a:gd name="connsiteY41" fmla="*/ 529165 h 1579642"/>
              <a:gd name="connsiteX42" fmla="*/ 1023954 w 1674120"/>
              <a:gd name="connsiteY42" fmla="*/ 534658 h 1579642"/>
              <a:gd name="connsiteX43" fmla="*/ 1084310 w 1674120"/>
              <a:gd name="connsiteY43" fmla="*/ 592030 h 1579642"/>
              <a:gd name="connsiteX44" fmla="*/ 1084310 w 1674120"/>
              <a:gd name="connsiteY44" fmla="*/ 618884 h 1579642"/>
              <a:gd name="connsiteX45" fmla="*/ 1070478 w 1674120"/>
              <a:gd name="connsiteY45" fmla="*/ 624988 h 1579642"/>
              <a:gd name="connsiteX46" fmla="*/ 1056647 w 1674120"/>
              <a:gd name="connsiteY46" fmla="*/ 618884 h 1579642"/>
              <a:gd name="connsiteX47" fmla="*/ 996291 w 1674120"/>
              <a:gd name="connsiteY47" fmla="*/ 561513 h 1579642"/>
              <a:gd name="connsiteX48" fmla="*/ 996291 w 1674120"/>
              <a:gd name="connsiteY48" fmla="*/ 534658 h 1579642"/>
              <a:gd name="connsiteX49" fmla="*/ 1010122 w 1674120"/>
              <a:gd name="connsiteY49" fmla="*/ 529165 h 1579642"/>
              <a:gd name="connsiteX50" fmla="*/ 647787 w 1674120"/>
              <a:gd name="connsiteY50" fmla="*/ 529165 h 1579642"/>
              <a:gd name="connsiteX51" fmla="*/ 661455 w 1674120"/>
              <a:gd name="connsiteY51" fmla="*/ 534658 h 1579642"/>
              <a:gd name="connsiteX52" fmla="*/ 661455 w 1674120"/>
              <a:gd name="connsiteY52" fmla="*/ 561513 h 1579642"/>
              <a:gd name="connsiteX53" fmla="*/ 601815 w 1674120"/>
              <a:gd name="connsiteY53" fmla="*/ 618884 h 1579642"/>
              <a:gd name="connsiteX54" fmla="*/ 588147 w 1674120"/>
              <a:gd name="connsiteY54" fmla="*/ 624988 h 1579642"/>
              <a:gd name="connsiteX55" fmla="*/ 573237 w 1674120"/>
              <a:gd name="connsiteY55" fmla="*/ 618884 h 1579642"/>
              <a:gd name="connsiteX56" fmla="*/ 573237 w 1674120"/>
              <a:gd name="connsiteY56" fmla="*/ 592030 h 1579642"/>
              <a:gd name="connsiteX57" fmla="*/ 634119 w 1674120"/>
              <a:gd name="connsiteY57" fmla="*/ 534658 h 1579642"/>
              <a:gd name="connsiteX58" fmla="*/ 647787 w 1674120"/>
              <a:gd name="connsiteY58" fmla="*/ 529165 h 1579642"/>
              <a:gd name="connsiteX59" fmla="*/ 428162 w 1674120"/>
              <a:gd name="connsiteY59" fmla="*/ 495533 h 1579642"/>
              <a:gd name="connsiteX60" fmla="*/ 402015 w 1674120"/>
              <a:gd name="connsiteY60" fmla="*/ 511712 h 1579642"/>
              <a:gd name="connsiteX61" fmla="*/ 370887 w 1674120"/>
              <a:gd name="connsiteY61" fmla="*/ 668521 h 1579642"/>
              <a:gd name="connsiteX62" fmla="*/ 416956 w 1674120"/>
              <a:gd name="connsiteY62" fmla="*/ 712079 h 1579642"/>
              <a:gd name="connsiteX63" fmla="*/ 446838 w 1674120"/>
              <a:gd name="connsiteY63" fmla="*/ 723280 h 1579642"/>
              <a:gd name="connsiteX64" fmla="*/ 617416 w 1674120"/>
              <a:gd name="connsiteY64" fmla="*/ 723280 h 1579642"/>
              <a:gd name="connsiteX65" fmla="*/ 705817 w 1674120"/>
              <a:gd name="connsiteY65" fmla="*/ 800440 h 1579642"/>
              <a:gd name="connsiteX66" fmla="*/ 683406 w 1674120"/>
              <a:gd name="connsiteY66" fmla="*/ 866399 h 1579642"/>
              <a:gd name="connsiteX67" fmla="*/ 621151 w 1674120"/>
              <a:gd name="connsiteY67" fmla="*/ 893779 h 1579642"/>
              <a:gd name="connsiteX68" fmla="*/ 393299 w 1674120"/>
              <a:gd name="connsiteY68" fmla="*/ 893779 h 1579642"/>
              <a:gd name="connsiteX69" fmla="*/ 336025 w 1674120"/>
              <a:gd name="connsiteY69" fmla="*/ 870133 h 1579642"/>
              <a:gd name="connsiteX70" fmla="*/ 323574 w 1674120"/>
              <a:gd name="connsiteY70" fmla="*/ 858932 h 1579642"/>
              <a:gd name="connsiteX71" fmla="*/ 216496 w 1674120"/>
              <a:gd name="connsiteY71" fmla="*/ 1311936 h 1579642"/>
              <a:gd name="connsiteX72" fmla="*/ 220231 w 1674120"/>
              <a:gd name="connsiteY72" fmla="*/ 1321892 h 1579642"/>
              <a:gd name="connsiteX73" fmla="*/ 242643 w 1674120"/>
              <a:gd name="connsiteY73" fmla="*/ 1331848 h 1579642"/>
              <a:gd name="connsiteX74" fmla="*/ 536485 w 1674120"/>
              <a:gd name="connsiteY74" fmla="*/ 1331848 h 1579642"/>
              <a:gd name="connsiteX75" fmla="*/ 547691 w 1674120"/>
              <a:gd name="connsiteY75" fmla="*/ 1260911 h 1579642"/>
              <a:gd name="connsiteX76" fmla="*/ 646053 w 1674120"/>
              <a:gd name="connsiteY76" fmla="*/ 1163839 h 1579642"/>
              <a:gd name="connsiteX77" fmla="*/ 1022071 w 1674120"/>
              <a:gd name="connsiteY77" fmla="*/ 1163839 h 1579642"/>
              <a:gd name="connsiteX78" fmla="*/ 1120433 w 1674120"/>
              <a:gd name="connsiteY78" fmla="*/ 1260911 h 1579642"/>
              <a:gd name="connsiteX79" fmla="*/ 1130393 w 1674120"/>
              <a:gd name="connsiteY79" fmla="*/ 1331848 h 1579642"/>
              <a:gd name="connsiteX80" fmla="*/ 1410539 w 1674120"/>
              <a:gd name="connsiteY80" fmla="*/ 1331848 h 1579642"/>
              <a:gd name="connsiteX81" fmla="*/ 1432951 w 1674120"/>
              <a:gd name="connsiteY81" fmla="*/ 1321892 h 1579642"/>
              <a:gd name="connsiteX82" fmla="*/ 1436686 w 1674120"/>
              <a:gd name="connsiteY82" fmla="*/ 1311936 h 1579642"/>
              <a:gd name="connsiteX83" fmla="*/ 1332098 w 1674120"/>
              <a:gd name="connsiteY83" fmla="*/ 863910 h 1579642"/>
              <a:gd name="connsiteX84" fmla="*/ 1325873 w 1674120"/>
              <a:gd name="connsiteY84" fmla="*/ 870133 h 1579642"/>
              <a:gd name="connsiteX85" fmla="*/ 1269844 w 1674120"/>
              <a:gd name="connsiteY85" fmla="*/ 893779 h 1579642"/>
              <a:gd name="connsiteX86" fmla="*/ 1040747 w 1674120"/>
              <a:gd name="connsiteY86" fmla="*/ 893779 h 1579642"/>
              <a:gd name="connsiteX87" fmla="*/ 978492 w 1674120"/>
              <a:gd name="connsiteY87" fmla="*/ 866399 h 1579642"/>
              <a:gd name="connsiteX88" fmla="*/ 956081 w 1674120"/>
              <a:gd name="connsiteY88" fmla="*/ 800440 h 1579642"/>
              <a:gd name="connsiteX89" fmla="*/ 1044482 w 1674120"/>
              <a:gd name="connsiteY89" fmla="*/ 723280 h 1579642"/>
              <a:gd name="connsiteX90" fmla="*/ 1215060 w 1674120"/>
              <a:gd name="connsiteY90" fmla="*/ 723280 h 1579642"/>
              <a:gd name="connsiteX91" fmla="*/ 1243697 w 1674120"/>
              <a:gd name="connsiteY91" fmla="*/ 712079 h 1579642"/>
              <a:gd name="connsiteX92" fmla="*/ 1282295 w 1674120"/>
              <a:gd name="connsiteY92" fmla="*/ 675988 h 1579642"/>
              <a:gd name="connsiteX93" fmla="*/ 1249922 w 1674120"/>
              <a:gd name="connsiteY93" fmla="*/ 510468 h 1579642"/>
              <a:gd name="connsiteX94" fmla="*/ 1225021 w 1674120"/>
              <a:gd name="connsiteY94" fmla="*/ 495533 h 1579642"/>
              <a:gd name="connsiteX95" fmla="*/ 983473 w 1674120"/>
              <a:gd name="connsiteY95" fmla="*/ 495533 h 1579642"/>
              <a:gd name="connsiteX96" fmla="*/ 929934 w 1674120"/>
              <a:gd name="connsiteY96" fmla="*/ 540336 h 1579642"/>
              <a:gd name="connsiteX97" fmla="*/ 928689 w 1674120"/>
              <a:gd name="connsiteY97" fmla="*/ 544069 h 1579642"/>
              <a:gd name="connsiteX98" fmla="*/ 928689 w 1674120"/>
              <a:gd name="connsiteY98" fmla="*/ 596339 h 1579642"/>
              <a:gd name="connsiteX99" fmla="*/ 893826 w 1674120"/>
              <a:gd name="connsiteY99" fmla="*/ 633675 h 1579642"/>
              <a:gd name="connsiteX100" fmla="*/ 755621 w 1674120"/>
              <a:gd name="connsiteY100" fmla="*/ 633675 h 1579642"/>
              <a:gd name="connsiteX101" fmla="*/ 719513 w 1674120"/>
              <a:gd name="connsiteY101" fmla="*/ 596339 h 1579642"/>
              <a:gd name="connsiteX102" fmla="*/ 719513 w 1674120"/>
              <a:gd name="connsiteY102" fmla="*/ 544069 h 1579642"/>
              <a:gd name="connsiteX103" fmla="*/ 718268 w 1674120"/>
              <a:gd name="connsiteY103" fmla="*/ 540336 h 1579642"/>
              <a:gd name="connsiteX104" fmla="*/ 664729 w 1674120"/>
              <a:gd name="connsiteY104" fmla="*/ 495533 h 1579642"/>
              <a:gd name="connsiteX105" fmla="*/ 1090094 w 1674120"/>
              <a:gd name="connsiteY105" fmla="*/ 346063 h 1579642"/>
              <a:gd name="connsiteX106" fmla="*/ 1176007 w 1674120"/>
              <a:gd name="connsiteY106" fmla="*/ 346063 h 1579642"/>
              <a:gd name="connsiteX107" fmla="*/ 1196222 w 1674120"/>
              <a:gd name="connsiteY107" fmla="*/ 364086 h 1579642"/>
              <a:gd name="connsiteX108" fmla="*/ 1176007 w 1674120"/>
              <a:gd name="connsiteY108" fmla="*/ 383311 h 1579642"/>
              <a:gd name="connsiteX109" fmla="*/ 1090094 w 1674120"/>
              <a:gd name="connsiteY109" fmla="*/ 383311 h 1579642"/>
              <a:gd name="connsiteX110" fmla="*/ 1071143 w 1674120"/>
              <a:gd name="connsiteY110" fmla="*/ 364086 h 1579642"/>
              <a:gd name="connsiteX111" fmla="*/ 1090094 w 1674120"/>
              <a:gd name="connsiteY111" fmla="*/ 346063 h 1579642"/>
              <a:gd name="connsiteX112" fmla="*/ 486921 w 1674120"/>
              <a:gd name="connsiteY112" fmla="*/ 346063 h 1579642"/>
              <a:gd name="connsiteX113" fmla="*/ 571983 w 1674120"/>
              <a:gd name="connsiteY113" fmla="*/ 346063 h 1579642"/>
              <a:gd name="connsiteX114" fmla="*/ 591997 w 1674120"/>
              <a:gd name="connsiteY114" fmla="*/ 364086 h 1579642"/>
              <a:gd name="connsiteX115" fmla="*/ 571983 w 1674120"/>
              <a:gd name="connsiteY115" fmla="*/ 383311 h 1579642"/>
              <a:gd name="connsiteX116" fmla="*/ 486921 w 1674120"/>
              <a:gd name="connsiteY116" fmla="*/ 383311 h 1579642"/>
              <a:gd name="connsiteX117" fmla="*/ 466906 w 1674120"/>
              <a:gd name="connsiteY117" fmla="*/ 364086 h 1579642"/>
              <a:gd name="connsiteX118" fmla="*/ 486921 w 1674120"/>
              <a:gd name="connsiteY118" fmla="*/ 346063 h 1579642"/>
              <a:gd name="connsiteX119" fmla="*/ 1525808 w 1674120"/>
              <a:gd name="connsiteY119" fmla="*/ 275845 h 1579642"/>
              <a:gd name="connsiteX120" fmla="*/ 1418973 w 1674120"/>
              <a:gd name="connsiteY120" fmla="*/ 381147 h 1579642"/>
              <a:gd name="connsiteX121" fmla="*/ 1525808 w 1674120"/>
              <a:gd name="connsiteY121" fmla="*/ 487688 h 1579642"/>
              <a:gd name="connsiteX122" fmla="*/ 1633900 w 1674120"/>
              <a:gd name="connsiteY122" fmla="*/ 381147 h 1579642"/>
              <a:gd name="connsiteX123" fmla="*/ 1525808 w 1674120"/>
              <a:gd name="connsiteY123" fmla="*/ 275845 h 1579642"/>
              <a:gd name="connsiteX124" fmla="*/ 144946 w 1674120"/>
              <a:gd name="connsiteY124" fmla="*/ 275845 h 1579642"/>
              <a:gd name="connsiteX125" fmla="*/ 38404 w 1674120"/>
              <a:gd name="connsiteY125" fmla="*/ 381147 h 1579642"/>
              <a:gd name="connsiteX126" fmla="*/ 144946 w 1674120"/>
              <a:gd name="connsiteY126" fmla="*/ 487688 h 1579642"/>
              <a:gd name="connsiteX127" fmla="*/ 251487 w 1674120"/>
              <a:gd name="connsiteY127" fmla="*/ 381147 h 1579642"/>
              <a:gd name="connsiteX128" fmla="*/ 144946 w 1674120"/>
              <a:gd name="connsiteY128" fmla="*/ 275845 h 1579642"/>
              <a:gd name="connsiteX129" fmla="*/ 1525808 w 1674120"/>
              <a:gd name="connsiteY129" fmla="*/ 236202 h 1579642"/>
              <a:gd name="connsiteX130" fmla="*/ 1674120 w 1674120"/>
              <a:gd name="connsiteY130" fmla="*/ 381147 h 1579642"/>
              <a:gd name="connsiteX131" fmla="*/ 1525808 w 1674120"/>
              <a:gd name="connsiteY131" fmla="*/ 526092 h 1579642"/>
              <a:gd name="connsiteX132" fmla="*/ 1378753 w 1674120"/>
              <a:gd name="connsiteY132" fmla="*/ 381147 h 1579642"/>
              <a:gd name="connsiteX133" fmla="*/ 1525808 w 1674120"/>
              <a:gd name="connsiteY133" fmla="*/ 236202 h 1579642"/>
              <a:gd name="connsiteX134" fmla="*/ 144946 w 1674120"/>
              <a:gd name="connsiteY134" fmla="*/ 236202 h 1579642"/>
              <a:gd name="connsiteX135" fmla="*/ 289891 w 1674120"/>
              <a:gd name="connsiteY135" fmla="*/ 381147 h 1579642"/>
              <a:gd name="connsiteX136" fmla="*/ 144946 w 1674120"/>
              <a:gd name="connsiteY136" fmla="*/ 526092 h 1579642"/>
              <a:gd name="connsiteX137" fmla="*/ 0 w 1674120"/>
              <a:gd name="connsiteY137" fmla="*/ 381147 h 1579642"/>
              <a:gd name="connsiteX138" fmla="*/ 144946 w 1674120"/>
              <a:gd name="connsiteY138" fmla="*/ 236202 h 1579642"/>
              <a:gd name="connsiteX139" fmla="*/ 827416 w 1674120"/>
              <a:gd name="connsiteY139" fmla="*/ 208734 h 1579642"/>
              <a:gd name="connsiteX140" fmla="*/ 947065 w 1674120"/>
              <a:gd name="connsiteY140" fmla="*/ 269744 h 1579642"/>
              <a:gd name="connsiteX141" fmla="*/ 943326 w 1674120"/>
              <a:gd name="connsiteY141" fmla="*/ 297137 h 1579642"/>
              <a:gd name="connsiteX142" fmla="*/ 932109 w 1674120"/>
              <a:gd name="connsiteY142" fmla="*/ 300872 h 1579642"/>
              <a:gd name="connsiteX143" fmla="*/ 915906 w 1674120"/>
              <a:gd name="connsiteY143" fmla="*/ 293401 h 1579642"/>
              <a:gd name="connsiteX144" fmla="*/ 827416 w 1674120"/>
              <a:gd name="connsiteY144" fmla="*/ 247333 h 1579642"/>
              <a:gd name="connsiteX145" fmla="*/ 807475 w 1674120"/>
              <a:gd name="connsiteY145" fmla="*/ 227411 h 1579642"/>
              <a:gd name="connsiteX146" fmla="*/ 827416 w 1674120"/>
              <a:gd name="connsiteY146" fmla="*/ 208734 h 1579642"/>
              <a:gd name="connsiteX147" fmla="*/ 816630 w 1674120"/>
              <a:gd name="connsiteY147" fmla="*/ 190627 h 1579642"/>
              <a:gd name="connsiteX148" fmla="*/ 654768 w 1674120"/>
              <a:gd name="connsiteY148" fmla="*/ 354903 h 1579642"/>
              <a:gd name="connsiteX149" fmla="*/ 738190 w 1674120"/>
              <a:gd name="connsiteY149" fmla="*/ 506734 h 1579642"/>
              <a:gd name="connsiteX150" fmla="*/ 758111 w 1674120"/>
              <a:gd name="connsiteY150" fmla="*/ 544069 h 1579642"/>
              <a:gd name="connsiteX151" fmla="*/ 891336 w 1674120"/>
              <a:gd name="connsiteY151" fmla="*/ 544069 h 1579642"/>
              <a:gd name="connsiteX152" fmla="*/ 910012 w 1674120"/>
              <a:gd name="connsiteY152" fmla="*/ 506734 h 1579642"/>
              <a:gd name="connsiteX153" fmla="*/ 993433 w 1674120"/>
              <a:gd name="connsiteY153" fmla="*/ 361126 h 1579642"/>
              <a:gd name="connsiteX154" fmla="*/ 941139 w 1674120"/>
              <a:gd name="connsiteY154" fmla="*/ 236674 h 1579642"/>
              <a:gd name="connsiteX155" fmla="*/ 816630 w 1674120"/>
              <a:gd name="connsiteY155" fmla="*/ 190627 h 1579642"/>
              <a:gd name="connsiteX156" fmla="*/ 814140 w 1674120"/>
              <a:gd name="connsiteY156" fmla="*/ 150802 h 1579642"/>
              <a:gd name="connsiteX157" fmla="*/ 968532 w 1674120"/>
              <a:gd name="connsiteY157" fmla="*/ 209295 h 1579642"/>
              <a:gd name="connsiteX158" fmla="*/ 1033276 w 1674120"/>
              <a:gd name="connsiteY158" fmla="*/ 361126 h 1579642"/>
              <a:gd name="connsiteX159" fmla="*/ 1009620 w 1674120"/>
              <a:gd name="connsiteY159" fmla="*/ 455709 h 1579642"/>
              <a:gd name="connsiteX160" fmla="*/ 1225021 w 1674120"/>
              <a:gd name="connsiteY160" fmla="*/ 455709 h 1579642"/>
              <a:gd name="connsiteX161" fmla="*/ 1288520 w 1674120"/>
              <a:gd name="connsiteY161" fmla="*/ 501756 h 1579642"/>
              <a:gd name="connsiteX162" fmla="*/ 1317157 w 1674120"/>
              <a:gd name="connsiteY162" fmla="*/ 644875 h 1579642"/>
              <a:gd name="connsiteX163" fmla="*/ 1394353 w 1674120"/>
              <a:gd name="connsiteY163" fmla="*/ 572693 h 1579642"/>
              <a:gd name="connsiteX164" fmla="*/ 1452872 w 1674120"/>
              <a:gd name="connsiteY164" fmla="*/ 550292 h 1579642"/>
              <a:gd name="connsiteX165" fmla="*/ 1525088 w 1674120"/>
              <a:gd name="connsiteY165" fmla="*/ 550292 h 1579642"/>
              <a:gd name="connsiteX166" fmla="*/ 1624695 w 1674120"/>
              <a:gd name="connsiteY166" fmla="*/ 648609 h 1579642"/>
              <a:gd name="connsiteX167" fmla="*/ 1624695 w 1674120"/>
              <a:gd name="connsiteY167" fmla="*/ 1070500 h 1579642"/>
              <a:gd name="connsiteX168" fmla="*/ 1604773 w 1674120"/>
              <a:gd name="connsiteY168" fmla="*/ 1090412 h 1579642"/>
              <a:gd name="connsiteX169" fmla="*/ 1584852 w 1674120"/>
              <a:gd name="connsiteY169" fmla="*/ 1070500 h 1579642"/>
              <a:gd name="connsiteX170" fmla="*/ 1584852 w 1674120"/>
              <a:gd name="connsiteY170" fmla="*/ 648609 h 1579642"/>
              <a:gd name="connsiteX171" fmla="*/ 1525088 w 1674120"/>
              <a:gd name="connsiteY171" fmla="*/ 588872 h 1579642"/>
              <a:gd name="connsiteX172" fmla="*/ 1452872 w 1674120"/>
              <a:gd name="connsiteY172" fmla="*/ 588872 h 1579642"/>
              <a:gd name="connsiteX173" fmla="*/ 1420500 w 1674120"/>
              <a:gd name="connsiteY173" fmla="*/ 601317 h 1579642"/>
              <a:gd name="connsiteX174" fmla="*/ 1272334 w 1674120"/>
              <a:gd name="connsiteY174" fmla="*/ 739459 h 1579642"/>
              <a:gd name="connsiteX175" fmla="*/ 1215060 w 1674120"/>
              <a:gd name="connsiteY175" fmla="*/ 763104 h 1579642"/>
              <a:gd name="connsiteX176" fmla="*/ 1044482 w 1674120"/>
              <a:gd name="connsiteY176" fmla="*/ 763104 h 1579642"/>
              <a:gd name="connsiteX177" fmla="*/ 995924 w 1674120"/>
              <a:gd name="connsiteY177" fmla="*/ 804173 h 1579642"/>
              <a:gd name="connsiteX178" fmla="*/ 1007129 w 1674120"/>
              <a:gd name="connsiteY178" fmla="*/ 839020 h 1579642"/>
              <a:gd name="connsiteX179" fmla="*/ 1040747 w 1674120"/>
              <a:gd name="connsiteY179" fmla="*/ 855199 h 1579642"/>
              <a:gd name="connsiteX180" fmla="*/ 1269844 w 1674120"/>
              <a:gd name="connsiteY180" fmla="*/ 855199 h 1579642"/>
              <a:gd name="connsiteX181" fmla="*/ 1298481 w 1674120"/>
              <a:gd name="connsiteY181" fmla="*/ 842753 h 1579642"/>
              <a:gd name="connsiteX182" fmla="*/ 1487735 w 1674120"/>
              <a:gd name="connsiteY182" fmla="*/ 653587 h 1579642"/>
              <a:gd name="connsiteX183" fmla="*/ 1515127 w 1674120"/>
              <a:gd name="connsiteY183" fmla="*/ 653587 h 1579642"/>
              <a:gd name="connsiteX184" fmla="*/ 1515127 w 1674120"/>
              <a:gd name="connsiteY184" fmla="*/ 680966 h 1579642"/>
              <a:gd name="connsiteX185" fmla="*/ 1415519 w 1674120"/>
              <a:gd name="connsiteY185" fmla="*/ 780528 h 1579642"/>
              <a:gd name="connsiteX186" fmla="*/ 1415519 w 1674120"/>
              <a:gd name="connsiteY186" fmla="*/ 781772 h 1579642"/>
              <a:gd name="connsiteX187" fmla="*/ 1384392 w 1674120"/>
              <a:gd name="connsiteY187" fmla="*/ 904979 h 1579642"/>
              <a:gd name="connsiteX188" fmla="*/ 1381902 w 1674120"/>
              <a:gd name="connsiteY188" fmla="*/ 909957 h 1579642"/>
              <a:gd name="connsiteX189" fmla="*/ 1474039 w 1674120"/>
              <a:gd name="connsiteY189" fmla="*/ 1301980 h 1579642"/>
              <a:gd name="connsiteX190" fmla="*/ 1475284 w 1674120"/>
              <a:gd name="connsiteY190" fmla="*/ 1318159 h 1579642"/>
              <a:gd name="connsiteX191" fmla="*/ 1475284 w 1674120"/>
              <a:gd name="connsiteY191" fmla="*/ 1323137 h 1579642"/>
              <a:gd name="connsiteX192" fmla="*/ 1475284 w 1674120"/>
              <a:gd name="connsiteY192" fmla="*/ 1426432 h 1579642"/>
              <a:gd name="connsiteX193" fmla="*/ 1379412 w 1674120"/>
              <a:gd name="connsiteY193" fmla="*/ 1509814 h 1579642"/>
              <a:gd name="connsiteX194" fmla="*/ 1156540 w 1674120"/>
              <a:gd name="connsiteY194" fmla="*/ 1509814 h 1579642"/>
              <a:gd name="connsiteX195" fmla="*/ 1161521 w 1674120"/>
              <a:gd name="connsiteY195" fmla="*/ 1557106 h 1579642"/>
              <a:gd name="connsiteX196" fmla="*/ 1145335 w 1674120"/>
              <a:gd name="connsiteY196" fmla="*/ 1579507 h 1579642"/>
              <a:gd name="connsiteX197" fmla="*/ 1122923 w 1674120"/>
              <a:gd name="connsiteY197" fmla="*/ 1562084 h 1579642"/>
              <a:gd name="connsiteX198" fmla="*/ 1081835 w 1674120"/>
              <a:gd name="connsiteY198" fmla="*/ 1265889 h 1579642"/>
              <a:gd name="connsiteX199" fmla="*/ 1022071 w 1674120"/>
              <a:gd name="connsiteY199" fmla="*/ 1203663 h 1579642"/>
              <a:gd name="connsiteX200" fmla="*/ 646053 w 1674120"/>
              <a:gd name="connsiteY200" fmla="*/ 1203663 h 1579642"/>
              <a:gd name="connsiteX201" fmla="*/ 586288 w 1674120"/>
              <a:gd name="connsiteY201" fmla="*/ 1268378 h 1579642"/>
              <a:gd name="connsiteX202" fmla="*/ 571347 w 1674120"/>
              <a:gd name="connsiteY202" fmla="*/ 1354250 h 1579642"/>
              <a:gd name="connsiteX203" fmla="*/ 571347 w 1674120"/>
              <a:gd name="connsiteY203" fmla="*/ 1355494 h 1579642"/>
              <a:gd name="connsiteX204" fmla="*/ 537730 w 1674120"/>
              <a:gd name="connsiteY204" fmla="*/ 1563328 h 1579642"/>
              <a:gd name="connsiteX205" fmla="*/ 517808 w 1674120"/>
              <a:gd name="connsiteY205" fmla="*/ 1579507 h 1579642"/>
              <a:gd name="connsiteX206" fmla="*/ 514073 w 1674120"/>
              <a:gd name="connsiteY206" fmla="*/ 1579507 h 1579642"/>
              <a:gd name="connsiteX207" fmla="*/ 497887 w 1674120"/>
              <a:gd name="connsiteY207" fmla="*/ 1555861 h 1579642"/>
              <a:gd name="connsiteX208" fmla="*/ 506603 w 1674120"/>
              <a:gd name="connsiteY208" fmla="*/ 1509814 h 1579642"/>
              <a:gd name="connsiteX209" fmla="*/ 272525 w 1674120"/>
              <a:gd name="connsiteY209" fmla="*/ 1509814 h 1579642"/>
              <a:gd name="connsiteX210" fmla="*/ 176653 w 1674120"/>
              <a:gd name="connsiteY210" fmla="*/ 1426432 h 1579642"/>
              <a:gd name="connsiteX211" fmla="*/ 176653 w 1674120"/>
              <a:gd name="connsiteY211" fmla="*/ 1323137 h 1579642"/>
              <a:gd name="connsiteX212" fmla="*/ 177898 w 1674120"/>
              <a:gd name="connsiteY212" fmla="*/ 1318159 h 1579642"/>
              <a:gd name="connsiteX213" fmla="*/ 179143 w 1674120"/>
              <a:gd name="connsiteY213" fmla="*/ 1301980 h 1579642"/>
              <a:gd name="connsiteX214" fmla="*/ 275015 w 1674120"/>
              <a:gd name="connsiteY214" fmla="*/ 896268 h 1579642"/>
              <a:gd name="connsiteX215" fmla="*/ 247623 w 1674120"/>
              <a:gd name="connsiteY215" fmla="*/ 781772 h 1579642"/>
              <a:gd name="connsiteX216" fmla="*/ 246378 w 1674120"/>
              <a:gd name="connsiteY216" fmla="*/ 780528 h 1579642"/>
              <a:gd name="connsiteX217" fmla="*/ 146771 w 1674120"/>
              <a:gd name="connsiteY217" fmla="*/ 680966 h 1579642"/>
              <a:gd name="connsiteX218" fmla="*/ 146771 w 1674120"/>
              <a:gd name="connsiteY218" fmla="*/ 653587 h 1579642"/>
              <a:gd name="connsiteX219" fmla="*/ 175408 w 1674120"/>
              <a:gd name="connsiteY219" fmla="*/ 653587 h 1579642"/>
              <a:gd name="connsiteX220" fmla="*/ 363417 w 1674120"/>
              <a:gd name="connsiteY220" fmla="*/ 842753 h 1579642"/>
              <a:gd name="connsiteX221" fmla="*/ 393299 w 1674120"/>
              <a:gd name="connsiteY221" fmla="*/ 855199 h 1579642"/>
              <a:gd name="connsiteX222" fmla="*/ 621151 w 1674120"/>
              <a:gd name="connsiteY222" fmla="*/ 855199 h 1579642"/>
              <a:gd name="connsiteX223" fmla="*/ 654768 w 1674120"/>
              <a:gd name="connsiteY223" fmla="*/ 839020 h 1579642"/>
              <a:gd name="connsiteX224" fmla="*/ 667219 w 1674120"/>
              <a:gd name="connsiteY224" fmla="*/ 804173 h 1579642"/>
              <a:gd name="connsiteX225" fmla="*/ 617416 w 1674120"/>
              <a:gd name="connsiteY225" fmla="*/ 763104 h 1579642"/>
              <a:gd name="connsiteX226" fmla="*/ 446838 w 1674120"/>
              <a:gd name="connsiteY226" fmla="*/ 763104 h 1579642"/>
              <a:gd name="connsiteX227" fmla="*/ 389564 w 1674120"/>
              <a:gd name="connsiteY227" fmla="*/ 739459 h 1579642"/>
              <a:gd name="connsiteX228" fmla="*/ 241398 w 1674120"/>
              <a:gd name="connsiteY228" fmla="*/ 601317 h 1579642"/>
              <a:gd name="connsiteX229" fmla="*/ 209026 w 1674120"/>
              <a:gd name="connsiteY229" fmla="*/ 588872 h 1579642"/>
              <a:gd name="connsiteX230" fmla="*/ 136810 w 1674120"/>
              <a:gd name="connsiteY230" fmla="*/ 588872 h 1579642"/>
              <a:gd name="connsiteX231" fmla="*/ 77046 w 1674120"/>
              <a:gd name="connsiteY231" fmla="*/ 648609 h 1579642"/>
              <a:gd name="connsiteX232" fmla="*/ 77046 w 1674120"/>
              <a:gd name="connsiteY232" fmla="*/ 1070500 h 1579642"/>
              <a:gd name="connsiteX233" fmla="*/ 58369 w 1674120"/>
              <a:gd name="connsiteY233" fmla="*/ 1090412 h 1579642"/>
              <a:gd name="connsiteX234" fmla="*/ 38448 w 1674120"/>
              <a:gd name="connsiteY234" fmla="*/ 1070500 h 1579642"/>
              <a:gd name="connsiteX235" fmla="*/ 38448 w 1674120"/>
              <a:gd name="connsiteY235" fmla="*/ 648609 h 1579642"/>
              <a:gd name="connsiteX236" fmla="*/ 136810 w 1674120"/>
              <a:gd name="connsiteY236" fmla="*/ 550292 h 1579642"/>
              <a:gd name="connsiteX237" fmla="*/ 209026 w 1674120"/>
              <a:gd name="connsiteY237" fmla="*/ 550292 h 1579642"/>
              <a:gd name="connsiteX238" fmla="*/ 268790 w 1674120"/>
              <a:gd name="connsiteY238" fmla="*/ 572693 h 1579642"/>
              <a:gd name="connsiteX239" fmla="*/ 337270 w 1674120"/>
              <a:gd name="connsiteY239" fmla="*/ 637408 h 1579642"/>
              <a:gd name="connsiteX240" fmla="*/ 363417 w 1674120"/>
              <a:gd name="connsiteY240" fmla="*/ 503000 h 1579642"/>
              <a:gd name="connsiteX241" fmla="*/ 428162 w 1674120"/>
              <a:gd name="connsiteY241" fmla="*/ 455709 h 1579642"/>
              <a:gd name="connsiteX242" fmla="*/ 638582 w 1674120"/>
              <a:gd name="connsiteY242" fmla="*/ 455709 h 1579642"/>
              <a:gd name="connsiteX243" fmla="*/ 616171 w 1674120"/>
              <a:gd name="connsiteY243" fmla="*/ 353658 h 1579642"/>
              <a:gd name="connsiteX244" fmla="*/ 814140 w 1674120"/>
              <a:gd name="connsiteY244" fmla="*/ 150802 h 1579642"/>
              <a:gd name="connsiteX245" fmla="*/ 1070479 w 1674120"/>
              <a:gd name="connsiteY245" fmla="*/ 100762 h 1579642"/>
              <a:gd name="connsiteX246" fmla="*/ 1084310 w 1674120"/>
              <a:gd name="connsiteY246" fmla="*/ 106420 h 1579642"/>
              <a:gd name="connsiteX247" fmla="*/ 1084310 w 1674120"/>
              <a:gd name="connsiteY247" fmla="*/ 135342 h 1579642"/>
              <a:gd name="connsiteX248" fmla="*/ 1023954 w 1674120"/>
              <a:gd name="connsiteY248" fmla="*/ 195700 h 1579642"/>
              <a:gd name="connsiteX249" fmla="*/ 1010122 w 1674120"/>
              <a:gd name="connsiteY249" fmla="*/ 201988 h 1579642"/>
              <a:gd name="connsiteX250" fmla="*/ 996291 w 1674120"/>
              <a:gd name="connsiteY250" fmla="*/ 195700 h 1579642"/>
              <a:gd name="connsiteX251" fmla="*/ 996291 w 1674120"/>
              <a:gd name="connsiteY251" fmla="*/ 168036 h 1579642"/>
              <a:gd name="connsiteX252" fmla="*/ 1056647 w 1674120"/>
              <a:gd name="connsiteY252" fmla="*/ 106420 h 1579642"/>
              <a:gd name="connsiteX253" fmla="*/ 1070479 w 1674120"/>
              <a:gd name="connsiteY253" fmla="*/ 100762 h 1579642"/>
              <a:gd name="connsiteX254" fmla="*/ 587526 w 1674120"/>
              <a:gd name="connsiteY254" fmla="*/ 100762 h 1579642"/>
              <a:gd name="connsiteX255" fmla="*/ 601815 w 1674120"/>
              <a:gd name="connsiteY255" fmla="*/ 106420 h 1579642"/>
              <a:gd name="connsiteX256" fmla="*/ 661455 w 1674120"/>
              <a:gd name="connsiteY256" fmla="*/ 168036 h 1579642"/>
              <a:gd name="connsiteX257" fmla="*/ 661455 w 1674120"/>
              <a:gd name="connsiteY257" fmla="*/ 195700 h 1579642"/>
              <a:gd name="connsiteX258" fmla="*/ 647787 w 1674120"/>
              <a:gd name="connsiteY258" fmla="*/ 201988 h 1579642"/>
              <a:gd name="connsiteX259" fmla="*/ 634119 w 1674120"/>
              <a:gd name="connsiteY259" fmla="*/ 195700 h 1579642"/>
              <a:gd name="connsiteX260" fmla="*/ 573237 w 1674120"/>
              <a:gd name="connsiteY260" fmla="*/ 135342 h 1579642"/>
              <a:gd name="connsiteX261" fmla="*/ 573237 w 1674120"/>
              <a:gd name="connsiteY261" fmla="*/ 106420 h 1579642"/>
              <a:gd name="connsiteX262" fmla="*/ 587526 w 1674120"/>
              <a:gd name="connsiteY262" fmla="*/ 100762 h 1579642"/>
              <a:gd name="connsiteX263" fmla="*/ 832195 w 1674120"/>
              <a:gd name="connsiteY263" fmla="*/ 0 h 1579642"/>
              <a:gd name="connsiteX264" fmla="*/ 850217 w 1674120"/>
              <a:gd name="connsiteY264" fmla="*/ 20014 h 1579642"/>
              <a:gd name="connsiteX265" fmla="*/ 850217 w 1674120"/>
              <a:gd name="connsiteY265" fmla="*/ 105077 h 1579642"/>
              <a:gd name="connsiteX266" fmla="*/ 832195 w 1674120"/>
              <a:gd name="connsiteY266" fmla="*/ 125091 h 1579642"/>
              <a:gd name="connsiteX267" fmla="*/ 812970 w 1674120"/>
              <a:gd name="connsiteY267" fmla="*/ 105077 h 1579642"/>
              <a:gd name="connsiteX268" fmla="*/ 812970 w 1674120"/>
              <a:gd name="connsiteY268" fmla="*/ 20014 h 1579642"/>
              <a:gd name="connsiteX269" fmla="*/ 832195 w 1674120"/>
              <a:gd name="connsiteY269" fmla="*/ 0 h 157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74120" h="1579642">
                <a:moveTo>
                  <a:pt x="1436686" y="1366695"/>
                </a:moveTo>
                <a:cubicBezTo>
                  <a:pt x="1429215" y="1369184"/>
                  <a:pt x="1419255" y="1370428"/>
                  <a:pt x="1410539" y="1370428"/>
                </a:cubicBezTo>
                <a:lnTo>
                  <a:pt x="1136619" y="1370428"/>
                </a:lnTo>
                <a:lnTo>
                  <a:pt x="1150315" y="1469990"/>
                </a:lnTo>
                <a:lnTo>
                  <a:pt x="1379412" y="1469990"/>
                </a:lnTo>
                <a:cubicBezTo>
                  <a:pt x="1410539" y="1469990"/>
                  <a:pt x="1436686" y="1450077"/>
                  <a:pt x="1436686" y="1426432"/>
                </a:cubicBezTo>
                <a:close/>
                <a:moveTo>
                  <a:pt x="216496" y="1366695"/>
                </a:moveTo>
                <a:lnTo>
                  <a:pt x="216496" y="1426432"/>
                </a:lnTo>
                <a:cubicBezTo>
                  <a:pt x="216496" y="1450077"/>
                  <a:pt x="241398" y="1469990"/>
                  <a:pt x="272525" y="1469990"/>
                </a:cubicBezTo>
                <a:lnTo>
                  <a:pt x="512828" y="1469990"/>
                </a:lnTo>
                <a:lnTo>
                  <a:pt x="530259" y="1370428"/>
                </a:lnTo>
                <a:lnTo>
                  <a:pt x="242643" y="1370428"/>
                </a:lnTo>
                <a:cubicBezTo>
                  <a:pt x="233927" y="1370428"/>
                  <a:pt x="223967" y="1369184"/>
                  <a:pt x="216496" y="1366695"/>
                </a:cubicBezTo>
                <a:close/>
                <a:moveTo>
                  <a:pt x="825458" y="880082"/>
                </a:moveTo>
                <a:cubicBezTo>
                  <a:pt x="766983" y="880082"/>
                  <a:pt x="719706" y="927159"/>
                  <a:pt x="719706" y="985384"/>
                </a:cubicBezTo>
                <a:cubicBezTo>
                  <a:pt x="719706" y="1044849"/>
                  <a:pt x="766983" y="1091925"/>
                  <a:pt x="825458" y="1091925"/>
                </a:cubicBezTo>
                <a:cubicBezTo>
                  <a:pt x="883933" y="1091925"/>
                  <a:pt x="931210" y="1044849"/>
                  <a:pt x="931210" y="985384"/>
                </a:cubicBezTo>
                <a:cubicBezTo>
                  <a:pt x="931210" y="927159"/>
                  <a:pt x="883933" y="880082"/>
                  <a:pt x="825458" y="880082"/>
                </a:cubicBezTo>
                <a:close/>
                <a:moveTo>
                  <a:pt x="825458" y="840439"/>
                </a:moveTo>
                <a:cubicBezTo>
                  <a:pt x="905083" y="840439"/>
                  <a:pt x="971023" y="904859"/>
                  <a:pt x="971023" y="985384"/>
                </a:cubicBezTo>
                <a:cubicBezTo>
                  <a:pt x="971023" y="1065909"/>
                  <a:pt x="905083" y="1130329"/>
                  <a:pt x="825458" y="1130329"/>
                </a:cubicBezTo>
                <a:cubicBezTo>
                  <a:pt x="745833" y="1130329"/>
                  <a:pt x="681137" y="1065909"/>
                  <a:pt x="681137" y="985384"/>
                </a:cubicBezTo>
                <a:cubicBezTo>
                  <a:pt x="681137" y="904859"/>
                  <a:pt x="745833" y="840439"/>
                  <a:pt x="825458" y="840439"/>
                </a:cubicBezTo>
                <a:close/>
                <a:moveTo>
                  <a:pt x="800295" y="686631"/>
                </a:moveTo>
                <a:lnTo>
                  <a:pt x="857338" y="686631"/>
                </a:lnTo>
                <a:cubicBezTo>
                  <a:pt x="870014" y="686631"/>
                  <a:pt x="877619" y="694787"/>
                  <a:pt x="877619" y="705273"/>
                </a:cubicBezTo>
                <a:cubicBezTo>
                  <a:pt x="877619" y="715759"/>
                  <a:pt x="870014" y="723915"/>
                  <a:pt x="857338" y="723915"/>
                </a:cubicBezTo>
                <a:lnTo>
                  <a:pt x="800295" y="723915"/>
                </a:lnTo>
                <a:cubicBezTo>
                  <a:pt x="787619" y="723915"/>
                  <a:pt x="780013" y="715759"/>
                  <a:pt x="780013" y="705273"/>
                </a:cubicBezTo>
                <a:cubicBezTo>
                  <a:pt x="780013" y="694787"/>
                  <a:pt x="787619" y="686631"/>
                  <a:pt x="800295" y="686631"/>
                </a:cubicBezTo>
                <a:close/>
                <a:moveTo>
                  <a:pt x="760256" y="637193"/>
                </a:moveTo>
                <a:lnTo>
                  <a:pt x="898634" y="637193"/>
                </a:lnTo>
                <a:cubicBezTo>
                  <a:pt x="907361" y="637193"/>
                  <a:pt x="916087" y="645605"/>
                  <a:pt x="916087" y="656420"/>
                </a:cubicBezTo>
                <a:cubicBezTo>
                  <a:pt x="916087" y="666033"/>
                  <a:pt x="907361" y="674445"/>
                  <a:pt x="898634" y="674445"/>
                </a:cubicBezTo>
                <a:lnTo>
                  <a:pt x="760256" y="674445"/>
                </a:lnTo>
                <a:cubicBezTo>
                  <a:pt x="750283" y="674445"/>
                  <a:pt x="741556" y="666033"/>
                  <a:pt x="741556" y="656420"/>
                </a:cubicBezTo>
                <a:cubicBezTo>
                  <a:pt x="741556" y="645605"/>
                  <a:pt x="750283" y="637193"/>
                  <a:pt x="760256" y="637193"/>
                </a:cubicBezTo>
                <a:close/>
                <a:moveTo>
                  <a:pt x="758111" y="582649"/>
                </a:moveTo>
                <a:lnTo>
                  <a:pt x="758111" y="593850"/>
                </a:lnTo>
                <a:lnTo>
                  <a:pt x="891336" y="593850"/>
                </a:lnTo>
                <a:lnTo>
                  <a:pt x="891336" y="582649"/>
                </a:lnTo>
                <a:close/>
                <a:moveTo>
                  <a:pt x="1010122" y="529165"/>
                </a:moveTo>
                <a:cubicBezTo>
                  <a:pt x="1015152" y="529165"/>
                  <a:pt x="1020181" y="530996"/>
                  <a:pt x="1023954" y="534658"/>
                </a:cubicBezTo>
                <a:lnTo>
                  <a:pt x="1084310" y="592030"/>
                </a:lnTo>
                <a:cubicBezTo>
                  <a:pt x="1091855" y="599354"/>
                  <a:pt x="1091855" y="611560"/>
                  <a:pt x="1084310" y="618884"/>
                </a:cubicBezTo>
                <a:cubicBezTo>
                  <a:pt x="1080538" y="622546"/>
                  <a:pt x="1075508" y="624988"/>
                  <a:pt x="1070478" y="624988"/>
                </a:cubicBezTo>
                <a:cubicBezTo>
                  <a:pt x="1065449" y="624988"/>
                  <a:pt x="1060419" y="622546"/>
                  <a:pt x="1056647" y="618884"/>
                </a:cubicBezTo>
                <a:lnTo>
                  <a:pt x="996291" y="561513"/>
                </a:lnTo>
                <a:cubicBezTo>
                  <a:pt x="988746" y="554189"/>
                  <a:pt x="988746" y="541982"/>
                  <a:pt x="996291" y="534658"/>
                </a:cubicBezTo>
                <a:cubicBezTo>
                  <a:pt x="1000063" y="530996"/>
                  <a:pt x="1005092" y="529165"/>
                  <a:pt x="1010122" y="529165"/>
                </a:cubicBezTo>
                <a:close/>
                <a:moveTo>
                  <a:pt x="647787" y="529165"/>
                </a:moveTo>
                <a:cubicBezTo>
                  <a:pt x="652757" y="529165"/>
                  <a:pt x="657727" y="530996"/>
                  <a:pt x="661455" y="534658"/>
                </a:cubicBezTo>
                <a:cubicBezTo>
                  <a:pt x="668909" y="541982"/>
                  <a:pt x="668909" y="554189"/>
                  <a:pt x="661455" y="561513"/>
                </a:cubicBezTo>
                <a:lnTo>
                  <a:pt x="601815" y="618884"/>
                </a:lnTo>
                <a:cubicBezTo>
                  <a:pt x="598087" y="622546"/>
                  <a:pt x="593117" y="624988"/>
                  <a:pt x="588147" y="624988"/>
                </a:cubicBezTo>
                <a:cubicBezTo>
                  <a:pt x="583177" y="624988"/>
                  <a:pt x="578207" y="622546"/>
                  <a:pt x="573237" y="618884"/>
                </a:cubicBezTo>
                <a:cubicBezTo>
                  <a:pt x="565782" y="611560"/>
                  <a:pt x="565782" y="599354"/>
                  <a:pt x="573237" y="592030"/>
                </a:cubicBezTo>
                <a:lnTo>
                  <a:pt x="634119" y="534658"/>
                </a:lnTo>
                <a:cubicBezTo>
                  <a:pt x="637847" y="530996"/>
                  <a:pt x="642817" y="529165"/>
                  <a:pt x="647787" y="529165"/>
                </a:cubicBezTo>
                <a:close/>
                <a:moveTo>
                  <a:pt x="428162" y="495533"/>
                </a:moveTo>
                <a:cubicBezTo>
                  <a:pt x="415711" y="495533"/>
                  <a:pt x="404505" y="503000"/>
                  <a:pt x="402015" y="511712"/>
                </a:cubicBezTo>
                <a:lnTo>
                  <a:pt x="370887" y="668521"/>
                </a:lnTo>
                <a:lnTo>
                  <a:pt x="416956" y="712079"/>
                </a:lnTo>
                <a:cubicBezTo>
                  <a:pt x="425672" y="719546"/>
                  <a:pt x="435632" y="723280"/>
                  <a:pt x="446838" y="723280"/>
                </a:cubicBezTo>
                <a:lnTo>
                  <a:pt x="617416" y="723280"/>
                </a:lnTo>
                <a:cubicBezTo>
                  <a:pt x="663484" y="723280"/>
                  <a:pt x="700837" y="758126"/>
                  <a:pt x="705817" y="800440"/>
                </a:cubicBezTo>
                <a:cubicBezTo>
                  <a:pt x="708307" y="824086"/>
                  <a:pt x="699592" y="847731"/>
                  <a:pt x="683406" y="866399"/>
                </a:cubicBezTo>
                <a:cubicBezTo>
                  <a:pt x="667219" y="883822"/>
                  <a:pt x="644808" y="893779"/>
                  <a:pt x="621151" y="893779"/>
                </a:cubicBezTo>
                <a:lnTo>
                  <a:pt x="393299" y="893779"/>
                </a:lnTo>
                <a:cubicBezTo>
                  <a:pt x="370887" y="893779"/>
                  <a:pt x="350966" y="885067"/>
                  <a:pt x="336025" y="870133"/>
                </a:cubicBezTo>
                <a:lnTo>
                  <a:pt x="323574" y="858932"/>
                </a:lnTo>
                <a:lnTo>
                  <a:pt x="216496" y="1311936"/>
                </a:lnTo>
                <a:cubicBezTo>
                  <a:pt x="216496" y="1314425"/>
                  <a:pt x="216496" y="1318159"/>
                  <a:pt x="220231" y="1321892"/>
                </a:cubicBezTo>
                <a:cubicBezTo>
                  <a:pt x="223967" y="1328115"/>
                  <a:pt x="233927" y="1331848"/>
                  <a:pt x="242643" y="1331848"/>
                </a:cubicBezTo>
                <a:lnTo>
                  <a:pt x="536485" y="1331848"/>
                </a:lnTo>
                <a:lnTo>
                  <a:pt x="547691" y="1260911"/>
                </a:lnTo>
                <a:cubicBezTo>
                  <a:pt x="561387" y="1198685"/>
                  <a:pt x="597494" y="1163839"/>
                  <a:pt x="646053" y="1163839"/>
                </a:cubicBezTo>
                <a:lnTo>
                  <a:pt x="1022071" y="1163839"/>
                </a:lnTo>
                <a:cubicBezTo>
                  <a:pt x="1073119" y="1163839"/>
                  <a:pt x="1112962" y="1203663"/>
                  <a:pt x="1120433" y="1260911"/>
                </a:cubicBezTo>
                <a:lnTo>
                  <a:pt x="1130393" y="1331848"/>
                </a:lnTo>
                <a:lnTo>
                  <a:pt x="1410539" y="1331848"/>
                </a:lnTo>
                <a:cubicBezTo>
                  <a:pt x="1419255" y="1331848"/>
                  <a:pt x="1429215" y="1328115"/>
                  <a:pt x="1432951" y="1321892"/>
                </a:cubicBezTo>
                <a:cubicBezTo>
                  <a:pt x="1436686" y="1318159"/>
                  <a:pt x="1436686" y="1314425"/>
                  <a:pt x="1436686" y="1311936"/>
                </a:cubicBezTo>
                <a:lnTo>
                  <a:pt x="1332098" y="863910"/>
                </a:lnTo>
                <a:lnTo>
                  <a:pt x="1325873" y="870133"/>
                </a:lnTo>
                <a:cubicBezTo>
                  <a:pt x="1310932" y="885067"/>
                  <a:pt x="1291010" y="893779"/>
                  <a:pt x="1269844" y="893779"/>
                </a:cubicBezTo>
                <a:lnTo>
                  <a:pt x="1040747" y="893779"/>
                </a:lnTo>
                <a:cubicBezTo>
                  <a:pt x="1017090" y="893779"/>
                  <a:pt x="994679" y="883822"/>
                  <a:pt x="978492" y="866399"/>
                </a:cubicBezTo>
                <a:cubicBezTo>
                  <a:pt x="962306" y="847731"/>
                  <a:pt x="953590" y="824086"/>
                  <a:pt x="956081" y="800440"/>
                </a:cubicBezTo>
                <a:cubicBezTo>
                  <a:pt x="961061" y="758126"/>
                  <a:pt x="999659" y="723280"/>
                  <a:pt x="1044482" y="723280"/>
                </a:cubicBezTo>
                <a:lnTo>
                  <a:pt x="1215060" y="723280"/>
                </a:lnTo>
                <a:cubicBezTo>
                  <a:pt x="1226265" y="723280"/>
                  <a:pt x="1236226" y="719546"/>
                  <a:pt x="1243697" y="712079"/>
                </a:cubicBezTo>
                <a:lnTo>
                  <a:pt x="1282295" y="675988"/>
                </a:lnTo>
                <a:lnTo>
                  <a:pt x="1249922" y="510468"/>
                </a:lnTo>
                <a:cubicBezTo>
                  <a:pt x="1248677" y="503000"/>
                  <a:pt x="1237471" y="495533"/>
                  <a:pt x="1225021" y="495533"/>
                </a:cubicBezTo>
                <a:lnTo>
                  <a:pt x="983473" y="495533"/>
                </a:lnTo>
                <a:cubicBezTo>
                  <a:pt x="968532" y="512957"/>
                  <a:pt x="951100" y="527891"/>
                  <a:pt x="929934" y="540336"/>
                </a:cubicBezTo>
                <a:cubicBezTo>
                  <a:pt x="929934" y="540336"/>
                  <a:pt x="928689" y="541580"/>
                  <a:pt x="928689" y="544069"/>
                </a:cubicBezTo>
                <a:lnTo>
                  <a:pt x="928689" y="596339"/>
                </a:lnTo>
                <a:cubicBezTo>
                  <a:pt x="928689" y="616251"/>
                  <a:pt x="912502" y="633675"/>
                  <a:pt x="893826" y="633675"/>
                </a:cubicBezTo>
                <a:lnTo>
                  <a:pt x="755621" y="633675"/>
                </a:lnTo>
                <a:cubicBezTo>
                  <a:pt x="735699" y="633675"/>
                  <a:pt x="719513" y="616251"/>
                  <a:pt x="719513" y="596339"/>
                </a:cubicBezTo>
                <a:lnTo>
                  <a:pt x="719513" y="544069"/>
                </a:lnTo>
                <a:cubicBezTo>
                  <a:pt x="719513" y="541580"/>
                  <a:pt x="718268" y="541580"/>
                  <a:pt x="718268" y="540336"/>
                </a:cubicBezTo>
                <a:cubicBezTo>
                  <a:pt x="697102" y="527891"/>
                  <a:pt x="679670" y="512957"/>
                  <a:pt x="664729" y="495533"/>
                </a:cubicBezTo>
                <a:close/>
                <a:moveTo>
                  <a:pt x="1090094" y="346063"/>
                </a:moveTo>
                <a:lnTo>
                  <a:pt x="1176007" y="346063"/>
                </a:lnTo>
                <a:cubicBezTo>
                  <a:pt x="1187378" y="346063"/>
                  <a:pt x="1196222" y="354474"/>
                  <a:pt x="1196222" y="364086"/>
                </a:cubicBezTo>
                <a:cubicBezTo>
                  <a:pt x="1196222" y="374900"/>
                  <a:pt x="1187378" y="383311"/>
                  <a:pt x="1176007" y="383311"/>
                </a:cubicBezTo>
                <a:lnTo>
                  <a:pt x="1090094" y="383311"/>
                </a:lnTo>
                <a:cubicBezTo>
                  <a:pt x="1079987" y="383311"/>
                  <a:pt x="1071143" y="374900"/>
                  <a:pt x="1071143" y="364086"/>
                </a:cubicBezTo>
                <a:cubicBezTo>
                  <a:pt x="1071143" y="354474"/>
                  <a:pt x="1079987" y="346063"/>
                  <a:pt x="1090094" y="346063"/>
                </a:cubicBezTo>
                <a:close/>
                <a:moveTo>
                  <a:pt x="486921" y="346063"/>
                </a:moveTo>
                <a:lnTo>
                  <a:pt x="571983" y="346063"/>
                </a:lnTo>
                <a:cubicBezTo>
                  <a:pt x="581990" y="346063"/>
                  <a:pt x="591997" y="354474"/>
                  <a:pt x="591997" y="364086"/>
                </a:cubicBezTo>
                <a:cubicBezTo>
                  <a:pt x="591997" y="374900"/>
                  <a:pt x="581990" y="383311"/>
                  <a:pt x="571983" y="383311"/>
                </a:cubicBezTo>
                <a:lnTo>
                  <a:pt x="486921" y="383311"/>
                </a:lnTo>
                <a:cubicBezTo>
                  <a:pt x="475662" y="383311"/>
                  <a:pt x="466906" y="374900"/>
                  <a:pt x="466906" y="364086"/>
                </a:cubicBezTo>
                <a:cubicBezTo>
                  <a:pt x="466906" y="354474"/>
                  <a:pt x="475662" y="346063"/>
                  <a:pt x="486921" y="346063"/>
                </a:cubicBezTo>
                <a:close/>
                <a:moveTo>
                  <a:pt x="1525808" y="275845"/>
                </a:moveTo>
                <a:cubicBezTo>
                  <a:pt x="1466735" y="275845"/>
                  <a:pt x="1418973" y="322922"/>
                  <a:pt x="1418973" y="381147"/>
                </a:cubicBezTo>
                <a:cubicBezTo>
                  <a:pt x="1418973" y="439373"/>
                  <a:pt x="1466735" y="487688"/>
                  <a:pt x="1525808" y="487688"/>
                </a:cubicBezTo>
                <a:cubicBezTo>
                  <a:pt x="1584882" y="487688"/>
                  <a:pt x="1633900" y="439373"/>
                  <a:pt x="1633900" y="381147"/>
                </a:cubicBezTo>
                <a:cubicBezTo>
                  <a:pt x="1633900" y="322922"/>
                  <a:pt x="1584882" y="275845"/>
                  <a:pt x="1525808" y="275845"/>
                </a:cubicBezTo>
                <a:close/>
                <a:moveTo>
                  <a:pt x="144946" y="275845"/>
                </a:moveTo>
                <a:cubicBezTo>
                  <a:pt x="86720" y="275845"/>
                  <a:pt x="38404" y="322922"/>
                  <a:pt x="38404" y="381147"/>
                </a:cubicBezTo>
                <a:cubicBezTo>
                  <a:pt x="38404" y="439373"/>
                  <a:pt x="86720" y="487688"/>
                  <a:pt x="144946" y="487688"/>
                </a:cubicBezTo>
                <a:cubicBezTo>
                  <a:pt x="203172" y="487688"/>
                  <a:pt x="251487" y="439373"/>
                  <a:pt x="251487" y="381147"/>
                </a:cubicBezTo>
                <a:cubicBezTo>
                  <a:pt x="251487" y="322922"/>
                  <a:pt x="203172" y="275845"/>
                  <a:pt x="144946" y="275845"/>
                </a:cubicBezTo>
                <a:close/>
                <a:moveTo>
                  <a:pt x="1525808" y="236202"/>
                </a:moveTo>
                <a:cubicBezTo>
                  <a:pt x="1607505" y="236202"/>
                  <a:pt x="1674120" y="300622"/>
                  <a:pt x="1674120" y="381147"/>
                </a:cubicBezTo>
                <a:cubicBezTo>
                  <a:pt x="1674120" y="460434"/>
                  <a:pt x="1607505" y="526092"/>
                  <a:pt x="1525808" y="526092"/>
                </a:cubicBezTo>
                <a:cubicBezTo>
                  <a:pt x="1445368" y="526092"/>
                  <a:pt x="1378753" y="460434"/>
                  <a:pt x="1378753" y="381147"/>
                </a:cubicBezTo>
                <a:cubicBezTo>
                  <a:pt x="1378753" y="300622"/>
                  <a:pt x="1445368" y="236202"/>
                  <a:pt x="1525808" y="236202"/>
                </a:cubicBezTo>
                <a:close/>
                <a:moveTo>
                  <a:pt x="144946" y="236202"/>
                </a:moveTo>
                <a:cubicBezTo>
                  <a:pt x="224232" y="236202"/>
                  <a:pt x="289891" y="300622"/>
                  <a:pt x="289891" y="381147"/>
                </a:cubicBezTo>
                <a:cubicBezTo>
                  <a:pt x="289891" y="460434"/>
                  <a:pt x="224232" y="526092"/>
                  <a:pt x="144946" y="526092"/>
                </a:cubicBezTo>
                <a:cubicBezTo>
                  <a:pt x="64420" y="526092"/>
                  <a:pt x="0" y="460434"/>
                  <a:pt x="0" y="381147"/>
                </a:cubicBezTo>
                <a:cubicBezTo>
                  <a:pt x="0" y="300622"/>
                  <a:pt x="64420" y="236202"/>
                  <a:pt x="144946" y="236202"/>
                </a:cubicBezTo>
                <a:close/>
                <a:moveTo>
                  <a:pt x="827416" y="208734"/>
                </a:moveTo>
                <a:cubicBezTo>
                  <a:pt x="874777" y="208734"/>
                  <a:pt x="918399" y="231146"/>
                  <a:pt x="947065" y="269744"/>
                </a:cubicBezTo>
                <a:cubicBezTo>
                  <a:pt x="954543" y="277215"/>
                  <a:pt x="952050" y="290911"/>
                  <a:pt x="943326" y="297137"/>
                </a:cubicBezTo>
                <a:cubicBezTo>
                  <a:pt x="939587" y="298382"/>
                  <a:pt x="935848" y="300872"/>
                  <a:pt x="932109" y="300872"/>
                </a:cubicBezTo>
                <a:cubicBezTo>
                  <a:pt x="925877" y="300872"/>
                  <a:pt x="919645" y="298382"/>
                  <a:pt x="915906" y="293401"/>
                </a:cubicBezTo>
                <a:cubicBezTo>
                  <a:pt x="895965" y="263519"/>
                  <a:pt x="863560" y="247333"/>
                  <a:pt x="827416" y="247333"/>
                </a:cubicBezTo>
                <a:cubicBezTo>
                  <a:pt x="816199" y="247333"/>
                  <a:pt x="807475" y="238617"/>
                  <a:pt x="807475" y="227411"/>
                </a:cubicBezTo>
                <a:cubicBezTo>
                  <a:pt x="807475" y="217450"/>
                  <a:pt x="816199" y="208734"/>
                  <a:pt x="827416" y="208734"/>
                </a:cubicBezTo>
                <a:close/>
                <a:moveTo>
                  <a:pt x="816630" y="190627"/>
                </a:moveTo>
                <a:cubicBezTo>
                  <a:pt x="728229" y="194360"/>
                  <a:pt x="657259" y="266542"/>
                  <a:pt x="654768" y="354903"/>
                </a:cubicBezTo>
                <a:cubicBezTo>
                  <a:pt x="652278" y="417129"/>
                  <a:pt x="684651" y="475621"/>
                  <a:pt x="738190" y="506734"/>
                </a:cubicBezTo>
                <a:cubicBezTo>
                  <a:pt x="750641" y="514201"/>
                  <a:pt x="758111" y="527891"/>
                  <a:pt x="758111" y="544069"/>
                </a:cubicBezTo>
                <a:lnTo>
                  <a:pt x="891336" y="544069"/>
                </a:lnTo>
                <a:cubicBezTo>
                  <a:pt x="891336" y="527891"/>
                  <a:pt x="897561" y="514201"/>
                  <a:pt x="910012" y="506734"/>
                </a:cubicBezTo>
                <a:cubicBezTo>
                  <a:pt x="962306" y="475621"/>
                  <a:pt x="993433" y="420862"/>
                  <a:pt x="993433" y="361126"/>
                </a:cubicBezTo>
                <a:cubicBezTo>
                  <a:pt x="993433" y="313834"/>
                  <a:pt x="974757" y="270276"/>
                  <a:pt x="941139" y="236674"/>
                </a:cubicBezTo>
                <a:cubicBezTo>
                  <a:pt x="907522" y="205561"/>
                  <a:pt x="863944" y="188138"/>
                  <a:pt x="816630" y="190627"/>
                </a:cubicBezTo>
                <a:close/>
                <a:moveTo>
                  <a:pt x="814140" y="150802"/>
                </a:moveTo>
                <a:cubicBezTo>
                  <a:pt x="872659" y="148313"/>
                  <a:pt x="926198" y="169470"/>
                  <a:pt x="968532" y="209295"/>
                </a:cubicBezTo>
                <a:cubicBezTo>
                  <a:pt x="1009620" y="249119"/>
                  <a:pt x="1033276" y="302633"/>
                  <a:pt x="1033276" y="361126"/>
                </a:cubicBezTo>
                <a:cubicBezTo>
                  <a:pt x="1033276" y="394728"/>
                  <a:pt x="1024561" y="427085"/>
                  <a:pt x="1009620" y="455709"/>
                </a:cubicBezTo>
                <a:lnTo>
                  <a:pt x="1225021" y="455709"/>
                </a:lnTo>
                <a:cubicBezTo>
                  <a:pt x="1256148" y="455709"/>
                  <a:pt x="1282295" y="475621"/>
                  <a:pt x="1288520" y="501756"/>
                </a:cubicBezTo>
                <a:lnTo>
                  <a:pt x="1317157" y="644875"/>
                </a:lnTo>
                <a:lnTo>
                  <a:pt x="1394353" y="572693"/>
                </a:lnTo>
                <a:cubicBezTo>
                  <a:pt x="1410539" y="559004"/>
                  <a:pt x="1430461" y="550292"/>
                  <a:pt x="1452872" y="550292"/>
                </a:cubicBezTo>
                <a:lnTo>
                  <a:pt x="1525088" y="550292"/>
                </a:lnTo>
                <a:cubicBezTo>
                  <a:pt x="1579872" y="550292"/>
                  <a:pt x="1624695" y="593850"/>
                  <a:pt x="1624695" y="648609"/>
                </a:cubicBezTo>
                <a:lnTo>
                  <a:pt x="1624695" y="1070500"/>
                </a:lnTo>
                <a:cubicBezTo>
                  <a:pt x="1624695" y="1080456"/>
                  <a:pt x="1615979" y="1090412"/>
                  <a:pt x="1604773" y="1090412"/>
                </a:cubicBezTo>
                <a:cubicBezTo>
                  <a:pt x="1593568" y="1090412"/>
                  <a:pt x="1584852" y="1080456"/>
                  <a:pt x="1584852" y="1070500"/>
                </a:cubicBezTo>
                <a:lnTo>
                  <a:pt x="1584852" y="648609"/>
                </a:lnTo>
                <a:cubicBezTo>
                  <a:pt x="1584852" y="616251"/>
                  <a:pt x="1558705" y="588872"/>
                  <a:pt x="1525088" y="588872"/>
                </a:cubicBezTo>
                <a:lnTo>
                  <a:pt x="1452872" y="588872"/>
                </a:lnTo>
                <a:cubicBezTo>
                  <a:pt x="1440421" y="588872"/>
                  <a:pt x="1429215" y="592606"/>
                  <a:pt x="1420500" y="601317"/>
                </a:cubicBezTo>
                <a:lnTo>
                  <a:pt x="1272334" y="739459"/>
                </a:lnTo>
                <a:cubicBezTo>
                  <a:pt x="1257393" y="754393"/>
                  <a:pt x="1236226" y="763104"/>
                  <a:pt x="1215060" y="763104"/>
                </a:cubicBezTo>
                <a:lnTo>
                  <a:pt x="1044482" y="763104"/>
                </a:lnTo>
                <a:cubicBezTo>
                  <a:pt x="1018335" y="763104"/>
                  <a:pt x="997169" y="781772"/>
                  <a:pt x="995924" y="804173"/>
                </a:cubicBezTo>
                <a:cubicBezTo>
                  <a:pt x="994679" y="817863"/>
                  <a:pt x="998414" y="829064"/>
                  <a:pt x="1007129" y="839020"/>
                </a:cubicBezTo>
                <a:cubicBezTo>
                  <a:pt x="1015845" y="848976"/>
                  <a:pt x="1028296" y="855199"/>
                  <a:pt x="1040747" y="855199"/>
                </a:cubicBezTo>
                <a:lnTo>
                  <a:pt x="1269844" y="855199"/>
                </a:lnTo>
                <a:cubicBezTo>
                  <a:pt x="1279805" y="855199"/>
                  <a:pt x="1291010" y="850221"/>
                  <a:pt x="1298481" y="842753"/>
                </a:cubicBezTo>
                <a:lnTo>
                  <a:pt x="1487735" y="653587"/>
                </a:lnTo>
                <a:cubicBezTo>
                  <a:pt x="1495205" y="646120"/>
                  <a:pt x="1507656" y="646120"/>
                  <a:pt x="1515127" y="653587"/>
                </a:cubicBezTo>
                <a:cubicBezTo>
                  <a:pt x="1522597" y="661054"/>
                  <a:pt x="1522597" y="673499"/>
                  <a:pt x="1515127" y="680966"/>
                </a:cubicBezTo>
                <a:lnTo>
                  <a:pt x="1415519" y="780528"/>
                </a:lnTo>
                <a:cubicBezTo>
                  <a:pt x="1415519" y="781772"/>
                  <a:pt x="1415519" y="781772"/>
                  <a:pt x="1415519" y="781772"/>
                </a:cubicBezTo>
                <a:lnTo>
                  <a:pt x="1384392" y="904979"/>
                </a:lnTo>
                <a:cubicBezTo>
                  <a:pt x="1383147" y="907468"/>
                  <a:pt x="1383147" y="908713"/>
                  <a:pt x="1381902" y="909957"/>
                </a:cubicBezTo>
                <a:lnTo>
                  <a:pt x="1474039" y="1301980"/>
                </a:lnTo>
                <a:cubicBezTo>
                  <a:pt x="1475284" y="1306958"/>
                  <a:pt x="1475284" y="1313181"/>
                  <a:pt x="1475284" y="1318159"/>
                </a:cubicBezTo>
                <a:cubicBezTo>
                  <a:pt x="1475284" y="1319403"/>
                  <a:pt x="1475284" y="1320648"/>
                  <a:pt x="1475284" y="1323137"/>
                </a:cubicBezTo>
                <a:lnTo>
                  <a:pt x="1475284" y="1426432"/>
                </a:lnTo>
                <a:cubicBezTo>
                  <a:pt x="1475284" y="1472479"/>
                  <a:pt x="1431706" y="1509814"/>
                  <a:pt x="1379412" y="1509814"/>
                </a:cubicBezTo>
                <a:lnTo>
                  <a:pt x="1156540" y="1509814"/>
                </a:lnTo>
                <a:lnTo>
                  <a:pt x="1161521" y="1557106"/>
                </a:lnTo>
                <a:cubicBezTo>
                  <a:pt x="1164011" y="1568307"/>
                  <a:pt x="1156540" y="1577018"/>
                  <a:pt x="1145335" y="1579507"/>
                </a:cubicBezTo>
                <a:cubicBezTo>
                  <a:pt x="1134129" y="1580752"/>
                  <a:pt x="1124168" y="1573285"/>
                  <a:pt x="1122923" y="1562084"/>
                </a:cubicBezTo>
                <a:lnTo>
                  <a:pt x="1081835" y="1265889"/>
                </a:lnTo>
                <a:cubicBezTo>
                  <a:pt x="1078100" y="1237265"/>
                  <a:pt x="1059423" y="1203663"/>
                  <a:pt x="1022071" y="1203663"/>
                </a:cubicBezTo>
                <a:lnTo>
                  <a:pt x="646053" y="1203663"/>
                </a:lnTo>
                <a:cubicBezTo>
                  <a:pt x="608700" y="1203663"/>
                  <a:pt x="592514" y="1238510"/>
                  <a:pt x="586288" y="1268378"/>
                </a:cubicBezTo>
                <a:lnTo>
                  <a:pt x="571347" y="1354250"/>
                </a:lnTo>
                <a:cubicBezTo>
                  <a:pt x="571347" y="1355494"/>
                  <a:pt x="571347" y="1355494"/>
                  <a:pt x="571347" y="1355494"/>
                </a:cubicBezTo>
                <a:lnTo>
                  <a:pt x="537730" y="1563328"/>
                </a:lnTo>
                <a:cubicBezTo>
                  <a:pt x="536485" y="1572040"/>
                  <a:pt x="527769" y="1579507"/>
                  <a:pt x="517808" y="1579507"/>
                </a:cubicBezTo>
                <a:cubicBezTo>
                  <a:pt x="516563" y="1579507"/>
                  <a:pt x="516563" y="1579507"/>
                  <a:pt x="514073" y="1579507"/>
                </a:cubicBezTo>
                <a:cubicBezTo>
                  <a:pt x="504112" y="1577018"/>
                  <a:pt x="496642" y="1567062"/>
                  <a:pt x="497887" y="1555861"/>
                </a:cubicBezTo>
                <a:lnTo>
                  <a:pt x="506603" y="1509814"/>
                </a:lnTo>
                <a:lnTo>
                  <a:pt x="272525" y="1509814"/>
                </a:lnTo>
                <a:cubicBezTo>
                  <a:pt x="220231" y="1509814"/>
                  <a:pt x="176653" y="1472479"/>
                  <a:pt x="176653" y="1426432"/>
                </a:cubicBezTo>
                <a:lnTo>
                  <a:pt x="176653" y="1323137"/>
                </a:lnTo>
                <a:cubicBezTo>
                  <a:pt x="176653" y="1320648"/>
                  <a:pt x="177898" y="1319403"/>
                  <a:pt x="177898" y="1318159"/>
                </a:cubicBezTo>
                <a:cubicBezTo>
                  <a:pt x="176653" y="1313181"/>
                  <a:pt x="176653" y="1306958"/>
                  <a:pt x="179143" y="1301980"/>
                </a:cubicBezTo>
                <a:lnTo>
                  <a:pt x="275015" y="896268"/>
                </a:lnTo>
                <a:lnTo>
                  <a:pt x="247623" y="781772"/>
                </a:lnTo>
                <a:cubicBezTo>
                  <a:pt x="247623" y="781772"/>
                  <a:pt x="247623" y="781772"/>
                  <a:pt x="246378" y="780528"/>
                </a:cubicBezTo>
                <a:lnTo>
                  <a:pt x="146771" y="680966"/>
                </a:lnTo>
                <a:cubicBezTo>
                  <a:pt x="139300" y="673499"/>
                  <a:pt x="139300" y="661054"/>
                  <a:pt x="146771" y="653587"/>
                </a:cubicBezTo>
                <a:cubicBezTo>
                  <a:pt x="154242" y="646120"/>
                  <a:pt x="166692" y="646120"/>
                  <a:pt x="175408" y="653587"/>
                </a:cubicBezTo>
                <a:lnTo>
                  <a:pt x="363417" y="842753"/>
                </a:lnTo>
                <a:cubicBezTo>
                  <a:pt x="370887" y="850221"/>
                  <a:pt x="382093" y="855199"/>
                  <a:pt x="393299" y="855199"/>
                </a:cubicBezTo>
                <a:lnTo>
                  <a:pt x="621151" y="855199"/>
                </a:lnTo>
                <a:cubicBezTo>
                  <a:pt x="633602" y="855199"/>
                  <a:pt x="646053" y="848976"/>
                  <a:pt x="654768" y="839020"/>
                </a:cubicBezTo>
                <a:cubicBezTo>
                  <a:pt x="663484" y="829064"/>
                  <a:pt x="667219" y="817863"/>
                  <a:pt x="667219" y="804173"/>
                </a:cubicBezTo>
                <a:cubicBezTo>
                  <a:pt x="664729" y="781772"/>
                  <a:pt x="643563" y="763104"/>
                  <a:pt x="617416" y="763104"/>
                </a:cubicBezTo>
                <a:lnTo>
                  <a:pt x="446838" y="763104"/>
                </a:lnTo>
                <a:cubicBezTo>
                  <a:pt x="425672" y="763104"/>
                  <a:pt x="404505" y="754393"/>
                  <a:pt x="389564" y="739459"/>
                </a:cubicBezTo>
                <a:lnTo>
                  <a:pt x="241398" y="601317"/>
                </a:lnTo>
                <a:cubicBezTo>
                  <a:pt x="232682" y="592606"/>
                  <a:pt x="221476" y="588872"/>
                  <a:pt x="209026" y="588872"/>
                </a:cubicBezTo>
                <a:lnTo>
                  <a:pt x="136810" y="588872"/>
                </a:lnTo>
                <a:cubicBezTo>
                  <a:pt x="104438" y="588872"/>
                  <a:pt x="77046" y="616251"/>
                  <a:pt x="77046" y="648609"/>
                </a:cubicBezTo>
                <a:lnTo>
                  <a:pt x="77046" y="1070500"/>
                </a:lnTo>
                <a:cubicBezTo>
                  <a:pt x="77046" y="1080456"/>
                  <a:pt x="68330" y="1090412"/>
                  <a:pt x="58369" y="1090412"/>
                </a:cubicBezTo>
                <a:cubicBezTo>
                  <a:pt x="45919" y="1090412"/>
                  <a:pt x="38448" y="1080456"/>
                  <a:pt x="38448" y="1070500"/>
                </a:cubicBezTo>
                <a:lnTo>
                  <a:pt x="38448" y="648609"/>
                </a:lnTo>
                <a:cubicBezTo>
                  <a:pt x="38448" y="593850"/>
                  <a:pt x="82026" y="550292"/>
                  <a:pt x="136810" y="550292"/>
                </a:cubicBezTo>
                <a:lnTo>
                  <a:pt x="209026" y="550292"/>
                </a:lnTo>
                <a:cubicBezTo>
                  <a:pt x="231437" y="550292"/>
                  <a:pt x="252604" y="559004"/>
                  <a:pt x="268790" y="572693"/>
                </a:cubicBezTo>
                <a:lnTo>
                  <a:pt x="337270" y="637408"/>
                </a:lnTo>
                <a:lnTo>
                  <a:pt x="363417" y="503000"/>
                </a:lnTo>
                <a:cubicBezTo>
                  <a:pt x="370887" y="475621"/>
                  <a:pt x="397034" y="455709"/>
                  <a:pt x="428162" y="455709"/>
                </a:cubicBezTo>
                <a:lnTo>
                  <a:pt x="638582" y="455709"/>
                </a:lnTo>
                <a:cubicBezTo>
                  <a:pt x="622396" y="425840"/>
                  <a:pt x="613680" y="389749"/>
                  <a:pt x="616171" y="353658"/>
                </a:cubicBezTo>
                <a:cubicBezTo>
                  <a:pt x="618661" y="245386"/>
                  <a:pt x="705817" y="155780"/>
                  <a:pt x="814140" y="150802"/>
                </a:cubicBezTo>
                <a:close/>
                <a:moveTo>
                  <a:pt x="1070479" y="100762"/>
                </a:moveTo>
                <a:cubicBezTo>
                  <a:pt x="1075508" y="100762"/>
                  <a:pt x="1080538" y="102648"/>
                  <a:pt x="1084310" y="106420"/>
                </a:cubicBezTo>
                <a:cubicBezTo>
                  <a:pt x="1091855" y="113965"/>
                  <a:pt x="1091855" y="127797"/>
                  <a:pt x="1084310" y="135342"/>
                </a:cubicBezTo>
                <a:lnTo>
                  <a:pt x="1023954" y="195700"/>
                </a:lnTo>
                <a:cubicBezTo>
                  <a:pt x="1020182" y="199473"/>
                  <a:pt x="1015152" y="201988"/>
                  <a:pt x="1010122" y="201988"/>
                </a:cubicBezTo>
                <a:cubicBezTo>
                  <a:pt x="1005092" y="201988"/>
                  <a:pt x="1000063" y="199473"/>
                  <a:pt x="996291" y="195700"/>
                </a:cubicBezTo>
                <a:cubicBezTo>
                  <a:pt x="988746" y="188156"/>
                  <a:pt x="988746" y="175581"/>
                  <a:pt x="996291" y="168036"/>
                </a:cubicBezTo>
                <a:lnTo>
                  <a:pt x="1056647" y="106420"/>
                </a:lnTo>
                <a:cubicBezTo>
                  <a:pt x="1060419" y="102648"/>
                  <a:pt x="1065449" y="100762"/>
                  <a:pt x="1070479" y="100762"/>
                </a:cubicBezTo>
                <a:close/>
                <a:moveTo>
                  <a:pt x="587526" y="100762"/>
                </a:moveTo>
                <a:cubicBezTo>
                  <a:pt x="592806" y="100762"/>
                  <a:pt x="598087" y="102648"/>
                  <a:pt x="601815" y="106420"/>
                </a:cubicBezTo>
                <a:lnTo>
                  <a:pt x="661455" y="168036"/>
                </a:lnTo>
                <a:cubicBezTo>
                  <a:pt x="668909" y="175581"/>
                  <a:pt x="668909" y="188156"/>
                  <a:pt x="661455" y="195700"/>
                </a:cubicBezTo>
                <a:cubicBezTo>
                  <a:pt x="657727" y="199473"/>
                  <a:pt x="652757" y="201988"/>
                  <a:pt x="647787" y="201988"/>
                </a:cubicBezTo>
                <a:cubicBezTo>
                  <a:pt x="641575" y="201988"/>
                  <a:pt x="637847" y="199473"/>
                  <a:pt x="634119" y="195700"/>
                </a:cubicBezTo>
                <a:lnTo>
                  <a:pt x="573237" y="135342"/>
                </a:lnTo>
                <a:cubicBezTo>
                  <a:pt x="565782" y="127797"/>
                  <a:pt x="565782" y="113965"/>
                  <a:pt x="573237" y="106420"/>
                </a:cubicBezTo>
                <a:cubicBezTo>
                  <a:pt x="576965" y="102648"/>
                  <a:pt x="582245" y="100762"/>
                  <a:pt x="587526" y="100762"/>
                </a:cubicBezTo>
                <a:close/>
                <a:moveTo>
                  <a:pt x="832195" y="0"/>
                </a:moveTo>
                <a:cubicBezTo>
                  <a:pt x="841807" y="0"/>
                  <a:pt x="850217" y="8756"/>
                  <a:pt x="850217" y="20014"/>
                </a:cubicBezTo>
                <a:lnTo>
                  <a:pt x="850217" y="105077"/>
                </a:lnTo>
                <a:cubicBezTo>
                  <a:pt x="850217" y="115084"/>
                  <a:pt x="841807" y="125091"/>
                  <a:pt x="832195" y="125091"/>
                </a:cubicBezTo>
                <a:cubicBezTo>
                  <a:pt x="821381" y="125091"/>
                  <a:pt x="812970" y="115084"/>
                  <a:pt x="812970" y="105077"/>
                </a:cubicBezTo>
                <a:lnTo>
                  <a:pt x="812970" y="20014"/>
                </a:lnTo>
                <a:cubicBezTo>
                  <a:pt x="812970" y="8756"/>
                  <a:pt x="821381" y="0"/>
                  <a:pt x="832195"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7" name="Freeform 33">
            <a:extLst>
              <a:ext uri="{FF2B5EF4-FFF2-40B4-BE49-F238E27FC236}">
                <a16:creationId xmlns:a16="http://schemas.microsoft.com/office/drawing/2014/main" id="{CFF07919-5749-4FD2-AE4E-E854D71CDD28}"/>
              </a:ext>
            </a:extLst>
          </p:cNvPr>
          <p:cNvSpPr>
            <a:spLocks noChangeArrowheads="1"/>
          </p:cNvSpPr>
          <p:nvPr/>
        </p:nvSpPr>
        <p:spPr bwMode="auto">
          <a:xfrm>
            <a:off x="7826075" y="3206533"/>
            <a:ext cx="744161" cy="664038"/>
          </a:xfrm>
          <a:custGeom>
            <a:avLst/>
            <a:gdLst>
              <a:gd name="connsiteX0" fmla="*/ 1139693 w 1488322"/>
              <a:gd name="connsiteY0" fmla="*/ 900862 h 1328076"/>
              <a:gd name="connsiteX1" fmla="*/ 1158337 w 1488322"/>
              <a:gd name="connsiteY1" fmla="*/ 920907 h 1328076"/>
              <a:gd name="connsiteX2" fmla="*/ 1158337 w 1488322"/>
              <a:gd name="connsiteY2" fmla="*/ 1309275 h 1328076"/>
              <a:gd name="connsiteX3" fmla="*/ 1139693 w 1488322"/>
              <a:gd name="connsiteY3" fmla="*/ 1328067 h 1328076"/>
              <a:gd name="connsiteX4" fmla="*/ 1121050 w 1488322"/>
              <a:gd name="connsiteY4" fmla="*/ 1309275 h 1328076"/>
              <a:gd name="connsiteX5" fmla="*/ 1121050 w 1488322"/>
              <a:gd name="connsiteY5" fmla="*/ 920907 h 1328076"/>
              <a:gd name="connsiteX6" fmla="*/ 1139693 w 1488322"/>
              <a:gd name="connsiteY6" fmla="*/ 900862 h 1328076"/>
              <a:gd name="connsiteX7" fmla="*/ 342581 w 1488322"/>
              <a:gd name="connsiteY7" fmla="*/ 900862 h 1328076"/>
              <a:gd name="connsiteX8" fmla="*/ 361805 w 1488322"/>
              <a:gd name="connsiteY8" fmla="*/ 920907 h 1328076"/>
              <a:gd name="connsiteX9" fmla="*/ 361805 w 1488322"/>
              <a:gd name="connsiteY9" fmla="*/ 1309275 h 1328076"/>
              <a:gd name="connsiteX10" fmla="*/ 342581 w 1488322"/>
              <a:gd name="connsiteY10" fmla="*/ 1328067 h 1328076"/>
              <a:gd name="connsiteX11" fmla="*/ 324558 w 1488322"/>
              <a:gd name="connsiteY11" fmla="*/ 1309275 h 1328076"/>
              <a:gd name="connsiteX12" fmla="*/ 324558 w 1488322"/>
              <a:gd name="connsiteY12" fmla="*/ 920907 h 1328076"/>
              <a:gd name="connsiteX13" fmla="*/ 342581 w 1488322"/>
              <a:gd name="connsiteY13" fmla="*/ 900862 h 1328076"/>
              <a:gd name="connsiteX14" fmla="*/ 804527 w 1488322"/>
              <a:gd name="connsiteY14" fmla="*/ 580034 h 1328076"/>
              <a:gd name="connsiteX15" fmla="*/ 817336 w 1488322"/>
              <a:gd name="connsiteY15" fmla="*/ 587963 h 1328076"/>
              <a:gd name="connsiteX16" fmla="*/ 901064 w 1488322"/>
              <a:gd name="connsiteY16" fmla="*/ 698669 h 1328076"/>
              <a:gd name="connsiteX17" fmla="*/ 901064 w 1488322"/>
              <a:gd name="connsiteY17" fmla="*/ 748424 h 1328076"/>
              <a:gd name="connsiteX18" fmla="*/ 817336 w 1488322"/>
              <a:gd name="connsiteY18" fmla="*/ 861617 h 1328076"/>
              <a:gd name="connsiteX19" fmla="*/ 802340 w 1488322"/>
              <a:gd name="connsiteY19" fmla="*/ 869080 h 1328076"/>
              <a:gd name="connsiteX20" fmla="*/ 789844 w 1488322"/>
              <a:gd name="connsiteY20" fmla="*/ 865349 h 1328076"/>
              <a:gd name="connsiteX21" fmla="*/ 786095 w 1488322"/>
              <a:gd name="connsiteY21" fmla="*/ 837983 h 1328076"/>
              <a:gd name="connsiteX22" fmla="*/ 854826 w 1488322"/>
              <a:gd name="connsiteY22" fmla="*/ 744692 h 1328076"/>
              <a:gd name="connsiteX23" fmla="*/ 544909 w 1488322"/>
              <a:gd name="connsiteY23" fmla="*/ 744692 h 1328076"/>
              <a:gd name="connsiteX24" fmla="*/ 544909 w 1488322"/>
              <a:gd name="connsiteY24" fmla="*/ 1308170 h 1328076"/>
              <a:gd name="connsiteX25" fmla="*/ 526165 w 1488322"/>
              <a:gd name="connsiteY25" fmla="*/ 1328072 h 1328076"/>
              <a:gd name="connsiteX26" fmla="*/ 506170 w 1488322"/>
              <a:gd name="connsiteY26" fmla="*/ 1308170 h 1328076"/>
              <a:gd name="connsiteX27" fmla="*/ 506170 w 1488322"/>
              <a:gd name="connsiteY27" fmla="*/ 744692 h 1328076"/>
              <a:gd name="connsiteX28" fmla="*/ 432440 w 1488322"/>
              <a:gd name="connsiteY28" fmla="*/ 744692 h 1328076"/>
              <a:gd name="connsiteX29" fmla="*/ 412445 w 1488322"/>
              <a:gd name="connsiteY29" fmla="*/ 724790 h 1328076"/>
              <a:gd name="connsiteX30" fmla="*/ 432440 w 1488322"/>
              <a:gd name="connsiteY30" fmla="*/ 704888 h 1328076"/>
              <a:gd name="connsiteX31" fmla="*/ 524915 w 1488322"/>
              <a:gd name="connsiteY31" fmla="*/ 704888 h 1328076"/>
              <a:gd name="connsiteX32" fmla="*/ 526165 w 1488322"/>
              <a:gd name="connsiteY32" fmla="*/ 704888 h 1328076"/>
              <a:gd name="connsiteX33" fmla="*/ 854826 w 1488322"/>
              <a:gd name="connsiteY33" fmla="*/ 704888 h 1328076"/>
              <a:gd name="connsiteX34" fmla="*/ 786095 w 1488322"/>
              <a:gd name="connsiteY34" fmla="*/ 611597 h 1328076"/>
              <a:gd name="connsiteX35" fmla="*/ 789844 w 1488322"/>
              <a:gd name="connsiteY35" fmla="*/ 584232 h 1328076"/>
              <a:gd name="connsiteX36" fmla="*/ 804527 w 1488322"/>
              <a:gd name="connsiteY36" fmla="*/ 580034 h 1328076"/>
              <a:gd name="connsiteX37" fmla="*/ 963737 w 1488322"/>
              <a:gd name="connsiteY37" fmla="*/ 499866 h 1328076"/>
              <a:gd name="connsiteX38" fmla="*/ 983576 w 1488322"/>
              <a:gd name="connsiteY38" fmla="*/ 518605 h 1328076"/>
              <a:gd name="connsiteX39" fmla="*/ 983576 w 1488322"/>
              <a:gd name="connsiteY39" fmla="*/ 1080769 h 1328076"/>
              <a:gd name="connsiteX40" fmla="*/ 1051773 w 1488322"/>
              <a:gd name="connsiteY40" fmla="*/ 1080769 h 1328076"/>
              <a:gd name="connsiteX41" fmla="*/ 1070372 w 1488322"/>
              <a:gd name="connsiteY41" fmla="*/ 1100757 h 1328076"/>
              <a:gd name="connsiteX42" fmla="*/ 1051773 w 1488322"/>
              <a:gd name="connsiteY42" fmla="*/ 1120746 h 1328076"/>
              <a:gd name="connsiteX43" fmla="*/ 964977 w 1488322"/>
              <a:gd name="connsiteY43" fmla="*/ 1120746 h 1328076"/>
              <a:gd name="connsiteX44" fmla="*/ 963737 w 1488322"/>
              <a:gd name="connsiteY44" fmla="*/ 1120746 h 1328076"/>
              <a:gd name="connsiteX45" fmla="*/ 616554 w 1488322"/>
              <a:gd name="connsiteY45" fmla="*/ 1120746 h 1328076"/>
              <a:gd name="connsiteX46" fmla="*/ 684751 w 1488322"/>
              <a:gd name="connsiteY46" fmla="*/ 1214440 h 1328076"/>
              <a:gd name="connsiteX47" fmla="*/ 681031 w 1488322"/>
              <a:gd name="connsiteY47" fmla="*/ 1241923 h 1328076"/>
              <a:gd name="connsiteX48" fmla="*/ 668632 w 1488322"/>
              <a:gd name="connsiteY48" fmla="*/ 1245671 h 1328076"/>
              <a:gd name="connsiteX49" fmla="*/ 653752 w 1488322"/>
              <a:gd name="connsiteY49" fmla="*/ 1238175 h 1328076"/>
              <a:gd name="connsiteX50" fmla="*/ 571916 w 1488322"/>
              <a:gd name="connsiteY50" fmla="*/ 1126992 h 1328076"/>
              <a:gd name="connsiteX51" fmla="*/ 571916 w 1488322"/>
              <a:gd name="connsiteY51" fmla="*/ 1077022 h 1328076"/>
              <a:gd name="connsiteX52" fmla="*/ 653752 w 1488322"/>
              <a:gd name="connsiteY52" fmla="*/ 963340 h 1328076"/>
              <a:gd name="connsiteX53" fmla="*/ 681031 w 1488322"/>
              <a:gd name="connsiteY53" fmla="*/ 959592 h 1328076"/>
              <a:gd name="connsiteX54" fmla="*/ 684751 w 1488322"/>
              <a:gd name="connsiteY54" fmla="*/ 987075 h 1328076"/>
              <a:gd name="connsiteX55" fmla="*/ 616554 w 1488322"/>
              <a:gd name="connsiteY55" fmla="*/ 1080769 h 1328076"/>
              <a:gd name="connsiteX56" fmla="*/ 945138 w 1488322"/>
              <a:gd name="connsiteY56" fmla="*/ 1080769 h 1328076"/>
              <a:gd name="connsiteX57" fmla="*/ 945138 w 1488322"/>
              <a:gd name="connsiteY57" fmla="*/ 518605 h 1328076"/>
              <a:gd name="connsiteX58" fmla="*/ 963737 w 1488322"/>
              <a:gd name="connsiteY58" fmla="*/ 499866 h 1328076"/>
              <a:gd name="connsiteX59" fmla="*/ 964920 w 1488322"/>
              <a:gd name="connsiteY59" fmla="*/ 390007 h 1328076"/>
              <a:gd name="connsiteX60" fmla="*/ 1263317 w 1488322"/>
              <a:gd name="connsiteY60" fmla="*/ 390007 h 1328076"/>
              <a:gd name="connsiteX61" fmla="*/ 1264561 w 1488322"/>
              <a:gd name="connsiteY61" fmla="*/ 390007 h 1328076"/>
              <a:gd name="connsiteX62" fmla="*/ 1315537 w 1488322"/>
              <a:gd name="connsiteY62" fmla="*/ 390007 h 1328076"/>
              <a:gd name="connsiteX63" fmla="*/ 1453547 w 1488322"/>
              <a:gd name="connsiteY63" fmla="*/ 535570 h 1328076"/>
              <a:gd name="connsiteX64" fmla="*/ 1485873 w 1488322"/>
              <a:gd name="connsiteY64" fmla="*/ 684864 h 1328076"/>
              <a:gd name="connsiteX65" fmla="*/ 1461007 w 1488322"/>
              <a:gd name="connsiteY65" fmla="*/ 768221 h 1328076"/>
              <a:gd name="connsiteX66" fmla="*/ 1335431 w 1488322"/>
              <a:gd name="connsiteY66" fmla="*/ 883924 h 1328076"/>
              <a:gd name="connsiteX67" fmla="*/ 1335431 w 1488322"/>
              <a:gd name="connsiteY67" fmla="*/ 1308170 h 1328076"/>
              <a:gd name="connsiteX68" fmla="*/ 1315537 w 1488322"/>
              <a:gd name="connsiteY68" fmla="*/ 1328076 h 1328076"/>
              <a:gd name="connsiteX69" fmla="*/ 1296887 w 1488322"/>
              <a:gd name="connsiteY69" fmla="*/ 1308170 h 1328076"/>
              <a:gd name="connsiteX70" fmla="*/ 1296887 w 1488322"/>
              <a:gd name="connsiteY70" fmla="*/ 519396 h 1328076"/>
              <a:gd name="connsiteX71" fmla="*/ 1315537 w 1488322"/>
              <a:gd name="connsiteY71" fmla="*/ 500734 h 1328076"/>
              <a:gd name="connsiteX72" fmla="*/ 1335431 w 1488322"/>
              <a:gd name="connsiteY72" fmla="*/ 519396 h 1328076"/>
              <a:gd name="connsiteX73" fmla="*/ 1335431 w 1488322"/>
              <a:gd name="connsiteY73" fmla="*/ 635100 h 1328076"/>
              <a:gd name="connsiteX74" fmla="*/ 1352837 w 1488322"/>
              <a:gd name="connsiteY74" fmla="*/ 618926 h 1328076"/>
              <a:gd name="connsiteX75" fmla="*/ 1380191 w 1488322"/>
              <a:gd name="connsiteY75" fmla="*/ 618926 h 1328076"/>
              <a:gd name="connsiteX76" fmla="*/ 1380191 w 1488322"/>
              <a:gd name="connsiteY76" fmla="*/ 646297 h 1328076"/>
              <a:gd name="connsiteX77" fmla="*/ 1335431 w 1488322"/>
              <a:gd name="connsiteY77" fmla="*/ 691085 h 1328076"/>
              <a:gd name="connsiteX78" fmla="*/ 1335431 w 1488322"/>
              <a:gd name="connsiteY78" fmla="*/ 830427 h 1328076"/>
              <a:gd name="connsiteX79" fmla="*/ 1433653 w 1488322"/>
              <a:gd name="connsiteY79" fmla="*/ 739606 h 1328076"/>
              <a:gd name="connsiteX80" fmla="*/ 1448573 w 1488322"/>
              <a:gd name="connsiteY80" fmla="*/ 693573 h 1328076"/>
              <a:gd name="connsiteX81" fmla="*/ 1416247 w 1488322"/>
              <a:gd name="connsiteY81" fmla="*/ 545523 h 1328076"/>
              <a:gd name="connsiteX82" fmla="*/ 1315537 w 1488322"/>
              <a:gd name="connsiteY82" fmla="*/ 428575 h 1328076"/>
              <a:gd name="connsiteX83" fmla="*/ 1264561 w 1488322"/>
              <a:gd name="connsiteY83" fmla="*/ 428575 h 1328076"/>
              <a:gd name="connsiteX84" fmla="*/ 1263317 w 1488322"/>
              <a:gd name="connsiteY84" fmla="*/ 428575 h 1328076"/>
              <a:gd name="connsiteX85" fmla="*/ 964920 w 1488322"/>
              <a:gd name="connsiteY85" fmla="*/ 428575 h 1328076"/>
              <a:gd name="connsiteX86" fmla="*/ 864210 w 1488322"/>
              <a:gd name="connsiteY86" fmla="*/ 546767 h 1328076"/>
              <a:gd name="connsiteX87" fmla="*/ 845561 w 1488322"/>
              <a:gd name="connsiteY87" fmla="*/ 560452 h 1328076"/>
              <a:gd name="connsiteX88" fmla="*/ 840587 w 1488322"/>
              <a:gd name="connsiteY88" fmla="*/ 560452 h 1328076"/>
              <a:gd name="connsiteX89" fmla="*/ 826911 w 1488322"/>
              <a:gd name="connsiteY89" fmla="*/ 535570 h 1328076"/>
              <a:gd name="connsiteX90" fmla="*/ 964920 w 1488322"/>
              <a:gd name="connsiteY90" fmla="*/ 390007 h 1328076"/>
              <a:gd name="connsiteX91" fmla="*/ 172770 w 1488322"/>
              <a:gd name="connsiteY91" fmla="*/ 390007 h 1328076"/>
              <a:gd name="connsiteX92" fmla="*/ 472412 w 1488322"/>
              <a:gd name="connsiteY92" fmla="*/ 390007 h 1328076"/>
              <a:gd name="connsiteX93" fmla="*/ 523388 w 1488322"/>
              <a:gd name="connsiteY93" fmla="*/ 390007 h 1328076"/>
              <a:gd name="connsiteX94" fmla="*/ 661397 w 1488322"/>
              <a:gd name="connsiteY94" fmla="*/ 535570 h 1328076"/>
              <a:gd name="connsiteX95" fmla="*/ 647720 w 1488322"/>
              <a:gd name="connsiteY95" fmla="*/ 560452 h 1328076"/>
              <a:gd name="connsiteX96" fmla="*/ 642747 w 1488322"/>
              <a:gd name="connsiteY96" fmla="*/ 560452 h 1328076"/>
              <a:gd name="connsiteX97" fmla="*/ 624097 w 1488322"/>
              <a:gd name="connsiteY97" fmla="*/ 546767 h 1328076"/>
              <a:gd name="connsiteX98" fmla="*/ 523388 w 1488322"/>
              <a:gd name="connsiteY98" fmla="*/ 428575 h 1328076"/>
              <a:gd name="connsiteX99" fmla="*/ 472412 w 1488322"/>
              <a:gd name="connsiteY99" fmla="*/ 428575 h 1328076"/>
              <a:gd name="connsiteX100" fmla="*/ 172770 w 1488322"/>
              <a:gd name="connsiteY100" fmla="*/ 428575 h 1328076"/>
              <a:gd name="connsiteX101" fmla="*/ 73304 w 1488322"/>
              <a:gd name="connsiteY101" fmla="*/ 546767 h 1328076"/>
              <a:gd name="connsiteX102" fmla="*/ 39735 w 1488322"/>
              <a:gd name="connsiteY102" fmla="*/ 693573 h 1328076"/>
              <a:gd name="connsiteX103" fmla="*/ 54655 w 1488322"/>
              <a:gd name="connsiteY103" fmla="*/ 739606 h 1328076"/>
              <a:gd name="connsiteX104" fmla="*/ 152877 w 1488322"/>
              <a:gd name="connsiteY104" fmla="*/ 830427 h 1328076"/>
              <a:gd name="connsiteX105" fmla="*/ 152877 w 1488322"/>
              <a:gd name="connsiteY105" fmla="*/ 692329 h 1328076"/>
              <a:gd name="connsiteX106" fmla="*/ 106874 w 1488322"/>
              <a:gd name="connsiteY106" fmla="*/ 646297 h 1328076"/>
              <a:gd name="connsiteX107" fmla="*/ 106874 w 1488322"/>
              <a:gd name="connsiteY107" fmla="*/ 618926 h 1328076"/>
              <a:gd name="connsiteX108" fmla="*/ 134227 w 1488322"/>
              <a:gd name="connsiteY108" fmla="*/ 618926 h 1328076"/>
              <a:gd name="connsiteX109" fmla="*/ 152877 w 1488322"/>
              <a:gd name="connsiteY109" fmla="*/ 636344 h 1328076"/>
              <a:gd name="connsiteX110" fmla="*/ 152877 w 1488322"/>
              <a:gd name="connsiteY110" fmla="*/ 519396 h 1328076"/>
              <a:gd name="connsiteX111" fmla="*/ 171527 w 1488322"/>
              <a:gd name="connsiteY111" fmla="*/ 500734 h 1328076"/>
              <a:gd name="connsiteX112" fmla="*/ 191420 w 1488322"/>
              <a:gd name="connsiteY112" fmla="*/ 519396 h 1328076"/>
              <a:gd name="connsiteX113" fmla="*/ 191420 w 1488322"/>
              <a:gd name="connsiteY113" fmla="*/ 1308170 h 1328076"/>
              <a:gd name="connsiteX114" fmla="*/ 171527 w 1488322"/>
              <a:gd name="connsiteY114" fmla="*/ 1328076 h 1328076"/>
              <a:gd name="connsiteX115" fmla="*/ 152877 w 1488322"/>
              <a:gd name="connsiteY115" fmla="*/ 1308170 h 1328076"/>
              <a:gd name="connsiteX116" fmla="*/ 152877 w 1488322"/>
              <a:gd name="connsiteY116" fmla="*/ 883924 h 1328076"/>
              <a:gd name="connsiteX117" fmla="*/ 28545 w 1488322"/>
              <a:gd name="connsiteY117" fmla="*/ 768221 h 1328076"/>
              <a:gd name="connsiteX118" fmla="*/ 2435 w 1488322"/>
              <a:gd name="connsiteY118" fmla="*/ 684864 h 1328076"/>
              <a:gd name="connsiteX119" fmla="*/ 34761 w 1488322"/>
              <a:gd name="connsiteY119" fmla="*/ 536814 h 1328076"/>
              <a:gd name="connsiteX120" fmla="*/ 172770 w 1488322"/>
              <a:gd name="connsiteY120" fmla="*/ 390007 h 1328076"/>
              <a:gd name="connsiteX121" fmla="*/ 1139021 w 1488322"/>
              <a:gd name="connsiteY121" fmla="*/ 38941 h 1328076"/>
              <a:gd name="connsiteX122" fmla="*/ 1018428 w 1488322"/>
              <a:gd name="connsiteY122" fmla="*/ 160788 h 1328076"/>
              <a:gd name="connsiteX123" fmla="*/ 1139021 w 1488322"/>
              <a:gd name="connsiteY123" fmla="*/ 282635 h 1328076"/>
              <a:gd name="connsiteX124" fmla="*/ 1260869 w 1488322"/>
              <a:gd name="connsiteY124" fmla="*/ 160788 h 1328076"/>
              <a:gd name="connsiteX125" fmla="*/ 1139021 w 1488322"/>
              <a:gd name="connsiteY125" fmla="*/ 38941 h 1328076"/>
              <a:gd name="connsiteX126" fmla="*/ 348021 w 1488322"/>
              <a:gd name="connsiteY126" fmla="*/ 38941 h 1328076"/>
              <a:gd name="connsiteX127" fmla="*/ 226172 w 1488322"/>
              <a:gd name="connsiteY127" fmla="*/ 160788 h 1328076"/>
              <a:gd name="connsiteX128" fmla="*/ 348021 w 1488322"/>
              <a:gd name="connsiteY128" fmla="*/ 282635 h 1328076"/>
              <a:gd name="connsiteX129" fmla="*/ 469869 w 1488322"/>
              <a:gd name="connsiteY129" fmla="*/ 160788 h 1328076"/>
              <a:gd name="connsiteX130" fmla="*/ 348021 w 1488322"/>
              <a:gd name="connsiteY130" fmla="*/ 38941 h 1328076"/>
              <a:gd name="connsiteX131" fmla="*/ 1139021 w 1488322"/>
              <a:gd name="connsiteY131" fmla="*/ 0 h 1328076"/>
              <a:gd name="connsiteX132" fmla="*/ 1301067 w 1488322"/>
              <a:gd name="connsiteY132" fmla="*/ 160788 h 1328076"/>
              <a:gd name="connsiteX133" fmla="*/ 1139021 w 1488322"/>
              <a:gd name="connsiteY133" fmla="*/ 322832 h 1328076"/>
              <a:gd name="connsiteX134" fmla="*/ 978231 w 1488322"/>
              <a:gd name="connsiteY134" fmla="*/ 160788 h 1328076"/>
              <a:gd name="connsiteX135" fmla="*/ 1139021 w 1488322"/>
              <a:gd name="connsiteY135" fmla="*/ 0 h 1328076"/>
              <a:gd name="connsiteX136" fmla="*/ 348021 w 1488322"/>
              <a:gd name="connsiteY136" fmla="*/ 0 h 1328076"/>
              <a:gd name="connsiteX137" fmla="*/ 510067 w 1488322"/>
              <a:gd name="connsiteY137" fmla="*/ 160788 h 1328076"/>
              <a:gd name="connsiteX138" fmla="*/ 348021 w 1488322"/>
              <a:gd name="connsiteY138" fmla="*/ 322832 h 1328076"/>
              <a:gd name="connsiteX139" fmla="*/ 187231 w 1488322"/>
              <a:gd name="connsiteY139" fmla="*/ 160788 h 1328076"/>
              <a:gd name="connsiteX140" fmla="*/ 348021 w 1488322"/>
              <a:gd name="connsiteY140" fmla="*/ 0 h 132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488322" h="1328076">
                <a:moveTo>
                  <a:pt x="1139693" y="900862"/>
                </a:moveTo>
                <a:cubicBezTo>
                  <a:pt x="1150181" y="900862"/>
                  <a:pt x="1158337" y="909632"/>
                  <a:pt x="1158337" y="920907"/>
                </a:cubicBezTo>
                <a:lnTo>
                  <a:pt x="1158337" y="1309275"/>
                </a:lnTo>
                <a:cubicBezTo>
                  <a:pt x="1158337" y="1319298"/>
                  <a:pt x="1150181" y="1328067"/>
                  <a:pt x="1139693" y="1328067"/>
                </a:cubicBezTo>
                <a:cubicBezTo>
                  <a:pt x="1130371" y="1328067"/>
                  <a:pt x="1121050" y="1319298"/>
                  <a:pt x="1121050" y="1309275"/>
                </a:cubicBezTo>
                <a:lnTo>
                  <a:pt x="1121050" y="920907"/>
                </a:lnTo>
                <a:cubicBezTo>
                  <a:pt x="1121050" y="909632"/>
                  <a:pt x="1130371" y="900862"/>
                  <a:pt x="1139693" y="900862"/>
                </a:cubicBezTo>
                <a:close/>
                <a:moveTo>
                  <a:pt x="342581" y="900862"/>
                </a:moveTo>
                <a:cubicBezTo>
                  <a:pt x="353395" y="900862"/>
                  <a:pt x="361805" y="909632"/>
                  <a:pt x="361805" y="920907"/>
                </a:cubicBezTo>
                <a:lnTo>
                  <a:pt x="361805" y="1309275"/>
                </a:lnTo>
                <a:cubicBezTo>
                  <a:pt x="361805" y="1319298"/>
                  <a:pt x="353395" y="1328067"/>
                  <a:pt x="342581" y="1328067"/>
                </a:cubicBezTo>
                <a:cubicBezTo>
                  <a:pt x="332969" y="1328067"/>
                  <a:pt x="324558" y="1319298"/>
                  <a:pt x="324558" y="1309275"/>
                </a:cubicBezTo>
                <a:lnTo>
                  <a:pt x="324558" y="920907"/>
                </a:lnTo>
                <a:cubicBezTo>
                  <a:pt x="324558" y="909632"/>
                  <a:pt x="332969" y="900862"/>
                  <a:pt x="342581" y="900862"/>
                </a:cubicBezTo>
                <a:close/>
                <a:moveTo>
                  <a:pt x="804527" y="580034"/>
                </a:moveTo>
                <a:cubicBezTo>
                  <a:pt x="809526" y="580811"/>
                  <a:pt x="814212" y="583610"/>
                  <a:pt x="817336" y="587963"/>
                </a:cubicBezTo>
                <a:lnTo>
                  <a:pt x="901064" y="698669"/>
                </a:lnTo>
                <a:cubicBezTo>
                  <a:pt x="911061" y="714839"/>
                  <a:pt x="911061" y="734741"/>
                  <a:pt x="901064" y="748424"/>
                </a:cubicBezTo>
                <a:lnTo>
                  <a:pt x="817336" y="861617"/>
                </a:lnTo>
                <a:cubicBezTo>
                  <a:pt x="813587" y="865349"/>
                  <a:pt x="808589" y="869080"/>
                  <a:pt x="802340" y="869080"/>
                </a:cubicBezTo>
                <a:cubicBezTo>
                  <a:pt x="797342" y="869080"/>
                  <a:pt x="794843" y="867836"/>
                  <a:pt x="789844" y="865349"/>
                </a:cubicBezTo>
                <a:cubicBezTo>
                  <a:pt x="782346" y="859129"/>
                  <a:pt x="779847" y="846690"/>
                  <a:pt x="786095" y="837983"/>
                </a:cubicBezTo>
                <a:lnTo>
                  <a:pt x="854826" y="744692"/>
                </a:lnTo>
                <a:lnTo>
                  <a:pt x="544909" y="744692"/>
                </a:lnTo>
                <a:lnTo>
                  <a:pt x="544909" y="1308170"/>
                </a:lnTo>
                <a:cubicBezTo>
                  <a:pt x="544909" y="1319365"/>
                  <a:pt x="536162" y="1328072"/>
                  <a:pt x="526165" y="1328072"/>
                </a:cubicBezTo>
                <a:cubicBezTo>
                  <a:pt x="514918" y="1328072"/>
                  <a:pt x="506170" y="1319365"/>
                  <a:pt x="506170" y="1308170"/>
                </a:cubicBezTo>
                <a:lnTo>
                  <a:pt x="506170" y="744692"/>
                </a:lnTo>
                <a:lnTo>
                  <a:pt x="432440" y="744692"/>
                </a:lnTo>
                <a:cubicBezTo>
                  <a:pt x="422442" y="744692"/>
                  <a:pt x="412445" y="734741"/>
                  <a:pt x="412445" y="724790"/>
                </a:cubicBezTo>
                <a:cubicBezTo>
                  <a:pt x="412445" y="713595"/>
                  <a:pt x="422442" y="704888"/>
                  <a:pt x="432440" y="704888"/>
                </a:cubicBezTo>
                <a:lnTo>
                  <a:pt x="524915" y="704888"/>
                </a:lnTo>
                <a:cubicBezTo>
                  <a:pt x="524915" y="704888"/>
                  <a:pt x="524915" y="704888"/>
                  <a:pt x="526165" y="704888"/>
                </a:cubicBezTo>
                <a:lnTo>
                  <a:pt x="854826" y="704888"/>
                </a:lnTo>
                <a:lnTo>
                  <a:pt x="786095" y="611597"/>
                </a:lnTo>
                <a:cubicBezTo>
                  <a:pt x="779847" y="601646"/>
                  <a:pt x="782346" y="590451"/>
                  <a:pt x="789844" y="584232"/>
                </a:cubicBezTo>
                <a:cubicBezTo>
                  <a:pt x="794217" y="580500"/>
                  <a:pt x="799528" y="579256"/>
                  <a:pt x="804527" y="580034"/>
                </a:cubicBezTo>
                <a:close/>
                <a:moveTo>
                  <a:pt x="963737" y="499866"/>
                </a:moveTo>
                <a:cubicBezTo>
                  <a:pt x="974897" y="499866"/>
                  <a:pt x="983576" y="508611"/>
                  <a:pt x="983576" y="518605"/>
                </a:cubicBezTo>
                <a:lnTo>
                  <a:pt x="983576" y="1080769"/>
                </a:lnTo>
                <a:lnTo>
                  <a:pt x="1051773" y="1080769"/>
                </a:lnTo>
                <a:cubicBezTo>
                  <a:pt x="1061693" y="1080769"/>
                  <a:pt x="1070372" y="1090763"/>
                  <a:pt x="1070372" y="1100757"/>
                </a:cubicBezTo>
                <a:cubicBezTo>
                  <a:pt x="1070372" y="1112001"/>
                  <a:pt x="1061693" y="1120746"/>
                  <a:pt x="1051773" y="1120746"/>
                </a:cubicBezTo>
                <a:lnTo>
                  <a:pt x="964977" y="1120746"/>
                </a:lnTo>
                <a:cubicBezTo>
                  <a:pt x="964977" y="1120746"/>
                  <a:pt x="964977" y="1120746"/>
                  <a:pt x="963737" y="1120746"/>
                </a:cubicBezTo>
                <a:lnTo>
                  <a:pt x="616554" y="1120746"/>
                </a:lnTo>
                <a:lnTo>
                  <a:pt x="684751" y="1214440"/>
                </a:lnTo>
                <a:cubicBezTo>
                  <a:pt x="690951" y="1224434"/>
                  <a:pt x="689711" y="1235677"/>
                  <a:pt x="681031" y="1241923"/>
                </a:cubicBezTo>
                <a:cubicBezTo>
                  <a:pt x="677311" y="1245671"/>
                  <a:pt x="673591" y="1245671"/>
                  <a:pt x="668632" y="1245671"/>
                </a:cubicBezTo>
                <a:cubicBezTo>
                  <a:pt x="663672" y="1245671"/>
                  <a:pt x="657472" y="1244422"/>
                  <a:pt x="653752" y="1238175"/>
                </a:cubicBezTo>
                <a:lnTo>
                  <a:pt x="571916" y="1126992"/>
                </a:lnTo>
                <a:cubicBezTo>
                  <a:pt x="560757" y="1110752"/>
                  <a:pt x="560757" y="1090763"/>
                  <a:pt x="571916" y="1077022"/>
                </a:cubicBezTo>
                <a:lnTo>
                  <a:pt x="653752" y="963340"/>
                </a:lnTo>
                <a:cubicBezTo>
                  <a:pt x="659952" y="954595"/>
                  <a:pt x="672352" y="953346"/>
                  <a:pt x="681031" y="959592"/>
                </a:cubicBezTo>
                <a:cubicBezTo>
                  <a:pt x="689711" y="965838"/>
                  <a:pt x="690951" y="978331"/>
                  <a:pt x="684751" y="987075"/>
                </a:cubicBezTo>
                <a:lnTo>
                  <a:pt x="616554" y="1080769"/>
                </a:lnTo>
                <a:lnTo>
                  <a:pt x="945138" y="1080769"/>
                </a:lnTo>
                <a:lnTo>
                  <a:pt x="945138" y="518605"/>
                </a:lnTo>
                <a:cubicBezTo>
                  <a:pt x="945138" y="508611"/>
                  <a:pt x="953818" y="499866"/>
                  <a:pt x="963737" y="499866"/>
                </a:cubicBezTo>
                <a:close/>
                <a:moveTo>
                  <a:pt x="964920" y="390007"/>
                </a:moveTo>
                <a:lnTo>
                  <a:pt x="1263317" y="390007"/>
                </a:lnTo>
                <a:lnTo>
                  <a:pt x="1264561" y="390007"/>
                </a:lnTo>
                <a:lnTo>
                  <a:pt x="1315537" y="390007"/>
                </a:lnTo>
                <a:cubicBezTo>
                  <a:pt x="1395109" y="390007"/>
                  <a:pt x="1419977" y="416133"/>
                  <a:pt x="1453547" y="535570"/>
                </a:cubicBezTo>
                <a:lnTo>
                  <a:pt x="1485873" y="684864"/>
                </a:lnTo>
                <a:cubicBezTo>
                  <a:pt x="1493333" y="714723"/>
                  <a:pt x="1483387" y="747071"/>
                  <a:pt x="1461007" y="768221"/>
                </a:cubicBezTo>
                <a:lnTo>
                  <a:pt x="1335431" y="883924"/>
                </a:lnTo>
                <a:lnTo>
                  <a:pt x="1335431" y="1308170"/>
                </a:lnTo>
                <a:cubicBezTo>
                  <a:pt x="1335431" y="1319367"/>
                  <a:pt x="1327971" y="1328076"/>
                  <a:pt x="1315537" y="1328076"/>
                </a:cubicBezTo>
                <a:cubicBezTo>
                  <a:pt x="1305591" y="1328076"/>
                  <a:pt x="1296887" y="1319367"/>
                  <a:pt x="1296887" y="1308170"/>
                </a:cubicBezTo>
                <a:lnTo>
                  <a:pt x="1296887" y="519396"/>
                </a:lnTo>
                <a:cubicBezTo>
                  <a:pt x="1296887" y="509443"/>
                  <a:pt x="1305591" y="500734"/>
                  <a:pt x="1315537" y="500734"/>
                </a:cubicBezTo>
                <a:cubicBezTo>
                  <a:pt x="1327971" y="500734"/>
                  <a:pt x="1335431" y="509443"/>
                  <a:pt x="1335431" y="519396"/>
                </a:cubicBezTo>
                <a:lnTo>
                  <a:pt x="1335431" y="635100"/>
                </a:lnTo>
                <a:lnTo>
                  <a:pt x="1352837" y="618926"/>
                </a:lnTo>
                <a:cubicBezTo>
                  <a:pt x="1360297" y="611461"/>
                  <a:pt x="1372731" y="611461"/>
                  <a:pt x="1380191" y="618926"/>
                </a:cubicBezTo>
                <a:cubicBezTo>
                  <a:pt x="1387651" y="626391"/>
                  <a:pt x="1387651" y="638832"/>
                  <a:pt x="1380191" y="646297"/>
                </a:cubicBezTo>
                <a:lnTo>
                  <a:pt x="1335431" y="691085"/>
                </a:lnTo>
                <a:lnTo>
                  <a:pt x="1335431" y="830427"/>
                </a:lnTo>
                <a:lnTo>
                  <a:pt x="1433653" y="739606"/>
                </a:lnTo>
                <a:cubicBezTo>
                  <a:pt x="1447329" y="728409"/>
                  <a:pt x="1452303" y="709747"/>
                  <a:pt x="1448573" y="693573"/>
                </a:cubicBezTo>
                <a:lnTo>
                  <a:pt x="1416247" y="545523"/>
                </a:lnTo>
                <a:cubicBezTo>
                  <a:pt x="1383921" y="433551"/>
                  <a:pt x="1369001" y="428575"/>
                  <a:pt x="1315537" y="428575"/>
                </a:cubicBezTo>
                <a:lnTo>
                  <a:pt x="1264561" y="428575"/>
                </a:lnTo>
                <a:lnTo>
                  <a:pt x="1263317" y="428575"/>
                </a:lnTo>
                <a:lnTo>
                  <a:pt x="964920" y="428575"/>
                </a:lnTo>
                <a:cubicBezTo>
                  <a:pt x="910213" y="428575"/>
                  <a:pt x="897780" y="433551"/>
                  <a:pt x="864210" y="546767"/>
                </a:cubicBezTo>
                <a:cubicBezTo>
                  <a:pt x="861724" y="555476"/>
                  <a:pt x="854264" y="560452"/>
                  <a:pt x="845561" y="560452"/>
                </a:cubicBezTo>
                <a:cubicBezTo>
                  <a:pt x="844317" y="560452"/>
                  <a:pt x="843074" y="560452"/>
                  <a:pt x="840587" y="560452"/>
                </a:cubicBezTo>
                <a:cubicBezTo>
                  <a:pt x="830641" y="556720"/>
                  <a:pt x="824424" y="546767"/>
                  <a:pt x="826911" y="535570"/>
                </a:cubicBezTo>
                <a:cubicBezTo>
                  <a:pt x="861724" y="416133"/>
                  <a:pt x="885347" y="390007"/>
                  <a:pt x="964920" y="390007"/>
                </a:cubicBezTo>
                <a:close/>
                <a:moveTo>
                  <a:pt x="172770" y="390007"/>
                </a:moveTo>
                <a:lnTo>
                  <a:pt x="472412" y="390007"/>
                </a:lnTo>
                <a:lnTo>
                  <a:pt x="523388" y="390007"/>
                </a:lnTo>
                <a:cubicBezTo>
                  <a:pt x="602961" y="390007"/>
                  <a:pt x="627827" y="416133"/>
                  <a:pt x="661397" y="535570"/>
                </a:cubicBezTo>
                <a:cubicBezTo>
                  <a:pt x="663884" y="546767"/>
                  <a:pt x="657667" y="556720"/>
                  <a:pt x="647720" y="560452"/>
                </a:cubicBezTo>
                <a:cubicBezTo>
                  <a:pt x="646477" y="560452"/>
                  <a:pt x="643991" y="560452"/>
                  <a:pt x="642747" y="560452"/>
                </a:cubicBezTo>
                <a:cubicBezTo>
                  <a:pt x="634044" y="560452"/>
                  <a:pt x="626584" y="555476"/>
                  <a:pt x="624097" y="546767"/>
                </a:cubicBezTo>
                <a:cubicBezTo>
                  <a:pt x="591771" y="433551"/>
                  <a:pt x="578094" y="428575"/>
                  <a:pt x="523388" y="428575"/>
                </a:cubicBezTo>
                <a:lnTo>
                  <a:pt x="472412" y="428575"/>
                </a:lnTo>
                <a:lnTo>
                  <a:pt x="172770" y="428575"/>
                </a:lnTo>
                <a:cubicBezTo>
                  <a:pt x="119307" y="428575"/>
                  <a:pt x="104388" y="433551"/>
                  <a:pt x="73304" y="546767"/>
                </a:cubicBezTo>
                <a:lnTo>
                  <a:pt x="39735" y="693573"/>
                </a:lnTo>
                <a:cubicBezTo>
                  <a:pt x="36005" y="709747"/>
                  <a:pt x="42221" y="728409"/>
                  <a:pt x="54655" y="739606"/>
                </a:cubicBezTo>
                <a:lnTo>
                  <a:pt x="152877" y="830427"/>
                </a:lnTo>
                <a:lnTo>
                  <a:pt x="152877" y="692329"/>
                </a:lnTo>
                <a:lnTo>
                  <a:pt x="106874" y="646297"/>
                </a:lnTo>
                <a:cubicBezTo>
                  <a:pt x="99414" y="638832"/>
                  <a:pt x="99414" y="626391"/>
                  <a:pt x="106874" y="618926"/>
                </a:cubicBezTo>
                <a:cubicBezTo>
                  <a:pt x="114334" y="611461"/>
                  <a:pt x="126767" y="611461"/>
                  <a:pt x="134227" y="618926"/>
                </a:cubicBezTo>
                <a:lnTo>
                  <a:pt x="152877" y="636344"/>
                </a:lnTo>
                <a:lnTo>
                  <a:pt x="152877" y="519396"/>
                </a:lnTo>
                <a:cubicBezTo>
                  <a:pt x="152877" y="509443"/>
                  <a:pt x="160337" y="500734"/>
                  <a:pt x="171527" y="500734"/>
                </a:cubicBezTo>
                <a:cubicBezTo>
                  <a:pt x="182717" y="500734"/>
                  <a:pt x="191420" y="509443"/>
                  <a:pt x="191420" y="519396"/>
                </a:cubicBezTo>
                <a:lnTo>
                  <a:pt x="191420" y="1308170"/>
                </a:lnTo>
                <a:cubicBezTo>
                  <a:pt x="191420" y="1319367"/>
                  <a:pt x="182717" y="1328076"/>
                  <a:pt x="171527" y="1328076"/>
                </a:cubicBezTo>
                <a:cubicBezTo>
                  <a:pt x="160337" y="1328076"/>
                  <a:pt x="152877" y="1319367"/>
                  <a:pt x="152877" y="1308170"/>
                </a:cubicBezTo>
                <a:lnTo>
                  <a:pt x="152877" y="883924"/>
                </a:lnTo>
                <a:lnTo>
                  <a:pt x="28545" y="768221"/>
                </a:lnTo>
                <a:cubicBezTo>
                  <a:pt x="4922" y="747071"/>
                  <a:pt x="-5025" y="714723"/>
                  <a:pt x="2435" y="684864"/>
                </a:cubicBezTo>
                <a:lnTo>
                  <a:pt x="34761" y="536814"/>
                </a:lnTo>
                <a:cubicBezTo>
                  <a:pt x="69574" y="416133"/>
                  <a:pt x="93198" y="390007"/>
                  <a:pt x="172770" y="390007"/>
                </a:cubicBezTo>
                <a:close/>
                <a:moveTo>
                  <a:pt x="1139021" y="38941"/>
                </a:moveTo>
                <a:cubicBezTo>
                  <a:pt x="1072444" y="38941"/>
                  <a:pt x="1018428" y="94211"/>
                  <a:pt x="1018428" y="160788"/>
                </a:cubicBezTo>
                <a:cubicBezTo>
                  <a:pt x="1018428" y="227364"/>
                  <a:pt x="1072444" y="282635"/>
                  <a:pt x="1139021" y="282635"/>
                </a:cubicBezTo>
                <a:cubicBezTo>
                  <a:pt x="1206855" y="282635"/>
                  <a:pt x="1260869" y="227364"/>
                  <a:pt x="1260869" y="160788"/>
                </a:cubicBezTo>
                <a:cubicBezTo>
                  <a:pt x="1260869" y="94211"/>
                  <a:pt x="1206855" y="38941"/>
                  <a:pt x="1139021" y="38941"/>
                </a:cubicBezTo>
                <a:close/>
                <a:moveTo>
                  <a:pt x="348021" y="38941"/>
                </a:moveTo>
                <a:cubicBezTo>
                  <a:pt x="281444" y="38941"/>
                  <a:pt x="226172" y="94211"/>
                  <a:pt x="226172" y="160788"/>
                </a:cubicBezTo>
                <a:cubicBezTo>
                  <a:pt x="226172" y="227364"/>
                  <a:pt x="281444" y="282635"/>
                  <a:pt x="348021" y="282635"/>
                </a:cubicBezTo>
                <a:cubicBezTo>
                  <a:pt x="415854" y="282635"/>
                  <a:pt x="469869" y="227364"/>
                  <a:pt x="469869" y="160788"/>
                </a:cubicBezTo>
                <a:cubicBezTo>
                  <a:pt x="469869" y="94211"/>
                  <a:pt x="415854" y="38941"/>
                  <a:pt x="348021" y="38941"/>
                </a:cubicBezTo>
                <a:close/>
                <a:moveTo>
                  <a:pt x="1139021" y="0"/>
                </a:moveTo>
                <a:cubicBezTo>
                  <a:pt x="1228209" y="0"/>
                  <a:pt x="1301067" y="71601"/>
                  <a:pt x="1301067" y="160788"/>
                </a:cubicBezTo>
                <a:cubicBezTo>
                  <a:pt x="1301067" y="249975"/>
                  <a:pt x="1228209" y="322832"/>
                  <a:pt x="1139021" y="322832"/>
                </a:cubicBezTo>
                <a:cubicBezTo>
                  <a:pt x="1049833" y="322832"/>
                  <a:pt x="978231" y="249975"/>
                  <a:pt x="978231" y="160788"/>
                </a:cubicBezTo>
                <a:cubicBezTo>
                  <a:pt x="978231" y="71601"/>
                  <a:pt x="1049833" y="0"/>
                  <a:pt x="1139021" y="0"/>
                </a:cubicBezTo>
                <a:close/>
                <a:moveTo>
                  <a:pt x="348021" y="0"/>
                </a:moveTo>
                <a:cubicBezTo>
                  <a:pt x="437209" y="0"/>
                  <a:pt x="510067" y="71601"/>
                  <a:pt x="510067" y="160788"/>
                </a:cubicBezTo>
                <a:cubicBezTo>
                  <a:pt x="510067" y="249975"/>
                  <a:pt x="437209" y="322832"/>
                  <a:pt x="348021" y="322832"/>
                </a:cubicBezTo>
                <a:cubicBezTo>
                  <a:pt x="260089" y="322832"/>
                  <a:pt x="187231" y="249975"/>
                  <a:pt x="187231" y="160788"/>
                </a:cubicBezTo>
                <a:cubicBezTo>
                  <a:pt x="187231" y="71601"/>
                  <a:pt x="260089" y="0"/>
                  <a:pt x="348021"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38" name="Freeform 34">
            <a:extLst>
              <a:ext uri="{FF2B5EF4-FFF2-40B4-BE49-F238E27FC236}">
                <a16:creationId xmlns:a16="http://schemas.microsoft.com/office/drawing/2014/main" id="{E683821C-C95E-188B-BC6D-68CC7FA30AF0}"/>
              </a:ext>
            </a:extLst>
          </p:cNvPr>
          <p:cNvSpPr>
            <a:spLocks noChangeArrowheads="1"/>
          </p:cNvSpPr>
          <p:nvPr/>
        </p:nvSpPr>
        <p:spPr bwMode="auto">
          <a:xfrm>
            <a:off x="9931116" y="3184562"/>
            <a:ext cx="788087" cy="707967"/>
          </a:xfrm>
          <a:custGeom>
            <a:avLst/>
            <a:gdLst>
              <a:gd name="connsiteX0" fmla="*/ 956596 w 1576173"/>
              <a:gd name="connsiteY0" fmla="*/ 1312836 h 1415933"/>
              <a:gd name="connsiteX1" fmla="*/ 974618 w 1576173"/>
              <a:gd name="connsiteY1" fmla="*/ 1333201 h 1415933"/>
              <a:gd name="connsiteX2" fmla="*/ 974618 w 1576173"/>
              <a:gd name="connsiteY2" fmla="*/ 1395569 h 1415933"/>
              <a:gd name="connsiteX3" fmla="*/ 956596 w 1576173"/>
              <a:gd name="connsiteY3" fmla="*/ 1415933 h 1415933"/>
              <a:gd name="connsiteX4" fmla="*/ 937372 w 1576173"/>
              <a:gd name="connsiteY4" fmla="*/ 1395569 h 1415933"/>
              <a:gd name="connsiteX5" fmla="*/ 937372 w 1576173"/>
              <a:gd name="connsiteY5" fmla="*/ 1333201 h 1415933"/>
              <a:gd name="connsiteX6" fmla="*/ 956596 w 1576173"/>
              <a:gd name="connsiteY6" fmla="*/ 1312836 h 1415933"/>
              <a:gd name="connsiteX7" fmla="*/ 615446 w 1576173"/>
              <a:gd name="connsiteY7" fmla="*/ 1312836 h 1415933"/>
              <a:gd name="connsiteX8" fmla="*/ 634088 w 1576173"/>
              <a:gd name="connsiteY8" fmla="*/ 1333201 h 1415933"/>
              <a:gd name="connsiteX9" fmla="*/ 634088 w 1576173"/>
              <a:gd name="connsiteY9" fmla="*/ 1395569 h 1415933"/>
              <a:gd name="connsiteX10" fmla="*/ 615446 w 1576173"/>
              <a:gd name="connsiteY10" fmla="*/ 1415933 h 1415933"/>
              <a:gd name="connsiteX11" fmla="*/ 596804 w 1576173"/>
              <a:gd name="connsiteY11" fmla="*/ 1395569 h 1415933"/>
              <a:gd name="connsiteX12" fmla="*/ 596804 w 1576173"/>
              <a:gd name="connsiteY12" fmla="*/ 1333201 h 1415933"/>
              <a:gd name="connsiteX13" fmla="*/ 615446 w 1576173"/>
              <a:gd name="connsiteY13" fmla="*/ 1312836 h 1415933"/>
              <a:gd name="connsiteX14" fmla="*/ 134974 w 1576173"/>
              <a:gd name="connsiteY14" fmla="*/ 999732 h 1415933"/>
              <a:gd name="connsiteX15" fmla="*/ 473530 w 1576173"/>
              <a:gd name="connsiteY15" fmla="*/ 999732 h 1415933"/>
              <a:gd name="connsiteX16" fmla="*/ 606710 w 1576173"/>
              <a:gd name="connsiteY16" fmla="*/ 1142617 h 1415933"/>
              <a:gd name="connsiteX17" fmla="*/ 607956 w 1576173"/>
              <a:gd name="connsiteY17" fmla="*/ 1145102 h 1415933"/>
              <a:gd name="connsiteX18" fmla="*/ 617914 w 1576173"/>
              <a:gd name="connsiteY18" fmla="*/ 1145102 h 1415933"/>
              <a:gd name="connsiteX19" fmla="*/ 955224 w 1576173"/>
              <a:gd name="connsiteY19" fmla="*/ 1145102 h 1415933"/>
              <a:gd name="connsiteX20" fmla="*/ 968914 w 1576173"/>
              <a:gd name="connsiteY20" fmla="*/ 1145102 h 1415933"/>
              <a:gd name="connsiteX21" fmla="*/ 968914 w 1576173"/>
              <a:gd name="connsiteY21" fmla="*/ 1142617 h 1415933"/>
              <a:gd name="connsiteX22" fmla="*/ 1103340 w 1576173"/>
              <a:gd name="connsiteY22" fmla="*/ 999732 h 1415933"/>
              <a:gd name="connsiteX23" fmla="*/ 1441896 w 1576173"/>
              <a:gd name="connsiteY23" fmla="*/ 999732 h 1415933"/>
              <a:gd name="connsiteX24" fmla="*/ 1575078 w 1576173"/>
              <a:gd name="connsiteY24" fmla="*/ 1142617 h 1415933"/>
              <a:gd name="connsiteX25" fmla="*/ 1562630 w 1576173"/>
              <a:gd name="connsiteY25" fmla="*/ 1166224 h 1415933"/>
              <a:gd name="connsiteX26" fmla="*/ 1537736 w 1576173"/>
              <a:gd name="connsiteY26" fmla="*/ 1152557 h 1415933"/>
              <a:gd name="connsiteX27" fmla="*/ 1441896 w 1576173"/>
              <a:gd name="connsiteY27" fmla="*/ 1038249 h 1415933"/>
              <a:gd name="connsiteX28" fmla="*/ 1103340 w 1576173"/>
              <a:gd name="connsiteY28" fmla="*/ 1038249 h 1415933"/>
              <a:gd name="connsiteX29" fmla="*/ 1007500 w 1576173"/>
              <a:gd name="connsiteY29" fmla="*/ 1152557 h 1415933"/>
              <a:gd name="connsiteX30" fmla="*/ 1089650 w 1576173"/>
              <a:gd name="connsiteY30" fmla="*/ 1287987 h 1415933"/>
              <a:gd name="connsiteX31" fmla="*/ 1112054 w 1576173"/>
              <a:gd name="connsiteY31" fmla="*/ 1391112 h 1415933"/>
              <a:gd name="connsiteX32" fmla="*/ 1098362 w 1576173"/>
              <a:gd name="connsiteY32" fmla="*/ 1414719 h 1415933"/>
              <a:gd name="connsiteX33" fmla="*/ 1074714 w 1576173"/>
              <a:gd name="connsiteY33" fmla="*/ 1399810 h 1415933"/>
              <a:gd name="connsiteX34" fmla="*/ 1052308 w 1576173"/>
              <a:gd name="connsiteY34" fmla="*/ 1297927 h 1415933"/>
              <a:gd name="connsiteX35" fmla="*/ 955224 w 1576173"/>
              <a:gd name="connsiteY35" fmla="*/ 1183619 h 1415933"/>
              <a:gd name="connsiteX36" fmla="*/ 617914 w 1576173"/>
              <a:gd name="connsiteY36" fmla="*/ 1183619 h 1415933"/>
              <a:gd name="connsiteX37" fmla="*/ 522072 w 1576173"/>
              <a:gd name="connsiteY37" fmla="*/ 1297927 h 1415933"/>
              <a:gd name="connsiteX38" fmla="*/ 494690 w 1576173"/>
              <a:gd name="connsiteY38" fmla="*/ 1399810 h 1415933"/>
              <a:gd name="connsiteX39" fmla="*/ 477264 w 1576173"/>
              <a:gd name="connsiteY39" fmla="*/ 1414719 h 1415933"/>
              <a:gd name="connsiteX40" fmla="*/ 471040 w 1576173"/>
              <a:gd name="connsiteY40" fmla="*/ 1413477 h 1415933"/>
              <a:gd name="connsiteX41" fmla="*/ 457348 w 1576173"/>
              <a:gd name="connsiteY41" fmla="*/ 1389870 h 1415933"/>
              <a:gd name="connsiteX42" fmla="*/ 483486 w 1576173"/>
              <a:gd name="connsiteY42" fmla="*/ 1287987 h 1415933"/>
              <a:gd name="connsiteX43" fmla="*/ 569370 w 1576173"/>
              <a:gd name="connsiteY43" fmla="*/ 1151314 h 1415933"/>
              <a:gd name="connsiteX44" fmla="*/ 473530 w 1576173"/>
              <a:gd name="connsiteY44" fmla="*/ 1038249 h 1415933"/>
              <a:gd name="connsiteX45" fmla="*/ 134974 w 1576173"/>
              <a:gd name="connsiteY45" fmla="*/ 1038249 h 1415933"/>
              <a:gd name="connsiteX46" fmla="*/ 39134 w 1576173"/>
              <a:gd name="connsiteY46" fmla="*/ 1152557 h 1415933"/>
              <a:gd name="connsiteX47" fmla="*/ 14240 w 1576173"/>
              <a:gd name="connsiteY47" fmla="*/ 1166224 h 1415933"/>
              <a:gd name="connsiteX48" fmla="*/ 548 w 1576173"/>
              <a:gd name="connsiteY48" fmla="*/ 1142617 h 1415933"/>
              <a:gd name="connsiteX49" fmla="*/ 134974 w 1576173"/>
              <a:gd name="connsiteY49" fmla="*/ 999732 h 1415933"/>
              <a:gd name="connsiteX50" fmla="*/ 782948 w 1576173"/>
              <a:gd name="connsiteY50" fmla="*/ 851266 h 1415933"/>
              <a:gd name="connsiteX51" fmla="*/ 668056 w 1576173"/>
              <a:gd name="connsiteY51" fmla="*/ 966157 h 1415933"/>
              <a:gd name="connsiteX52" fmla="*/ 782948 w 1576173"/>
              <a:gd name="connsiteY52" fmla="*/ 1081048 h 1415933"/>
              <a:gd name="connsiteX53" fmla="*/ 897838 w 1576173"/>
              <a:gd name="connsiteY53" fmla="*/ 966157 h 1415933"/>
              <a:gd name="connsiteX54" fmla="*/ 782948 w 1576173"/>
              <a:gd name="connsiteY54" fmla="*/ 851266 h 1415933"/>
              <a:gd name="connsiteX55" fmla="*/ 782948 w 1576173"/>
              <a:gd name="connsiteY55" fmla="*/ 812969 h 1415933"/>
              <a:gd name="connsiteX56" fmla="*/ 936136 w 1576173"/>
              <a:gd name="connsiteY56" fmla="*/ 966157 h 1415933"/>
              <a:gd name="connsiteX57" fmla="*/ 782948 w 1576173"/>
              <a:gd name="connsiteY57" fmla="*/ 1119345 h 1415933"/>
              <a:gd name="connsiteX58" fmla="*/ 629760 w 1576173"/>
              <a:gd name="connsiteY58" fmla="*/ 966157 h 1415933"/>
              <a:gd name="connsiteX59" fmla="*/ 782948 w 1576173"/>
              <a:gd name="connsiteY59" fmla="*/ 812969 h 1415933"/>
              <a:gd name="connsiteX60" fmla="*/ 1275192 w 1576173"/>
              <a:gd name="connsiteY60" fmla="*/ 708447 h 1415933"/>
              <a:gd name="connsiteX61" fmla="*/ 1158718 w 1576173"/>
              <a:gd name="connsiteY61" fmla="*/ 823338 h 1415933"/>
              <a:gd name="connsiteX62" fmla="*/ 1275192 w 1576173"/>
              <a:gd name="connsiteY62" fmla="*/ 938229 h 1415933"/>
              <a:gd name="connsiteX63" fmla="*/ 1391668 w 1576173"/>
              <a:gd name="connsiteY63" fmla="*/ 823338 h 1415933"/>
              <a:gd name="connsiteX64" fmla="*/ 1275192 w 1576173"/>
              <a:gd name="connsiteY64" fmla="*/ 708447 h 1415933"/>
              <a:gd name="connsiteX65" fmla="*/ 302926 w 1576173"/>
              <a:gd name="connsiteY65" fmla="*/ 708447 h 1415933"/>
              <a:gd name="connsiteX66" fmla="*/ 186452 w 1576173"/>
              <a:gd name="connsiteY66" fmla="*/ 823338 h 1415933"/>
              <a:gd name="connsiteX67" fmla="*/ 302926 w 1576173"/>
              <a:gd name="connsiteY67" fmla="*/ 938229 h 1415933"/>
              <a:gd name="connsiteX68" fmla="*/ 419400 w 1576173"/>
              <a:gd name="connsiteY68" fmla="*/ 823338 h 1415933"/>
              <a:gd name="connsiteX69" fmla="*/ 302926 w 1576173"/>
              <a:gd name="connsiteY69" fmla="*/ 708447 h 1415933"/>
              <a:gd name="connsiteX70" fmla="*/ 1275192 w 1576173"/>
              <a:gd name="connsiteY70" fmla="*/ 670150 h 1415933"/>
              <a:gd name="connsiteX71" fmla="*/ 1430492 w 1576173"/>
              <a:gd name="connsiteY71" fmla="*/ 823338 h 1415933"/>
              <a:gd name="connsiteX72" fmla="*/ 1275192 w 1576173"/>
              <a:gd name="connsiteY72" fmla="*/ 976526 h 1415933"/>
              <a:gd name="connsiteX73" fmla="*/ 1118640 w 1576173"/>
              <a:gd name="connsiteY73" fmla="*/ 823338 h 1415933"/>
              <a:gd name="connsiteX74" fmla="*/ 1275192 w 1576173"/>
              <a:gd name="connsiteY74" fmla="*/ 670150 h 1415933"/>
              <a:gd name="connsiteX75" fmla="*/ 302926 w 1576173"/>
              <a:gd name="connsiteY75" fmla="*/ 670150 h 1415933"/>
              <a:gd name="connsiteX76" fmla="*/ 458224 w 1576173"/>
              <a:gd name="connsiteY76" fmla="*/ 823338 h 1415933"/>
              <a:gd name="connsiteX77" fmla="*/ 302926 w 1576173"/>
              <a:gd name="connsiteY77" fmla="*/ 976526 h 1415933"/>
              <a:gd name="connsiteX78" fmla="*/ 146376 w 1576173"/>
              <a:gd name="connsiteY78" fmla="*/ 823338 h 1415933"/>
              <a:gd name="connsiteX79" fmla="*/ 302926 w 1576173"/>
              <a:gd name="connsiteY79" fmla="*/ 670150 h 1415933"/>
              <a:gd name="connsiteX80" fmla="*/ 854562 w 1576173"/>
              <a:gd name="connsiteY80" fmla="*/ 39877 h 1415933"/>
              <a:gd name="connsiteX81" fmla="*/ 811068 w 1576173"/>
              <a:gd name="connsiteY81" fmla="*/ 83492 h 1415933"/>
              <a:gd name="connsiteX82" fmla="*/ 811068 w 1576173"/>
              <a:gd name="connsiteY82" fmla="*/ 206861 h 1415933"/>
              <a:gd name="connsiteX83" fmla="*/ 791184 w 1576173"/>
              <a:gd name="connsiteY83" fmla="*/ 206861 h 1415933"/>
              <a:gd name="connsiteX84" fmla="*/ 706682 w 1576173"/>
              <a:gd name="connsiteY84" fmla="*/ 291599 h 1415933"/>
              <a:gd name="connsiteX85" fmla="*/ 791184 w 1576173"/>
              <a:gd name="connsiteY85" fmla="*/ 376338 h 1415933"/>
              <a:gd name="connsiteX86" fmla="*/ 811068 w 1576173"/>
              <a:gd name="connsiteY86" fmla="*/ 376338 h 1415933"/>
              <a:gd name="connsiteX87" fmla="*/ 811068 w 1576173"/>
              <a:gd name="connsiteY87" fmla="*/ 498460 h 1415933"/>
              <a:gd name="connsiteX88" fmla="*/ 854562 w 1576173"/>
              <a:gd name="connsiteY88" fmla="*/ 542076 h 1415933"/>
              <a:gd name="connsiteX89" fmla="*/ 940308 w 1576173"/>
              <a:gd name="connsiteY89" fmla="*/ 542076 h 1415933"/>
              <a:gd name="connsiteX90" fmla="*/ 1062090 w 1576173"/>
              <a:gd name="connsiteY90" fmla="*/ 438645 h 1415933"/>
              <a:gd name="connsiteX91" fmla="*/ 1183874 w 1576173"/>
              <a:gd name="connsiteY91" fmla="*/ 542076 h 1415933"/>
              <a:gd name="connsiteX92" fmla="*/ 1275834 w 1576173"/>
              <a:gd name="connsiteY92" fmla="*/ 542076 h 1415933"/>
              <a:gd name="connsiteX93" fmla="*/ 1320570 w 1576173"/>
              <a:gd name="connsiteY93" fmla="*/ 498460 h 1415933"/>
              <a:gd name="connsiteX94" fmla="*/ 1320570 w 1576173"/>
              <a:gd name="connsiteY94" fmla="*/ 153277 h 1415933"/>
              <a:gd name="connsiteX95" fmla="*/ 1206242 w 1576173"/>
              <a:gd name="connsiteY95" fmla="*/ 39877 h 1415933"/>
              <a:gd name="connsiteX96" fmla="*/ 376126 w 1576173"/>
              <a:gd name="connsiteY96" fmla="*/ 39877 h 1415933"/>
              <a:gd name="connsiteX97" fmla="*/ 261800 w 1576173"/>
              <a:gd name="connsiteY97" fmla="*/ 153277 h 1415933"/>
              <a:gd name="connsiteX98" fmla="*/ 261800 w 1576173"/>
              <a:gd name="connsiteY98" fmla="*/ 498460 h 1415933"/>
              <a:gd name="connsiteX99" fmla="*/ 306536 w 1576173"/>
              <a:gd name="connsiteY99" fmla="*/ 542076 h 1415933"/>
              <a:gd name="connsiteX100" fmla="*/ 399738 w 1576173"/>
              <a:gd name="connsiteY100" fmla="*/ 542076 h 1415933"/>
              <a:gd name="connsiteX101" fmla="*/ 433290 w 1576173"/>
              <a:gd name="connsiteY101" fmla="*/ 570737 h 1415933"/>
              <a:gd name="connsiteX102" fmla="*/ 516550 w 1576173"/>
              <a:gd name="connsiteY102" fmla="*/ 646752 h 1415933"/>
              <a:gd name="connsiteX103" fmla="*/ 601054 w 1576173"/>
              <a:gd name="connsiteY103" fmla="*/ 570737 h 1415933"/>
              <a:gd name="connsiteX104" fmla="*/ 633364 w 1576173"/>
              <a:gd name="connsiteY104" fmla="*/ 542076 h 1415933"/>
              <a:gd name="connsiteX105" fmla="*/ 726564 w 1576173"/>
              <a:gd name="connsiteY105" fmla="*/ 542076 h 1415933"/>
              <a:gd name="connsiteX106" fmla="*/ 772544 w 1576173"/>
              <a:gd name="connsiteY106" fmla="*/ 498460 h 1415933"/>
              <a:gd name="connsiteX107" fmla="*/ 772544 w 1576173"/>
              <a:gd name="connsiteY107" fmla="*/ 413722 h 1415933"/>
              <a:gd name="connsiteX108" fmla="*/ 668158 w 1576173"/>
              <a:gd name="connsiteY108" fmla="*/ 291599 h 1415933"/>
              <a:gd name="connsiteX109" fmla="*/ 772544 w 1576173"/>
              <a:gd name="connsiteY109" fmla="*/ 169477 h 1415933"/>
              <a:gd name="connsiteX110" fmla="*/ 772544 w 1576173"/>
              <a:gd name="connsiteY110" fmla="*/ 83492 h 1415933"/>
              <a:gd name="connsiteX111" fmla="*/ 726564 w 1576173"/>
              <a:gd name="connsiteY111" fmla="*/ 39877 h 1415933"/>
              <a:gd name="connsiteX112" fmla="*/ 376126 w 1576173"/>
              <a:gd name="connsiteY112" fmla="*/ 0 h 1415933"/>
              <a:gd name="connsiteX113" fmla="*/ 726564 w 1576173"/>
              <a:gd name="connsiteY113" fmla="*/ 0 h 1415933"/>
              <a:gd name="connsiteX114" fmla="*/ 791184 w 1576173"/>
              <a:gd name="connsiteY114" fmla="*/ 29908 h 1415933"/>
              <a:gd name="connsiteX115" fmla="*/ 854562 w 1576173"/>
              <a:gd name="connsiteY115" fmla="*/ 0 h 1415933"/>
              <a:gd name="connsiteX116" fmla="*/ 1206242 w 1576173"/>
              <a:gd name="connsiteY116" fmla="*/ 0 h 1415933"/>
              <a:gd name="connsiteX117" fmla="*/ 1359094 w 1576173"/>
              <a:gd name="connsiteY117" fmla="*/ 153277 h 1415933"/>
              <a:gd name="connsiteX118" fmla="*/ 1359094 w 1576173"/>
              <a:gd name="connsiteY118" fmla="*/ 498460 h 1415933"/>
              <a:gd name="connsiteX119" fmla="*/ 1275834 w 1576173"/>
              <a:gd name="connsiteY119" fmla="*/ 581953 h 1415933"/>
              <a:gd name="connsiteX120" fmla="*/ 1178904 w 1576173"/>
              <a:gd name="connsiteY120" fmla="*/ 581953 h 1415933"/>
              <a:gd name="connsiteX121" fmla="*/ 1145350 w 1576173"/>
              <a:gd name="connsiteY121" fmla="*/ 552045 h 1415933"/>
              <a:gd name="connsiteX122" fmla="*/ 1062090 w 1576173"/>
              <a:gd name="connsiteY122" fmla="*/ 477276 h 1415933"/>
              <a:gd name="connsiteX123" fmla="*/ 977588 w 1576173"/>
              <a:gd name="connsiteY123" fmla="*/ 552045 h 1415933"/>
              <a:gd name="connsiteX124" fmla="*/ 946520 w 1576173"/>
              <a:gd name="connsiteY124" fmla="*/ 581953 h 1415933"/>
              <a:gd name="connsiteX125" fmla="*/ 854562 w 1576173"/>
              <a:gd name="connsiteY125" fmla="*/ 581953 h 1415933"/>
              <a:gd name="connsiteX126" fmla="*/ 791184 w 1576173"/>
              <a:gd name="connsiteY126" fmla="*/ 550799 h 1415933"/>
              <a:gd name="connsiteX127" fmla="*/ 726564 w 1576173"/>
              <a:gd name="connsiteY127" fmla="*/ 581953 h 1415933"/>
              <a:gd name="connsiteX128" fmla="*/ 639576 w 1576173"/>
              <a:gd name="connsiteY128" fmla="*/ 581953 h 1415933"/>
              <a:gd name="connsiteX129" fmla="*/ 516550 w 1576173"/>
              <a:gd name="connsiteY129" fmla="*/ 685383 h 1415933"/>
              <a:gd name="connsiteX130" fmla="*/ 394768 w 1576173"/>
              <a:gd name="connsiteY130" fmla="*/ 581953 h 1415933"/>
              <a:gd name="connsiteX131" fmla="*/ 306536 w 1576173"/>
              <a:gd name="connsiteY131" fmla="*/ 581953 h 1415933"/>
              <a:gd name="connsiteX132" fmla="*/ 223276 w 1576173"/>
              <a:gd name="connsiteY132" fmla="*/ 498460 h 1415933"/>
              <a:gd name="connsiteX133" fmla="*/ 223276 w 1576173"/>
              <a:gd name="connsiteY133" fmla="*/ 153277 h 1415933"/>
              <a:gd name="connsiteX134" fmla="*/ 376126 w 1576173"/>
              <a:gd name="connsiteY134" fmla="*/ 0 h 141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76173" h="1415933">
                <a:moveTo>
                  <a:pt x="956596" y="1312836"/>
                </a:moveTo>
                <a:cubicBezTo>
                  <a:pt x="966208" y="1312836"/>
                  <a:pt x="974618" y="1321746"/>
                  <a:pt x="974618" y="1333201"/>
                </a:cubicBezTo>
                <a:lnTo>
                  <a:pt x="974618" y="1395569"/>
                </a:lnTo>
                <a:cubicBezTo>
                  <a:pt x="974618" y="1407024"/>
                  <a:pt x="966208" y="1415933"/>
                  <a:pt x="956596" y="1415933"/>
                </a:cubicBezTo>
                <a:cubicBezTo>
                  <a:pt x="944580" y="1415933"/>
                  <a:pt x="937372" y="1407024"/>
                  <a:pt x="937372" y="1395569"/>
                </a:cubicBezTo>
                <a:lnTo>
                  <a:pt x="937372" y="1333201"/>
                </a:lnTo>
                <a:cubicBezTo>
                  <a:pt x="937372" y="1321746"/>
                  <a:pt x="944580" y="1312836"/>
                  <a:pt x="956596" y="1312836"/>
                </a:cubicBezTo>
                <a:close/>
                <a:moveTo>
                  <a:pt x="615446" y="1312836"/>
                </a:moveTo>
                <a:cubicBezTo>
                  <a:pt x="625932" y="1312836"/>
                  <a:pt x="634088" y="1321746"/>
                  <a:pt x="634088" y="1333201"/>
                </a:cubicBezTo>
                <a:lnTo>
                  <a:pt x="634088" y="1395569"/>
                </a:lnTo>
                <a:cubicBezTo>
                  <a:pt x="634088" y="1407024"/>
                  <a:pt x="625932" y="1415933"/>
                  <a:pt x="615446" y="1415933"/>
                </a:cubicBezTo>
                <a:cubicBezTo>
                  <a:pt x="606124" y="1415933"/>
                  <a:pt x="596804" y="1407024"/>
                  <a:pt x="596804" y="1395569"/>
                </a:cubicBezTo>
                <a:lnTo>
                  <a:pt x="596804" y="1333201"/>
                </a:lnTo>
                <a:cubicBezTo>
                  <a:pt x="596804" y="1321746"/>
                  <a:pt x="606124" y="1312836"/>
                  <a:pt x="615446" y="1312836"/>
                </a:cubicBezTo>
                <a:close/>
                <a:moveTo>
                  <a:pt x="134974" y="999732"/>
                </a:moveTo>
                <a:lnTo>
                  <a:pt x="473530" y="999732"/>
                </a:lnTo>
                <a:cubicBezTo>
                  <a:pt x="554434" y="999732"/>
                  <a:pt x="575594" y="1032037"/>
                  <a:pt x="606710" y="1142617"/>
                </a:cubicBezTo>
                <a:cubicBezTo>
                  <a:pt x="607956" y="1143859"/>
                  <a:pt x="607956" y="1145102"/>
                  <a:pt x="607956" y="1145102"/>
                </a:cubicBezTo>
                <a:cubicBezTo>
                  <a:pt x="610444" y="1145102"/>
                  <a:pt x="614180" y="1145102"/>
                  <a:pt x="617914" y="1145102"/>
                </a:cubicBezTo>
                <a:lnTo>
                  <a:pt x="955224" y="1145102"/>
                </a:lnTo>
                <a:cubicBezTo>
                  <a:pt x="960202" y="1145102"/>
                  <a:pt x="965180" y="1145102"/>
                  <a:pt x="968914" y="1145102"/>
                </a:cubicBezTo>
                <a:cubicBezTo>
                  <a:pt x="968914" y="1145102"/>
                  <a:pt x="968914" y="1143859"/>
                  <a:pt x="968914" y="1142617"/>
                </a:cubicBezTo>
                <a:cubicBezTo>
                  <a:pt x="1000032" y="1032037"/>
                  <a:pt x="1022436" y="999732"/>
                  <a:pt x="1103340" y="999732"/>
                </a:cubicBezTo>
                <a:lnTo>
                  <a:pt x="1441896" y="999732"/>
                </a:lnTo>
                <a:cubicBezTo>
                  <a:pt x="1522800" y="999732"/>
                  <a:pt x="1543960" y="1032037"/>
                  <a:pt x="1575078" y="1142617"/>
                </a:cubicBezTo>
                <a:cubicBezTo>
                  <a:pt x="1578812" y="1152557"/>
                  <a:pt x="1572588" y="1163739"/>
                  <a:pt x="1562630" y="1166224"/>
                </a:cubicBezTo>
                <a:cubicBezTo>
                  <a:pt x="1551428" y="1169951"/>
                  <a:pt x="1541470" y="1163739"/>
                  <a:pt x="1537736" y="1152557"/>
                </a:cubicBezTo>
                <a:cubicBezTo>
                  <a:pt x="1506620" y="1038249"/>
                  <a:pt x="1490438" y="1038249"/>
                  <a:pt x="1441896" y="1038249"/>
                </a:cubicBezTo>
                <a:lnTo>
                  <a:pt x="1103340" y="1038249"/>
                </a:lnTo>
                <a:cubicBezTo>
                  <a:pt x="1054798" y="1038249"/>
                  <a:pt x="1038618" y="1038249"/>
                  <a:pt x="1007500" y="1152557"/>
                </a:cubicBezTo>
                <a:cubicBezTo>
                  <a:pt x="1048574" y="1166224"/>
                  <a:pt x="1067244" y="1205983"/>
                  <a:pt x="1089650" y="1287987"/>
                </a:cubicBezTo>
                <a:lnTo>
                  <a:pt x="1112054" y="1391112"/>
                </a:lnTo>
                <a:cubicBezTo>
                  <a:pt x="1114544" y="1401052"/>
                  <a:pt x="1108320" y="1412234"/>
                  <a:pt x="1098362" y="1414719"/>
                </a:cubicBezTo>
                <a:cubicBezTo>
                  <a:pt x="1087160" y="1415962"/>
                  <a:pt x="1077202" y="1409749"/>
                  <a:pt x="1074714" y="1399810"/>
                </a:cubicBezTo>
                <a:lnTo>
                  <a:pt x="1052308" y="1297927"/>
                </a:lnTo>
                <a:cubicBezTo>
                  <a:pt x="1019946" y="1183619"/>
                  <a:pt x="1005010" y="1183619"/>
                  <a:pt x="955224" y="1183619"/>
                </a:cubicBezTo>
                <a:lnTo>
                  <a:pt x="617914" y="1183619"/>
                </a:lnTo>
                <a:cubicBezTo>
                  <a:pt x="569370" y="1183619"/>
                  <a:pt x="553190" y="1183619"/>
                  <a:pt x="522072" y="1297927"/>
                </a:cubicBezTo>
                <a:lnTo>
                  <a:pt x="494690" y="1399810"/>
                </a:lnTo>
                <a:cubicBezTo>
                  <a:pt x="493444" y="1408507"/>
                  <a:pt x="485976" y="1414719"/>
                  <a:pt x="477264" y="1414719"/>
                </a:cubicBezTo>
                <a:cubicBezTo>
                  <a:pt x="474774" y="1414719"/>
                  <a:pt x="473530" y="1414719"/>
                  <a:pt x="471040" y="1413477"/>
                </a:cubicBezTo>
                <a:cubicBezTo>
                  <a:pt x="461082" y="1410992"/>
                  <a:pt x="454860" y="1401052"/>
                  <a:pt x="457348" y="1389870"/>
                </a:cubicBezTo>
                <a:lnTo>
                  <a:pt x="483486" y="1287987"/>
                </a:lnTo>
                <a:cubicBezTo>
                  <a:pt x="507136" y="1203498"/>
                  <a:pt x="525806" y="1164982"/>
                  <a:pt x="569370" y="1151314"/>
                </a:cubicBezTo>
                <a:cubicBezTo>
                  <a:pt x="537008" y="1038249"/>
                  <a:pt x="522072" y="1038249"/>
                  <a:pt x="473530" y="1038249"/>
                </a:cubicBezTo>
                <a:lnTo>
                  <a:pt x="134974" y="1038249"/>
                </a:lnTo>
                <a:cubicBezTo>
                  <a:pt x="86432" y="1038249"/>
                  <a:pt x="71496" y="1038249"/>
                  <a:pt x="39134" y="1152557"/>
                </a:cubicBezTo>
                <a:cubicBezTo>
                  <a:pt x="36644" y="1163739"/>
                  <a:pt x="25442" y="1169951"/>
                  <a:pt x="14240" y="1166224"/>
                </a:cubicBezTo>
                <a:cubicBezTo>
                  <a:pt x="4282" y="1163739"/>
                  <a:pt x="-1940" y="1152557"/>
                  <a:pt x="548" y="1142617"/>
                </a:cubicBezTo>
                <a:cubicBezTo>
                  <a:pt x="31666" y="1032037"/>
                  <a:pt x="54070" y="999732"/>
                  <a:pt x="134974" y="999732"/>
                </a:cubicBezTo>
                <a:close/>
                <a:moveTo>
                  <a:pt x="782948" y="851266"/>
                </a:moveTo>
                <a:cubicBezTo>
                  <a:pt x="719944" y="851266"/>
                  <a:pt x="668056" y="903152"/>
                  <a:pt x="668056" y="966157"/>
                </a:cubicBezTo>
                <a:cubicBezTo>
                  <a:pt x="668056" y="1029162"/>
                  <a:pt x="719944" y="1081048"/>
                  <a:pt x="782948" y="1081048"/>
                </a:cubicBezTo>
                <a:cubicBezTo>
                  <a:pt x="847188" y="1081048"/>
                  <a:pt x="897838" y="1029162"/>
                  <a:pt x="897838" y="966157"/>
                </a:cubicBezTo>
                <a:cubicBezTo>
                  <a:pt x="897838" y="903152"/>
                  <a:pt x="847188" y="851266"/>
                  <a:pt x="782948" y="851266"/>
                </a:cubicBezTo>
                <a:close/>
                <a:moveTo>
                  <a:pt x="782948" y="812969"/>
                </a:moveTo>
                <a:cubicBezTo>
                  <a:pt x="868190" y="812969"/>
                  <a:pt x="936136" y="882151"/>
                  <a:pt x="936136" y="966157"/>
                </a:cubicBezTo>
                <a:cubicBezTo>
                  <a:pt x="936136" y="1050163"/>
                  <a:pt x="868190" y="1119345"/>
                  <a:pt x="782948" y="1119345"/>
                </a:cubicBezTo>
                <a:cubicBezTo>
                  <a:pt x="698942" y="1119345"/>
                  <a:pt x="629760" y="1050163"/>
                  <a:pt x="629760" y="966157"/>
                </a:cubicBezTo>
                <a:cubicBezTo>
                  <a:pt x="629760" y="882151"/>
                  <a:pt x="698942" y="812969"/>
                  <a:pt x="782948" y="812969"/>
                </a:cubicBezTo>
                <a:close/>
                <a:moveTo>
                  <a:pt x="1275192" y="708447"/>
                </a:moveTo>
                <a:cubicBezTo>
                  <a:pt x="1210066" y="708447"/>
                  <a:pt x="1158718" y="760333"/>
                  <a:pt x="1158718" y="823338"/>
                </a:cubicBezTo>
                <a:cubicBezTo>
                  <a:pt x="1158718" y="886343"/>
                  <a:pt x="1210066" y="938229"/>
                  <a:pt x="1275192" y="938229"/>
                </a:cubicBezTo>
                <a:cubicBezTo>
                  <a:pt x="1339066" y="938229"/>
                  <a:pt x="1391668" y="886343"/>
                  <a:pt x="1391668" y="823338"/>
                </a:cubicBezTo>
                <a:cubicBezTo>
                  <a:pt x="1391668" y="760333"/>
                  <a:pt x="1339066" y="708447"/>
                  <a:pt x="1275192" y="708447"/>
                </a:cubicBezTo>
                <a:close/>
                <a:moveTo>
                  <a:pt x="302926" y="708447"/>
                </a:moveTo>
                <a:cubicBezTo>
                  <a:pt x="237800" y="708447"/>
                  <a:pt x="186452" y="760333"/>
                  <a:pt x="186452" y="823338"/>
                </a:cubicBezTo>
                <a:cubicBezTo>
                  <a:pt x="186452" y="886343"/>
                  <a:pt x="237800" y="938229"/>
                  <a:pt x="302926" y="938229"/>
                </a:cubicBezTo>
                <a:cubicBezTo>
                  <a:pt x="366798" y="938229"/>
                  <a:pt x="419400" y="886343"/>
                  <a:pt x="419400" y="823338"/>
                </a:cubicBezTo>
                <a:cubicBezTo>
                  <a:pt x="419400" y="760333"/>
                  <a:pt x="366798" y="708447"/>
                  <a:pt x="302926" y="708447"/>
                </a:cubicBezTo>
                <a:close/>
                <a:moveTo>
                  <a:pt x="1275192" y="670150"/>
                </a:moveTo>
                <a:cubicBezTo>
                  <a:pt x="1360358" y="670150"/>
                  <a:pt x="1430492" y="739332"/>
                  <a:pt x="1430492" y="823338"/>
                </a:cubicBezTo>
                <a:cubicBezTo>
                  <a:pt x="1430492" y="908580"/>
                  <a:pt x="1360358" y="976526"/>
                  <a:pt x="1275192" y="976526"/>
                </a:cubicBezTo>
                <a:cubicBezTo>
                  <a:pt x="1188776" y="976526"/>
                  <a:pt x="1118640" y="908580"/>
                  <a:pt x="1118640" y="823338"/>
                </a:cubicBezTo>
                <a:cubicBezTo>
                  <a:pt x="1118640" y="739332"/>
                  <a:pt x="1188776" y="670150"/>
                  <a:pt x="1275192" y="670150"/>
                </a:cubicBezTo>
                <a:close/>
                <a:moveTo>
                  <a:pt x="302926" y="670150"/>
                </a:moveTo>
                <a:cubicBezTo>
                  <a:pt x="388088" y="670150"/>
                  <a:pt x="458224" y="739332"/>
                  <a:pt x="458224" y="823338"/>
                </a:cubicBezTo>
                <a:cubicBezTo>
                  <a:pt x="458224" y="908580"/>
                  <a:pt x="388088" y="976526"/>
                  <a:pt x="302926" y="976526"/>
                </a:cubicBezTo>
                <a:cubicBezTo>
                  <a:pt x="216510" y="976526"/>
                  <a:pt x="146376" y="908580"/>
                  <a:pt x="146376" y="823338"/>
                </a:cubicBezTo>
                <a:cubicBezTo>
                  <a:pt x="146376" y="739332"/>
                  <a:pt x="216510" y="670150"/>
                  <a:pt x="302926" y="670150"/>
                </a:cubicBezTo>
                <a:close/>
                <a:moveTo>
                  <a:pt x="854562" y="39877"/>
                </a:moveTo>
                <a:cubicBezTo>
                  <a:pt x="830950" y="39877"/>
                  <a:pt x="811068" y="58569"/>
                  <a:pt x="811068" y="83492"/>
                </a:cubicBezTo>
                <a:lnTo>
                  <a:pt x="811068" y="206861"/>
                </a:lnTo>
                <a:lnTo>
                  <a:pt x="791184" y="206861"/>
                </a:lnTo>
                <a:cubicBezTo>
                  <a:pt x="745206" y="206861"/>
                  <a:pt x="706682" y="244246"/>
                  <a:pt x="706682" y="291599"/>
                </a:cubicBezTo>
                <a:cubicBezTo>
                  <a:pt x="706682" y="337707"/>
                  <a:pt x="745206" y="376338"/>
                  <a:pt x="791184" y="376338"/>
                </a:cubicBezTo>
                <a:lnTo>
                  <a:pt x="811068" y="376338"/>
                </a:lnTo>
                <a:lnTo>
                  <a:pt x="811068" y="498460"/>
                </a:lnTo>
                <a:cubicBezTo>
                  <a:pt x="811068" y="522137"/>
                  <a:pt x="830950" y="542076"/>
                  <a:pt x="854562" y="542076"/>
                </a:cubicBezTo>
                <a:lnTo>
                  <a:pt x="940308" y="542076"/>
                </a:lnTo>
                <a:cubicBezTo>
                  <a:pt x="949006" y="483507"/>
                  <a:pt x="1001200" y="438645"/>
                  <a:pt x="1062090" y="438645"/>
                </a:cubicBezTo>
                <a:cubicBezTo>
                  <a:pt x="1122982" y="438645"/>
                  <a:pt x="1175176" y="483507"/>
                  <a:pt x="1183874" y="542076"/>
                </a:cubicBezTo>
                <a:lnTo>
                  <a:pt x="1275834" y="542076"/>
                </a:lnTo>
                <a:cubicBezTo>
                  <a:pt x="1300688" y="542076"/>
                  <a:pt x="1320570" y="522137"/>
                  <a:pt x="1320570" y="498460"/>
                </a:cubicBezTo>
                <a:lnTo>
                  <a:pt x="1320570" y="153277"/>
                </a:lnTo>
                <a:cubicBezTo>
                  <a:pt x="1320570" y="90969"/>
                  <a:pt x="1268378" y="39877"/>
                  <a:pt x="1206242" y="39877"/>
                </a:cubicBezTo>
                <a:close/>
                <a:moveTo>
                  <a:pt x="376126" y="39877"/>
                </a:moveTo>
                <a:cubicBezTo>
                  <a:pt x="312750" y="39877"/>
                  <a:pt x="261800" y="90969"/>
                  <a:pt x="261800" y="153277"/>
                </a:cubicBezTo>
                <a:lnTo>
                  <a:pt x="261800" y="498460"/>
                </a:lnTo>
                <a:cubicBezTo>
                  <a:pt x="261800" y="522137"/>
                  <a:pt x="281682" y="542076"/>
                  <a:pt x="306536" y="542076"/>
                </a:cubicBezTo>
                <a:lnTo>
                  <a:pt x="399738" y="542076"/>
                </a:lnTo>
                <a:cubicBezTo>
                  <a:pt x="417136" y="542076"/>
                  <a:pt x="430804" y="554537"/>
                  <a:pt x="433290" y="570737"/>
                </a:cubicBezTo>
                <a:cubicBezTo>
                  <a:pt x="438262" y="613106"/>
                  <a:pt x="473056" y="646752"/>
                  <a:pt x="516550" y="646752"/>
                </a:cubicBezTo>
                <a:cubicBezTo>
                  <a:pt x="561288" y="646752"/>
                  <a:pt x="596082" y="613106"/>
                  <a:pt x="601054" y="570737"/>
                </a:cubicBezTo>
                <a:cubicBezTo>
                  <a:pt x="602296" y="554537"/>
                  <a:pt x="615966" y="542076"/>
                  <a:pt x="633364" y="542076"/>
                </a:cubicBezTo>
                <a:lnTo>
                  <a:pt x="726564" y="542076"/>
                </a:lnTo>
                <a:cubicBezTo>
                  <a:pt x="752662" y="542076"/>
                  <a:pt x="772544" y="522137"/>
                  <a:pt x="772544" y="498460"/>
                </a:cubicBezTo>
                <a:lnTo>
                  <a:pt x="772544" y="413722"/>
                </a:lnTo>
                <a:cubicBezTo>
                  <a:pt x="712896" y="404999"/>
                  <a:pt x="668158" y="352661"/>
                  <a:pt x="668158" y="291599"/>
                </a:cubicBezTo>
                <a:cubicBezTo>
                  <a:pt x="668158" y="229292"/>
                  <a:pt x="712896" y="178200"/>
                  <a:pt x="772544" y="169477"/>
                </a:cubicBezTo>
                <a:lnTo>
                  <a:pt x="772544" y="83492"/>
                </a:lnTo>
                <a:cubicBezTo>
                  <a:pt x="772544" y="58569"/>
                  <a:pt x="752662" y="39877"/>
                  <a:pt x="726564" y="39877"/>
                </a:cubicBezTo>
                <a:close/>
                <a:moveTo>
                  <a:pt x="376126" y="0"/>
                </a:moveTo>
                <a:lnTo>
                  <a:pt x="726564" y="0"/>
                </a:lnTo>
                <a:cubicBezTo>
                  <a:pt x="752662" y="0"/>
                  <a:pt x="776272" y="12462"/>
                  <a:pt x="791184" y="29908"/>
                </a:cubicBezTo>
                <a:cubicBezTo>
                  <a:pt x="806096" y="12462"/>
                  <a:pt x="829708" y="0"/>
                  <a:pt x="854562" y="0"/>
                </a:cubicBezTo>
                <a:lnTo>
                  <a:pt x="1206242" y="0"/>
                </a:lnTo>
                <a:cubicBezTo>
                  <a:pt x="1290746" y="0"/>
                  <a:pt x="1359094" y="69785"/>
                  <a:pt x="1359094" y="153277"/>
                </a:cubicBezTo>
                <a:lnTo>
                  <a:pt x="1359094" y="498460"/>
                </a:lnTo>
                <a:cubicBezTo>
                  <a:pt x="1359094" y="543322"/>
                  <a:pt x="1321812" y="581953"/>
                  <a:pt x="1275834" y="581953"/>
                </a:cubicBezTo>
                <a:lnTo>
                  <a:pt x="1178904" y="581953"/>
                </a:lnTo>
                <a:cubicBezTo>
                  <a:pt x="1161506" y="581953"/>
                  <a:pt x="1147836" y="568245"/>
                  <a:pt x="1145350" y="552045"/>
                </a:cubicBezTo>
                <a:cubicBezTo>
                  <a:pt x="1141622" y="508430"/>
                  <a:pt x="1105584" y="477276"/>
                  <a:pt x="1062090" y="477276"/>
                </a:cubicBezTo>
                <a:cubicBezTo>
                  <a:pt x="1018596" y="477276"/>
                  <a:pt x="982558" y="508430"/>
                  <a:pt x="977588" y="552045"/>
                </a:cubicBezTo>
                <a:cubicBezTo>
                  <a:pt x="976346" y="568245"/>
                  <a:pt x="962676" y="581953"/>
                  <a:pt x="946520" y="581953"/>
                </a:cubicBezTo>
                <a:lnTo>
                  <a:pt x="854562" y="581953"/>
                </a:lnTo>
                <a:cubicBezTo>
                  <a:pt x="829708" y="581953"/>
                  <a:pt x="806096" y="569491"/>
                  <a:pt x="791184" y="550799"/>
                </a:cubicBezTo>
                <a:cubicBezTo>
                  <a:pt x="776272" y="569491"/>
                  <a:pt x="752662" y="581953"/>
                  <a:pt x="726564" y="581953"/>
                </a:cubicBezTo>
                <a:lnTo>
                  <a:pt x="639576" y="581953"/>
                </a:lnTo>
                <a:cubicBezTo>
                  <a:pt x="629636" y="640522"/>
                  <a:pt x="577442" y="685383"/>
                  <a:pt x="516550" y="685383"/>
                </a:cubicBezTo>
                <a:cubicBezTo>
                  <a:pt x="455658" y="685383"/>
                  <a:pt x="404708" y="640522"/>
                  <a:pt x="394768" y="581953"/>
                </a:cubicBezTo>
                <a:lnTo>
                  <a:pt x="306536" y="581953"/>
                </a:lnTo>
                <a:cubicBezTo>
                  <a:pt x="260556" y="581953"/>
                  <a:pt x="223276" y="543322"/>
                  <a:pt x="223276" y="498460"/>
                </a:cubicBezTo>
                <a:lnTo>
                  <a:pt x="223276" y="153277"/>
                </a:lnTo>
                <a:cubicBezTo>
                  <a:pt x="223276" y="69785"/>
                  <a:pt x="291624" y="0"/>
                  <a:pt x="376126" y="0"/>
                </a:cubicBezTo>
                <a:close/>
              </a:path>
            </a:pathLst>
          </a:custGeom>
          <a:solidFill>
            <a:schemeClr val="bg1"/>
          </a:solidFill>
          <a:ln>
            <a:noFill/>
          </a:ln>
          <a:effectLst/>
        </p:spPr>
        <p:txBody>
          <a:bodyPr wrap="square" anchor="ctr">
            <a:noAutofit/>
          </a:bodyPr>
          <a:lstStyle/>
          <a:p>
            <a:endParaRPr lang="en-US" dirty="0">
              <a:latin typeface="Poppins" pitchFamily="2" charset="77"/>
            </a:endParaRPr>
          </a:p>
        </p:txBody>
      </p:sp>
      <p:sp>
        <p:nvSpPr>
          <p:cNvPr id="5" name="Footer Placeholder 4">
            <a:extLst>
              <a:ext uri="{FF2B5EF4-FFF2-40B4-BE49-F238E27FC236}">
                <a16:creationId xmlns:a16="http://schemas.microsoft.com/office/drawing/2014/main" id="{533CC8D9-C1B3-B589-8D45-39923611D8A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7233434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AC88C863-CAF0-05D8-E560-7E10E8BE510B}"/>
              </a:ext>
            </a:extLst>
          </p:cNvPr>
          <p:cNvGraphicFramePr>
            <a:graphicFrameLocks noChangeAspect="1"/>
          </p:cNvGraphicFramePr>
          <p:nvPr>
            <p:custDataLst>
              <p:tags r:id="rId1"/>
            </p:custDataLst>
            <p:extLst>
              <p:ext uri="{D42A27DB-BD31-4B8C-83A1-F6EECF244321}">
                <p14:modId xmlns:p14="http://schemas.microsoft.com/office/powerpoint/2010/main" val="1108721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AC88C863-CAF0-05D8-E560-7E10E8BE51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16C15107-1D9F-863B-9DFD-539976618C75}"/>
              </a:ext>
            </a:extLst>
          </p:cNvPr>
          <p:cNvSpPr>
            <a:spLocks noGrp="1"/>
          </p:cNvSpPr>
          <p:nvPr>
            <p:ph type="body" sz="quarter" idx="14"/>
          </p:nvPr>
        </p:nvSpPr>
        <p:spPr/>
        <p:txBody>
          <a:bodyPr/>
          <a:lstStyle/>
          <a:p>
            <a:r>
              <a:rPr lang="en-US" dirty="0"/>
              <a:t>Subtitle</a:t>
            </a:r>
          </a:p>
        </p:txBody>
      </p:sp>
      <p:sp>
        <p:nvSpPr>
          <p:cNvPr id="9" name="Rounded Rectangle 33">
            <a:extLst>
              <a:ext uri="{FF2B5EF4-FFF2-40B4-BE49-F238E27FC236}">
                <a16:creationId xmlns:a16="http://schemas.microsoft.com/office/drawing/2014/main" id="{B9063CAD-D385-21E5-A0D0-0C5397D95B29}"/>
              </a:ext>
            </a:extLst>
          </p:cNvPr>
          <p:cNvSpPr/>
          <p:nvPr/>
        </p:nvSpPr>
        <p:spPr>
          <a:xfrm>
            <a:off x="3741680" y="1525305"/>
            <a:ext cx="1928955" cy="764344"/>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1" name="Rounded Rectangle 35">
            <a:extLst>
              <a:ext uri="{FF2B5EF4-FFF2-40B4-BE49-F238E27FC236}">
                <a16:creationId xmlns:a16="http://schemas.microsoft.com/office/drawing/2014/main" id="{BAD7191F-3A1A-2850-6B0A-B552F22B294A}"/>
              </a:ext>
            </a:extLst>
          </p:cNvPr>
          <p:cNvSpPr/>
          <p:nvPr/>
        </p:nvSpPr>
        <p:spPr>
          <a:xfrm>
            <a:off x="1496549" y="2682051"/>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3" name="Rounded Rectangle 37">
            <a:extLst>
              <a:ext uri="{FF2B5EF4-FFF2-40B4-BE49-F238E27FC236}">
                <a16:creationId xmlns:a16="http://schemas.microsoft.com/office/drawing/2014/main" id="{EFE4601B-0955-6514-5A19-6E76E0C43FB5}"/>
              </a:ext>
            </a:extLst>
          </p:cNvPr>
          <p:cNvSpPr/>
          <p:nvPr/>
        </p:nvSpPr>
        <p:spPr>
          <a:xfrm>
            <a:off x="384175"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15" name="Rounded Rectangle 39">
            <a:extLst>
              <a:ext uri="{FF2B5EF4-FFF2-40B4-BE49-F238E27FC236}">
                <a16:creationId xmlns:a16="http://schemas.microsoft.com/office/drawing/2014/main" id="{58D6A2AD-DE4E-D3B3-26F4-6F127F993C6B}"/>
              </a:ext>
            </a:extLst>
          </p:cNvPr>
          <p:cNvSpPr/>
          <p:nvPr/>
        </p:nvSpPr>
        <p:spPr>
          <a:xfrm>
            <a:off x="2608921" y="3838796"/>
            <a:ext cx="1928955" cy="764344"/>
          </a:xfrm>
          <a:prstGeom prst="rect">
            <a:avLst/>
          </a:prstGeom>
          <a:solidFill>
            <a:schemeClr val="tx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7" name="Rounded Rectangle 41">
            <a:extLst>
              <a:ext uri="{FF2B5EF4-FFF2-40B4-BE49-F238E27FC236}">
                <a16:creationId xmlns:a16="http://schemas.microsoft.com/office/drawing/2014/main" id="{2726B63B-127B-DE7F-AC56-9056501F9351}"/>
              </a:ext>
            </a:extLst>
          </p:cNvPr>
          <p:cNvSpPr/>
          <p:nvPr/>
        </p:nvSpPr>
        <p:spPr>
          <a:xfrm>
            <a:off x="5993883" y="2682051"/>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19" name="Rounded Rectangle 43">
            <a:extLst>
              <a:ext uri="{FF2B5EF4-FFF2-40B4-BE49-F238E27FC236}">
                <a16:creationId xmlns:a16="http://schemas.microsoft.com/office/drawing/2014/main" id="{E33D5481-F465-7B0F-7E20-6ED5787321E5}"/>
              </a:ext>
            </a:extLst>
          </p:cNvPr>
          <p:cNvSpPr/>
          <p:nvPr/>
        </p:nvSpPr>
        <p:spPr>
          <a:xfrm>
            <a:off x="4875290" y="3855877"/>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x</a:t>
            </a:r>
            <a:endParaRPr lang="en-US" sz="1200" dirty="0">
              <a:solidFill>
                <a:schemeClr val="bg1"/>
              </a:solidFill>
            </a:endParaRPr>
          </a:p>
        </p:txBody>
      </p:sp>
      <p:sp>
        <p:nvSpPr>
          <p:cNvPr id="21" name="Rounded Rectangle 45">
            <a:extLst>
              <a:ext uri="{FF2B5EF4-FFF2-40B4-BE49-F238E27FC236}">
                <a16:creationId xmlns:a16="http://schemas.microsoft.com/office/drawing/2014/main" id="{0F3DEAB5-98B2-37E9-4C46-91117895CE28}"/>
              </a:ext>
            </a:extLst>
          </p:cNvPr>
          <p:cNvSpPr/>
          <p:nvPr/>
        </p:nvSpPr>
        <p:spPr>
          <a:xfrm>
            <a:off x="7101594" y="3838796"/>
            <a:ext cx="1928955" cy="764344"/>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2000" tIns="148152" rIns="72000" bIns="148152" numCol="1" spcCol="1270" anchor="ctr" anchorCtr="0">
            <a:noAutofit/>
          </a:bodyPr>
          <a:lstStyle/>
          <a:p>
            <a:pPr algn="ctr" defTabSz="1087636">
              <a:lnSpc>
                <a:spcPts val="1750"/>
              </a:lnSpc>
              <a:spcBef>
                <a:spcPct val="20000"/>
              </a:spcBef>
            </a:pPr>
            <a:r>
              <a:rPr lang="en-US" sz="1200" dirty="0" err="1">
                <a:solidFill>
                  <a:schemeClr val="bg1"/>
                </a:solidFill>
              </a:rPr>
              <a:t>xxxx</a:t>
            </a:r>
            <a:endParaRPr lang="en-US" sz="1200" dirty="0">
              <a:solidFill>
                <a:schemeClr val="bg1"/>
              </a:solidFill>
            </a:endParaRPr>
          </a:p>
        </p:txBody>
      </p:sp>
      <p:sp>
        <p:nvSpPr>
          <p:cNvPr id="29" name="TextBox 53">
            <a:extLst>
              <a:ext uri="{FF2B5EF4-FFF2-40B4-BE49-F238E27FC236}">
                <a16:creationId xmlns:a16="http://schemas.microsoft.com/office/drawing/2014/main" id="{193CE3E8-2215-029F-DB80-F4E48C12C154}"/>
              </a:ext>
            </a:extLst>
          </p:cNvPr>
          <p:cNvSpPr txBox="1"/>
          <p:nvPr/>
        </p:nvSpPr>
        <p:spPr>
          <a:xfrm>
            <a:off x="5931854" y="1520825"/>
            <a:ext cx="2222769" cy="768825"/>
          </a:xfrm>
          <a:prstGeom prst="rect">
            <a:avLst/>
          </a:prstGeom>
        </p:spPr>
        <p:txBody>
          <a:bodyPr vert="horz" wrap="square" lIns="0" tIns="180000" rIns="0" bIns="45720" rtlCol="0" anchor="ctr">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30" name="TextBox 54">
            <a:extLst>
              <a:ext uri="{FF2B5EF4-FFF2-40B4-BE49-F238E27FC236}">
                <a16:creationId xmlns:a16="http://schemas.microsoft.com/office/drawing/2014/main" id="{A18A7F3A-3255-59F2-B27D-C432FF36876E}"/>
              </a:ext>
            </a:extLst>
          </p:cNvPr>
          <p:cNvSpPr txBox="1"/>
          <p:nvPr/>
        </p:nvSpPr>
        <p:spPr>
          <a:xfrm>
            <a:off x="8229102" y="2682051"/>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1" name="TextBox 55">
            <a:extLst>
              <a:ext uri="{FF2B5EF4-FFF2-40B4-BE49-F238E27FC236}">
                <a16:creationId xmlns:a16="http://schemas.microsoft.com/office/drawing/2014/main" id="{1A73B0EB-76A3-0D73-0B3A-221CFD88D7C5}"/>
              </a:ext>
            </a:extLst>
          </p:cNvPr>
          <p:cNvSpPr txBox="1"/>
          <p:nvPr/>
        </p:nvSpPr>
        <p:spPr>
          <a:xfrm>
            <a:off x="9234596" y="3838796"/>
            <a:ext cx="2222769" cy="781425"/>
          </a:xfrm>
          <a:prstGeom prst="rect">
            <a:avLst/>
          </a:prstGeom>
        </p:spPr>
        <p:txBody>
          <a:bodyPr vert="horz" wrap="square" lIns="0" tIns="180000" rIns="0" bIns="45720" rtlCol="0" anchor="ctr">
            <a:no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cxnSp>
        <p:nvCxnSpPr>
          <p:cNvPr id="34" name="Conector angular 33">
            <a:extLst>
              <a:ext uri="{FF2B5EF4-FFF2-40B4-BE49-F238E27FC236}">
                <a16:creationId xmlns:a16="http://schemas.microsoft.com/office/drawing/2014/main" id="{54BFF202-86A3-39FA-3A9B-A11E704AFEE7}"/>
              </a:ext>
            </a:extLst>
          </p:cNvPr>
          <p:cNvCxnSpPr>
            <a:cxnSpLocks/>
            <a:stCxn id="11" idx="0"/>
            <a:endCxn id="17" idx="0"/>
          </p:cNvCxnSpPr>
          <p:nvPr/>
        </p:nvCxnSpPr>
        <p:spPr>
          <a:xfrm rot="5400000" flipH="1" flipV="1">
            <a:off x="4709694" y="433384"/>
            <a:ext cx="12700" cy="4497334"/>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Conector angular 35">
            <a:extLst>
              <a:ext uri="{FF2B5EF4-FFF2-40B4-BE49-F238E27FC236}">
                <a16:creationId xmlns:a16="http://schemas.microsoft.com/office/drawing/2014/main" id="{C259A6BE-10AC-E0FD-04C7-4BFE9F7CCAFE}"/>
              </a:ext>
            </a:extLst>
          </p:cNvPr>
          <p:cNvCxnSpPr>
            <a:cxnSpLocks/>
            <a:stCxn id="13" idx="0"/>
            <a:endCxn id="15" idx="0"/>
          </p:cNvCxnSpPr>
          <p:nvPr/>
        </p:nvCxnSpPr>
        <p:spPr>
          <a:xfrm rot="5400000" flipH="1" flipV="1">
            <a:off x="2461026" y="2726423"/>
            <a:ext cx="12700" cy="2224746"/>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Conector angular 38">
            <a:extLst>
              <a:ext uri="{FF2B5EF4-FFF2-40B4-BE49-F238E27FC236}">
                <a16:creationId xmlns:a16="http://schemas.microsoft.com/office/drawing/2014/main" id="{D95C2AB1-101D-A0AE-BBD0-1DC077D3FBF5}"/>
              </a:ext>
            </a:extLst>
          </p:cNvPr>
          <p:cNvCxnSpPr>
            <a:cxnSpLocks/>
            <a:stCxn id="19" idx="0"/>
            <a:endCxn id="21" idx="0"/>
          </p:cNvCxnSpPr>
          <p:nvPr/>
        </p:nvCxnSpPr>
        <p:spPr>
          <a:xfrm rot="5400000" flipH="1" flipV="1">
            <a:off x="6944380" y="2734185"/>
            <a:ext cx="17081" cy="2226304"/>
          </a:xfrm>
          <a:prstGeom prst="bentConnector3">
            <a:avLst>
              <a:gd name="adj1" fmla="val 1438329"/>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Conector recto 42">
            <a:extLst>
              <a:ext uri="{FF2B5EF4-FFF2-40B4-BE49-F238E27FC236}">
                <a16:creationId xmlns:a16="http://schemas.microsoft.com/office/drawing/2014/main" id="{0DF08990-E51A-33E1-5A3F-24C7C1B7274A}"/>
              </a:ext>
            </a:extLst>
          </p:cNvPr>
          <p:cNvCxnSpPr>
            <a:cxnSpLocks/>
            <a:stCxn id="11" idx="2"/>
          </p:cNvCxnSpPr>
          <p:nvPr/>
        </p:nvCxnSpPr>
        <p:spPr>
          <a:xfrm flipH="1">
            <a:off x="2461026" y="344639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ector recto 44">
            <a:extLst>
              <a:ext uri="{FF2B5EF4-FFF2-40B4-BE49-F238E27FC236}">
                <a16:creationId xmlns:a16="http://schemas.microsoft.com/office/drawing/2014/main" id="{AC4CB306-3D77-4992-13B0-6A93ADF38884}"/>
              </a:ext>
            </a:extLst>
          </p:cNvPr>
          <p:cNvCxnSpPr>
            <a:cxnSpLocks/>
          </p:cNvCxnSpPr>
          <p:nvPr/>
        </p:nvCxnSpPr>
        <p:spPr>
          <a:xfrm flipH="1">
            <a:off x="6951990" y="3441308"/>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ector recto 45">
            <a:extLst>
              <a:ext uri="{FF2B5EF4-FFF2-40B4-BE49-F238E27FC236}">
                <a16:creationId xmlns:a16="http://schemas.microsoft.com/office/drawing/2014/main" id="{45C7AAF1-FC01-C3C0-BFDF-513A2E88CC3B}"/>
              </a:ext>
            </a:extLst>
          </p:cNvPr>
          <p:cNvCxnSpPr>
            <a:cxnSpLocks/>
          </p:cNvCxnSpPr>
          <p:nvPr/>
        </p:nvCxnSpPr>
        <p:spPr>
          <a:xfrm flipH="1">
            <a:off x="4716044" y="2262785"/>
            <a:ext cx="1"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 Placeholder 6">
            <a:extLst>
              <a:ext uri="{FF2B5EF4-FFF2-40B4-BE49-F238E27FC236}">
                <a16:creationId xmlns:a16="http://schemas.microsoft.com/office/drawing/2014/main" id="{51DCD3EA-823E-0A8C-2A58-31A1F84ADF99}"/>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48" name="TextBox 24">
            <a:extLst>
              <a:ext uri="{FF2B5EF4-FFF2-40B4-BE49-F238E27FC236}">
                <a16:creationId xmlns:a16="http://schemas.microsoft.com/office/drawing/2014/main" id="{A6B00961-2639-CB08-1CDA-6E26BACF0F9A}"/>
              </a:ext>
            </a:extLst>
          </p:cNvPr>
          <p:cNvSpPr txBox="1"/>
          <p:nvPr/>
        </p:nvSpPr>
        <p:spPr>
          <a:xfrm>
            <a:off x="371474" y="4741041"/>
            <a:ext cx="2679489" cy="307777"/>
          </a:xfrm>
          <a:prstGeom prst="rect">
            <a:avLst/>
          </a:prstGeom>
          <a:noFill/>
        </p:spPr>
        <p:txBody>
          <a:bodyPr wrap="square" lIns="0" tIns="0" rIns="0" bIns="0" rtlCol="0" anchor="b">
            <a:noAutofit/>
          </a:bodyPr>
          <a:lstStyle/>
          <a:p>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9" name="Conector recto 48">
            <a:extLst>
              <a:ext uri="{FF2B5EF4-FFF2-40B4-BE49-F238E27FC236}">
                <a16:creationId xmlns:a16="http://schemas.microsoft.com/office/drawing/2014/main" id="{38F7CF73-A63C-F244-6E47-5DAC2E41FAE7}"/>
              </a:ext>
            </a:extLst>
          </p:cNvPr>
          <p:cNvCxnSpPr>
            <a:cxnSpLocks/>
          </p:cNvCxnSpPr>
          <p:nvPr/>
        </p:nvCxnSpPr>
        <p:spPr>
          <a:xfrm>
            <a:off x="361641" y="5181263"/>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2F3C3D9D-60ED-E775-07DF-0CC119C33BB6}"/>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7ADB87D-6AF6-037B-5E3F-BF1EFAEF0F6C}"/>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226923880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F8E4D32F-C706-3ADD-B846-72807B1E483E}"/>
              </a:ext>
            </a:extLst>
          </p:cNvPr>
          <p:cNvGraphicFramePr>
            <a:graphicFrameLocks noChangeAspect="1"/>
          </p:cNvGraphicFramePr>
          <p:nvPr>
            <p:custDataLst>
              <p:tags r:id="rId1"/>
            </p:custDataLst>
            <p:extLst>
              <p:ext uri="{D42A27DB-BD31-4B8C-83A1-F6EECF244321}">
                <p14:modId xmlns:p14="http://schemas.microsoft.com/office/powerpoint/2010/main" val="3236522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F8E4D32F-C706-3ADD-B846-72807B1E48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4" name="Text Placeholder 6">
            <a:extLst>
              <a:ext uri="{FF2B5EF4-FFF2-40B4-BE49-F238E27FC236}">
                <a16:creationId xmlns:a16="http://schemas.microsoft.com/office/drawing/2014/main" id="{833178DC-BADA-D8A8-A582-E3F09C59149B}"/>
              </a:ext>
            </a:extLst>
          </p:cNvPr>
          <p:cNvSpPr txBox="1">
            <a:spLocks/>
          </p:cNvSpPr>
          <p:nvPr/>
        </p:nvSpPr>
        <p:spPr>
          <a:xfrm>
            <a:off x="4972049" y="1520825"/>
            <a:ext cx="2268000" cy="4776972"/>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texto 8">
            <a:extLst>
              <a:ext uri="{FF2B5EF4-FFF2-40B4-BE49-F238E27FC236}">
                <a16:creationId xmlns:a16="http://schemas.microsoft.com/office/drawing/2014/main" id="{7A0C2F0B-61A4-9DFA-1A7A-EE05E09879BC}"/>
              </a:ext>
            </a:extLst>
          </p:cNvPr>
          <p:cNvSpPr>
            <a:spLocks noGrp="1"/>
          </p:cNvSpPr>
          <p:nvPr>
            <p:ph type="body" sz="quarter" idx="14"/>
          </p:nvPr>
        </p:nvSpPr>
        <p:spPr/>
        <p:txBody>
          <a:bodyPr/>
          <a:lstStyle/>
          <a:p>
            <a:r>
              <a:rPr lang="en-US" dirty="0"/>
              <a:t>Subtitle</a:t>
            </a:r>
          </a:p>
        </p:txBody>
      </p:sp>
      <p:sp>
        <p:nvSpPr>
          <p:cNvPr id="10" name="Flowchart: Action">
            <a:extLst>
              <a:ext uri="{FF2B5EF4-FFF2-40B4-BE49-F238E27FC236}">
                <a16:creationId xmlns:a16="http://schemas.microsoft.com/office/drawing/2014/main" id="{E67AC28B-4181-379B-BBA5-FFE75C5ED83D}"/>
              </a:ext>
            </a:extLst>
          </p:cNvPr>
          <p:cNvSpPr/>
          <p:nvPr/>
        </p:nvSpPr>
        <p:spPr>
          <a:xfrm>
            <a:off x="1637910" y="1509907"/>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1" name="Flowchart: Action">
            <a:extLst>
              <a:ext uri="{FF2B5EF4-FFF2-40B4-BE49-F238E27FC236}">
                <a16:creationId xmlns:a16="http://schemas.microsoft.com/office/drawing/2014/main" id="{91A386D8-F2C0-FC1F-AA68-B65EE808A7CE}"/>
              </a:ext>
            </a:extLst>
          </p:cNvPr>
          <p:cNvSpPr/>
          <p:nvPr/>
        </p:nvSpPr>
        <p:spPr>
          <a:xfrm>
            <a:off x="1637910" y="2403982"/>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2" name="Flowchart: Action">
            <a:extLst>
              <a:ext uri="{FF2B5EF4-FFF2-40B4-BE49-F238E27FC236}">
                <a16:creationId xmlns:a16="http://schemas.microsoft.com/office/drawing/2014/main" id="{63243E41-FBE9-E197-CC5D-99A15819922A}"/>
              </a:ext>
            </a:extLst>
          </p:cNvPr>
          <p:cNvSpPr/>
          <p:nvPr/>
        </p:nvSpPr>
        <p:spPr>
          <a:xfrm>
            <a:off x="1637910" y="329805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3" name="Flowchart: Action">
            <a:extLst>
              <a:ext uri="{FF2B5EF4-FFF2-40B4-BE49-F238E27FC236}">
                <a16:creationId xmlns:a16="http://schemas.microsoft.com/office/drawing/2014/main" id="{BE2EFD47-D12B-D7C4-4372-D59A6F7FB8AE}"/>
              </a:ext>
            </a:extLst>
          </p:cNvPr>
          <p:cNvSpPr/>
          <p:nvPr/>
        </p:nvSpPr>
        <p:spPr>
          <a:xfrm>
            <a:off x="9077065" y="2369917"/>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4" name="Flowchart: Action">
            <a:extLst>
              <a:ext uri="{FF2B5EF4-FFF2-40B4-BE49-F238E27FC236}">
                <a16:creationId xmlns:a16="http://schemas.microsoft.com/office/drawing/2014/main" id="{64A9F5F5-6787-0677-DDF8-E63A2AE2FEAC}"/>
              </a:ext>
            </a:extLst>
          </p:cNvPr>
          <p:cNvSpPr/>
          <p:nvPr/>
        </p:nvSpPr>
        <p:spPr>
          <a:xfrm>
            <a:off x="9077065" y="3202819"/>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5" name="Flowchart: Action">
            <a:extLst>
              <a:ext uri="{FF2B5EF4-FFF2-40B4-BE49-F238E27FC236}">
                <a16:creationId xmlns:a16="http://schemas.microsoft.com/office/drawing/2014/main" id="{550037BA-AB9D-EF1D-ED57-498B52B055CE}"/>
              </a:ext>
            </a:extLst>
          </p:cNvPr>
          <p:cNvSpPr/>
          <p:nvPr/>
        </p:nvSpPr>
        <p:spPr>
          <a:xfrm>
            <a:off x="5363541" y="1929070"/>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6" name="Flowchart: Action">
            <a:extLst>
              <a:ext uri="{FF2B5EF4-FFF2-40B4-BE49-F238E27FC236}">
                <a16:creationId xmlns:a16="http://schemas.microsoft.com/office/drawing/2014/main" id="{24F416FB-88F5-CC28-CC2A-D916D77D6FCB}"/>
              </a:ext>
            </a:extLst>
          </p:cNvPr>
          <p:cNvSpPr/>
          <p:nvPr/>
        </p:nvSpPr>
        <p:spPr>
          <a:xfrm>
            <a:off x="5363541" y="3522311"/>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7" name="Flowchart: Action">
            <a:extLst>
              <a:ext uri="{FF2B5EF4-FFF2-40B4-BE49-F238E27FC236}">
                <a16:creationId xmlns:a16="http://schemas.microsoft.com/office/drawing/2014/main" id="{71911C06-7840-7C22-041E-C0B3E6205520}"/>
              </a:ext>
            </a:extLst>
          </p:cNvPr>
          <p:cNvSpPr/>
          <p:nvPr/>
        </p:nvSpPr>
        <p:spPr>
          <a:xfrm>
            <a:off x="5363541" y="5115552"/>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8" name="Flowchart: Action">
            <a:extLst>
              <a:ext uri="{FF2B5EF4-FFF2-40B4-BE49-F238E27FC236}">
                <a16:creationId xmlns:a16="http://schemas.microsoft.com/office/drawing/2014/main" id="{D0A8B34B-B4CA-8F81-4AC1-16C1683B126A}"/>
              </a:ext>
            </a:extLst>
          </p:cNvPr>
          <p:cNvSpPr/>
          <p:nvPr/>
        </p:nvSpPr>
        <p:spPr>
          <a:xfrm>
            <a:off x="9085599" y="403572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19" name="Flowchart: Action">
            <a:extLst>
              <a:ext uri="{FF2B5EF4-FFF2-40B4-BE49-F238E27FC236}">
                <a16:creationId xmlns:a16="http://schemas.microsoft.com/office/drawing/2014/main" id="{2A47D00E-9C02-56CA-F860-92C9627CEDD6}"/>
              </a:ext>
            </a:extLst>
          </p:cNvPr>
          <p:cNvSpPr/>
          <p:nvPr/>
        </p:nvSpPr>
        <p:spPr>
          <a:xfrm>
            <a:off x="9085599" y="4868623"/>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0" name="Flowchart: Action">
            <a:extLst>
              <a:ext uri="{FF2B5EF4-FFF2-40B4-BE49-F238E27FC236}">
                <a16:creationId xmlns:a16="http://schemas.microsoft.com/office/drawing/2014/main" id="{CF88E659-34EC-000D-F878-6BB655A4F071}"/>
              </a:ext>
            </a:extLst>
          </p:cNvPr>
          <p:cNvSpPr/>
          <p:nvPr/>
        </p:nvSpPr>
        <p:spPr>
          <a:xfrm>
            <a:off x="9085599" y="5701527"/>
            <a:ext cx="1487542" cy="596270"/>
          </a:xfrm>
          <a:prstGeom prst="flowChartProcess">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1" name="Flowchart: Action">
            <a:extLst>
              <a:ext uri="{FF2B5EF4-FFF2-40B4-BE49-F238E27FC236}">
                <a16:creationId xmlns:a16="http://schemas.microsoft.com/office/drawing/2014/main" id="{E5E9192B-4F01-D9F9-8E14-2CF3D0C843C8}"/>
              </a:ext>
            </a:extLst>
          </p:cNvPr>
          <p:cNvSpPr/>
          <p:nvPr/>
        </p:nvSpPr>
        <p:spPr>
          <a:xfrm>
            <a:off x="1637910" y="4813561"/>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sp>
        <p:nvSpPr>
          <p:cNvPr id="22" name="Flowchart: Action">
            <a:extLst>
              <a:ext uri="{FF2B5EF4-FFF2-40B4-BE49-F238E27FC236}">
                <a16:creationId xmlns:a16="http://schemas.microsoft.com/office/drawing/2014/main" id="{173F44C2-9BFE-52CD-DDA5-234B8705E1E9}"/>
              </a:ext>
            </a:extLst>
          </p:cNvPr>
          <p:cNvSpPr/>
          <p:nvPr/>
        </p:nvSpPr>
        <p:spPr>
          <a:xfrm>
            <a:off x="1637910" y="5707636"/>
            <a:ext cx="1487542" cy="596270"/>
          </a:xfrm>
          <a:prstGeom prst="flowChartProcess">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23" name="Flowchart: Flow Line">
            <a:extLst>
              <a:ext uri="{FF2B5EF4-FFF2-40B4-BE49-F238E27FC236}">
                <a16:creationId xmlns:a16="http://schemas.microsoft.com/office/drawing/2014/main" id="{ECBBDF05-3516-65BE-5764-62F2030B7088}"/>
              </a:ext>
            </a:extLst>
          </p:cNvPr>
          <p:cNvCxnSpPr>
            <a:cxnSpLocks/>
            <a:stCxn id="28" idx="2"/>
            <a:endCxn id="10" idx="3"/>
          </p:cNvCxnSpPr>
          <p:nvPr/>
        </p:nvCxnSpPr>
        <p:spPr>
          <a:xfrm rot="10800000">
            <a:off x="3125452" y="1808043"/>
            <a:ext cx="1627177" cy="419164"/>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Flowchart: Flow Line">
            <a:extLst>
              <a:ext uri="{FF2B5EF4-FFF2-40B4-BE49-F238E27FC236}">
                <a16:creationId xmlns:a16="http://schemas.microsoft.com/office/drawing/2014/main" id="{6DA2662C-451C-1E91-EE66-FD1C7A0271D5}"/>
              </a:ext>
            </a:extLst>
          </p:cNvPr>
          <p:cNvCxnSpPr>
            <a:cxnSpLocks/>
            <a:stCxn id="32" idx="2"/>
            <a:endCxn id="11" idx="3"/>
          </p:cNvCxnSpPr>
          <p:nvPr/>
        </p:nvCxnSpPr>
        <p:spPr>
          <a:xfrm rot="10800000">
            <a:off x="3125452" y="2702117"/>
            <a:ext cx="1627177" cy="82019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Flowchart: Flow Line">
            <a:extLst>
              <a:ext uri="{FF2B5EF4-FFF2-40B4-BE49-F238E27FC236}">
                <a16:creationId xmlns:a16="http://schemas.microsoft.com/office/drawing/2014/main" id="{5174011E-DE72-3962-A5A1-EB8D429D1DBD}"/>
              </a:ext>
            </a:extLst>
          </p:cNvPr>
          <p:cNvCxnSpPr>
            <a:cxnSpLocks/>
            <a:stCxn id="29" idx="6"/>
            <a:endCxn id="37" idx="1"/>
          </p:cNvCxnSpPr>
          <p:nvPr/>
        </p:nvCxnSpPr>
        <p:spPr>
          <a:xfrm flipV="1">
            <a:off x="7458423" y="1835150"/>
            <a:ext cx="1627176" cy="39205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Flowchart: Flow Line">
            <a:extLst>
              <a:ext uri="{FF2B5EF4-FFF2-40B4-BE49-F238E27FC236}">
                <a16:creationId xmlns:a16="http://schemas.microsoft.com/office/drawing/2014/main" id="{375C0EB0-E1EC-C733-6E53-4C45AAAD7C5A}"/>
              </a:ext>
            </a:extLst>
          </p:cNvPr>
          <p:cNvCxnSpPr>
            <a:cxnSpLocks/>
            <a:stCxn id="30" idx="6"/>
            <a:endCxn id="14" idx="1"/>
          </p:cNvCxnSpPr>
          <p:nvPr/>
        </p:nvCxnSpPr>
        <p:spPr>
          <a:xfrm flipV="1">
            <a:off x="7458423" y="3500954"/>
            <a:ext cx="1618642" cy="1912733"/>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Flowchart: Flow Line">
            <a:extLst>
              <a:ext uri="{FF2B5EF4-FFF2-40B4-BE49-F238E27FC236}">
                <a16:creationId xmlns:a16="http://schemas.microsoft.com/office/drawing/2014/main" id="{6163F24A-9D8D-F3B9-DF20-74E372A5E181}"/>
              </a:ext>
            </a:extLst>
          </p:cNvPr>
          <p:cNvCxnSpPr>
            <a:cxnSpLocks/>
            <a:stCxn id="31" idx="2"/>
            <a:endCxn id="21" idx="3"/>
          </p:cNvCxnSpPr>
          <p:nvPr/>
        </p:nvCxnSpPr>
        <p:spPr>
          <a:xfrm rot="10800000" flipV="1">
            <a:off x="3125452" y="4118580"/>
            <a:ext cx="1627177" cy="9931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Oval 22">
            <a:extLst>
              <a:ext uri="{FF2B5EF4-FFF2-40B4-BE49-F238E27FC236}">
                <a16:creationId xmlns:a16="http://schemas.microsoft.com/office/drawing/2014/main" id="{18D02643-CEDF-E4E9-940A-D0247E985F53}"/>
              </a:ext>
            </a:extLst>
          </p:cNvPr>
          <p:cNvSpPr/>
          <p:nvPr/>
        </p:nvSpPr>
        <p:spPr>
          <a:xfrm>
            <a:off x="4752629" y="1996618"/>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1</a:t>
            </a:r>
          </a:p>
        </p:txBody>
      </p:sp>
      <p:sp>
        <p:nvSpPr>
          <p:cNvPr id="29" name="Oval 24">
            <a:extLst>
              <a:ext uri="{FF2B5EF4-FFF2-40B4-BE49-F238E27FC236}">
                <a16:creationId xmlns:a16="http://schemas.microsoft.com/office/drawing/2014/main" id="{7687CB33-E5DA-7F7F-E966-619EA019A222}"/>
              </a:ext>
            </a:extLst>
          </p:cNvPr>
          <p:cNvSpPr/>
          <p:nvPr/>
        </p:nvSpPr>
        <p:spPr>
          <a:xfrm>
            <a:off x="6997311" y="1996617"/>
            <a:ext cx="461112" cy="461175"/>
          </a:xfrm>
          <a:prstGeom prst="ellipse">
            <a:avLst/>
          </a:prstGeom>
          <a:solidFill>
            <a:schemeClr val="accent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5</a:t>
            </a:r>
          </a:p>
        </p:txBody>
      </p:sp>
      <p:sp>
        <p:nvSpPr>
          <p:cNvPr id="30" name="Oval 26">
            <a:extLst>
              <a:ext uri="{FF2B5EF4-FFF2-40B4-BE49-F238E27FC236}">
                <a16:creationId xmlns:a16="http://schemas.microsoft.com/office/drawing/2014/main" id="{C1B1177C-B9A3-C324-123B-789A0B7143B1}"/>
              </a:ext>
            </a:extLst>
          </p:cNvPr>
          <p:cNvSpPr/>
          <p:nvPr/>
        </p:nvSpPr>
        <p:spPr>
          <a:xfrm>
            <a:off x="6997311"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7</a:t>
            </a:r>
          </a:p>
        </p:txBody>
      </p:sp>
      <p:sp>
        <p:nvSpPr>
          <p:cNvPr id="31" name="Oval 28">
            <a:extLst>
              <a:ext uri="{FF2B5EF4-FFF2-40B4-BE49-F238E27FC236}">
                <a16:creationId xmlns:a16="http://schemas.microsoft.com/office/drawing/2014/main" id="{01787EEC-68E0-6DFD-9FD9-0B7A3E6841C6}"/>
              </a:ext>
            </a:extLst>
          </p:cNvPr>
          <p:cNvSpPr/>
          <p:nvPr/>
        </p:nvSpPr>
        <p:spPr>
          <a:xfrm>
            <a:off x="4752629" y="3887993"/>
            <a:ext cx="461112" cy="461175"/>
          </a:xfrm>
          <a:prstGeom prst="ellipse">
            <a:avLst/>
          </a:prstGeom>
          <a:solidFill>
            <a:schemeClr val="accent4"/>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3</a:t>
            </a:r>
          </a:p>
        </p:txBody>
      </p:sp>
      <p:sp>
        <p:nvSpPr>
          <p:cNvPr id="32" name="Oval 30">
            <a:extLst>
              <a:ext uri="{FF2B5EF4-FFF2-40B4-BE49-F238E27FC236}">
                <a16:creationId xmlns:a16="http://schemas.microsoft.com/office/drawing/2014/main" id="{D8ADF133-2E16-AA29-C1FD-76B2E9721383}"/>
              </a:ext>
            </a:extLst>
          </p:cNvPr>
          <p:cNvSpPr/>
          <p:nvPr/>
        </p:nvSpPr>
        <p:spPr>
          <a:xfrm>
            <a:off x="4752629" y="3291724"/>
            <a:ext cx="461112" cy="461175"/>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2</a:t>
            </a:r>
          </a:p>
        </p:txBody>
      </p:sp>
      <p:cxnSp>
        <p:nvCxnSpPr>
          <p:cNvPr id="33" name="Flowchart: Flow Line">
            <a:extLst>
              <a:ext uri="{FF2B5EF4-FFF2-40B4-BE49-F238E27FC236}">
                <a16:creationId xmlns:a16="http://schemas.microsoft.com/office/drawing/2014/main" id="{CE6F33D5-46D1-68B9-054A-8004FDD734AB}"/>
              </a:ext>
            </a:extLst>
          </p:cNvPr>
          <p:cNvCxnSpPr>
            <a:cxnSpLocks/>
            <a:stCxn id="34" idx="2"/>
            <a:endCxn id="22" idx="3"/>
          </p:cNvCxnSpPr>
          <p:nvPr/>
        </p:nvCxnSpPr>
        <p:spPr>
          <a:xfrm rot="10800000" flipV="1">
            <a:off x="3125452" y="5413686"/>
            <a:ext cx="1627177" cy="592085"/>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Oval 32">
            <a:extLst>
              <a:ext uri="{FF2B5EF4-FFF2-40B4-BE49-F238E27FC236}">
                <a16:creationId xmlns:a16="http://schemas.microsoft.com/office/drawing/2014/main" id="{05E2F24E-EACF-99BD-1414-EA48C0DA2A6D}"/>
              </a:ext>
            </a:extLst>
          </p:cNvPr>
          <p:cNvSpPr/>
          <p:nvPr/>
        </p:nvSpPr>
        <p:spPr>
          <a:xfrm>
            <a:off x="4752629" y="5183099"/>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4</a:t>
            </a:r>
          </a:p>
        </p:txBody>
      </p:sp>
      <p:cxnSp>
        <p:nvCxnSpPr>
          <p:cNvPr id="35" name="Flowchart: Flow Line">
            <a:extLst>
              <a:ext uri="{FF2B5EF4-FFF2-40B4-BE49-F238E27FC236}">
                <a16:creationId xmlns:a16="http://schemas.microsoft.com/office/drawing/2014/main" id="{56CBA47F-0B0B-44D1-7F91-43D76EA0032C}"/>
              </a:ext>
            </a:extLst>
          </p:cNvPr>
          <p:cNvCxnSpPr>
            <a:cxnSpLocks/>
            <a:stCxn id="36" idx="6"/>
            <a:endCxn id="20" idx="1"/>
          </p:cNvCxnSpPr>
          <p:nvPr/>
        </p:nvCxnSpPr>
        <p:spPr>
          <a:xfrm>
            <a:off x="7458423" y="3820446"/>
            <a:ext cx="1627176" cy="217921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C8E9255A-4D17-FECF-2D27-51186A7D22E8}"/>
              </a:ext>
            </a:extLst>
          </p:cNvPr>
          <p:cNvSpPr/>
          <p:nvPr/>
        </p:nvSpPr>
        <p:spPr>
          <a:xfrm>
            <a:off x="6997311" y="3589858"/>
            <a:ext cx="461112" cy="461175"/>
          </a:xfrm>
          <a:prstGeom prst="ellipse">
            <a:avLst/>
          </a:prstGeom>
          <a:solidFill>
            <a:schemeClr val="accent1"/>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rIns="0">
            <a:noAutofit/>
          </a:bodyPr>
          <a:lstStyle/>
          <a:p>
            <a:pPr algn="ctr"/>
            <a:r>
              <a:rPr lang="en-CA" sz="1400" dirty="0">
                <a:solidFill>
                  <a:schemeClr val="bg1"/>
                </a:solidFill>
              </a:rPr>
              <a:t>6</a:t>
            </a:r>
          </a:p>
        </p:txBody>
      </p:sp>
      <p:sp>
        <p:nvSpPr>
          <p:cNvPr id="37" name="Flowchart: Action">
            <a:extLst>
              <a:ext uri="{FF2B5EF4-FFF2-40B4-BE49-F238E27FC236}">
                <a16:creationId xmlns:a16="http://schemas.microsoft.com/office/drawing/2014/main" id="{990699C1-A89C-C8BC-DF43-F34394247C32}"/>
              </a:ext>
            </a:extLst>
          </p:cNvPr>
          <p:cNvSpPr/>
          <p:nvPr/>
        </p:nvSpPr>
        <p:spPr>
          <a:xfrm>
            <a:off x="9085599" y="1537015"/>
            <a:ext cx="1487542" cy="596270"/>
          </a:xfrm>
          <a:prstGeom prst="flowChartProcess">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45708"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bg1"/>
                </a:solidFill>
                <a:latin typeface="Poppins" pitchFamily="2" charset="77"/>
                <a:ea typeface="League Spartan" charset="0"/>
                <a:cs typeface="Poppins" pitchFamily="2" charset="77"/>
              </a:rPr>
              <a:t>YOUR TITLE</a:t>
            </a:r>
          </a:p>
        </p:txBody>
      </p:sp>
      <p:cxnSp>
        <p:nvCxnSpPr>
          <p:cNvPr id="40" name="Straight Arrow Connector 71">
            <a:extLst>
              <a:ext uri="{FF2B5EF4-FFF2-40B4-BE49-F238E27FC236}">
                <a16:creationId xmlns:a16="http://schemas.microsoft.com/office/drawing/2014/main" id="{D55149A9-76DE-D845-855E-BDC8816A2C67}"/>
              </a:ext>
            </a:extLst>
          </p:cNvPr>
          <p:cNvCxnSpPr>
            <a:cxnSpLocks/>
            <a:stCxn id="10" idx="2"/>
            <a:endCxn id="11" idx="0"/>
          </p:cNvCxnSpPr>
          <p:nvPr/>
        </p:nvCxnSpPr>
        <p:spPr>
          <a:xfrm>
            <a:off x="2381681" y="2106177"/>
            <a:ext cx="0" cy="29780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74">
            <a:extLst>
              <a:ext uri="{FF2B5EF4-FFF2-40B4-BE49-F238E27FC236}">
                <a16:creationId xmlns:a16="http://schemas.microsoft.com/office/drawing/2014/main" id="{9ADE1B9D-28CB-89A0-A20C-6ECA902C2BCC}"/>
              </a:ext>
            </a:extLst>
          </p:cNvPr>
          <p:cNvCxnSpPr>
            <a:cxnSpLocks/>
            <a:stCxn id="11" idx="2"/>
            <a:endCxn id="12" idx="0"/>
          </p:cNvCxnSpPr>
          <p:nvPr/>
        </p:nvCxnSpPr>
        <p:spPr>
          <a:xfrm>
            <a:off x="2381681" y="3000251"/>
            <a:ext cx="0" cy="297806"/>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4" name="Grupo 42">
            <a:extLst>
              <a:ext uri="{FF2B5EF4-FFF2-40B4-BE49-F238E27FC236}">
                <a16:creationId xmlns:a16="http://schemas.microsoft.com/office/drawing/2014/main" id="{517171CE-D54C-7513-1457-BCF7D9D1F5AD}"/>
              </a:ext>
            </a:extLst>
          </p:cNvPr>
          <p:cNvGrpSpPr/>
          <p:nvPr/>
        </p:nvGrpSpPr>
        <p:grpSpPr>
          <a:xfrm rot="5400000">
            <a:off x="5724455" y="4187273"/>
            <a:ext cx="739910" cy="874955"/>
            <a:chOff x="3657318" y="2960019"/>
            <a:chExt cx="428407" cy="506598"/>
          </a:xfrm>
        </p:grpSpPr>
        <p:grpSp>
          <p:nvGrpSpPr>
            <p:cNvPr id="65" name="Grupo 43">
              <a:extLst>
                <a:ext uri="{FF2B5EF4-FFF2-40B4-BE49-F238E27FC236}">
                  <a16:creationId xmlns:a16="http://schemas.microsoft.com/office/drawing/2014/main" id="{E694AA89-36D2-CE71-B88A-F9EE04A26960}"/>
                </a:ext>
              </a:extLst>
            </p:cNvPr>
            <p:cNvGrpSpPr/>
            <p:nvPr/>
          </p:nvGrpSpPr>
          <p:grpSpPr>
            <a:xfrm>
              <a:off x="3828604" y="2960019"/>
              <a:ext cx="257121" cy="506598"/>
              <a:chOff x="2468880" y="3319199"/>
              <a:chExt cx="257121" cy="506598"/>
            </a:xfrm>
          </p:grpSpPr>
          <p:cxnSp>
            <p:nvCxnSpPr>
              <p:cNvPr id="67" name="Conector recto 45">
                <a:extLst>
                  <a:ext uri="{FF2B5EF4-FFF2-40B4-BE49-F238E27FC236}">
                    <a16:creationId xmlns:a16="http://schemas.microsoft.com/office/drawing/2014/main" id="{D13D0E0A-6A85-567E-71C7-4EA4CA59528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onector recto 46">
                <a:extLst>
                  <a:ext uri="{FF2B5EF4-FFF2-40B4-BE49-F238E27FC236}">
                    <a16:creationId xmlns:a16="http://schemas.microsoft.com/office/drawing/2014/main" id="{7EAF29EA-5931-EAA6-5399-3268942F41C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Conector recto 44">
              <a:extLst>
                <a:ext uri="{FF2B5EF4-FFF2-40B4-BE49-F238E27FC236}">
                  <a16:creationId xmlns:a16="http://schemas.microsoft.com/office/drawing/2014/main" id="{5D26B948-D729-29B6-1215-D764B35155D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upo 42">
            <a:extLst>
              <a:ext uri="{FF2B5EF4-FFF2-40B4-BE49-F238E27FC236}">
                <a16:creationId xmlns:a16="http://schemas.microsoft.com/office/drawing/2014/main" id="{593BE38D-972D-BA5F-2356-878C7BA042B1}"/>
              </a:ext>
            </a:extLst>
          </p:cNvPr>
          <p:cNvGrpSpPr/>
          <p:nvPr/>
        </p:nvGrpSpPr>
        <p:grpSpPr>
          <a:xfrm rot="5400000">
            <a:off x="5724455" y="2594033"/>
            <a:ext cx="739910" cy="874955"/>
            <a:chOff x="3657318" y="2960019"/>
            <a:chExt cx="428407" cy="506598"/>
          </a:xfrm>
        </p:grpSpPr>
        <p:grpSp>
          <p:nvGrpSpPr>
            <p:cNvPr id="70" name="Grupo 43">
              <a:extLst>
                <a:ext uri="{FF2B5EF4-FFF2-40B4-BE49-F238E27FC236}">
                  <a16:creationId xmlns:a16="http://schemas.microsoft.com/office/drawing/2014/main" id="{9FAD09F1-124A-05F1-2E0A-9F65D94A8F20}"/>
                </a:ext>
              </a:extLst>
            </p:cNvPr>
            <p:cNvGrpSpPr/>
            <p:nvPr/>
          </p:nvGrpSpPr>
          <p:grpSpPr>
            <a:xfrm>
              <a:off x="3828604" y="2960019"/>
              <a:ext cx="257121" cy="506598"/>
              <a:chOff x="2468880" y="3319199"/>
              <a:chExt cx="257121" cy="506598"/>
            </a:xfrm>
          </p:grpSpPr>
          <p:cxnSp>
            <p:nvCxnSpPr>
              <p:cNvPr id="72" name="Conector recto 45">
                <a:extLst>
                  <a:ext uri="{FF2B5EF4-FFF2-40B4-BE49-F238E27FC236}">
                    <a16:creationId xmlns:a16="http://schemas.microsoft.com/office/drawing/2014/main" id="{205D1447-BD4D-696D-FBCC-A578164971B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ector recto 46">
                <a:extLst>
                  <a:ext uri="{FF2B5EF4-FFF2-40B4-BE49-F238E27FC236}">
                    <a16:creationId xmlns:a16="http://schemas.microsoft.com/office/drawing/2014/main" id="{81B2A505-5B53-746A-25D8-03197FAD091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 name="Conector recto 44">
              <a:extLst>
                <a:ext uri="{FF2B5EF4-FFF2-40B4-BE49-F238E27FC236}">
                  <a16:creationId xmlns:a16="http://schemas.microsoft.com/office/drawing/2014/main" id="{6339DDBD-C397-A9B2-14CC-F8FA6A989631}"/>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140834CC-2F67-F06A-139A-566A7E0DB5C4}"/>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611A6C4-D0A1-D6E0-E3CD-283BE3583348}"/>
              </a:ext>
            </a:extLst>
          </p:cNvPr>
          <p:cNvSpPr>
            <a:spLocks noGrp="1"/>
          </p:cNvSpPr>
          <p:nvPr>
            <p:ph type="title"/>
          </p:nvPr>
        </p:nvSpPr>
        <p:spPr/>
        <p:txBody>
          <a:bodyPr vert="horz"/>
          <a:lstStyle/>
          <a:p>
            <a:r>
              <a:rPr lang="en-US" dirty="0"/>
              <a:t>Template - Decision Tree Diagram</a:t>
            </a:r>
          </a:p>
        </p:txBody>
      </p:sp>
    </p:spTree>
    <p:extLst>
      <p:ext uri="{BB962C8B-B14F-4D97-AF65-F5344CB8AC3E}">
        <p14:creationId xmlns:p14="http://schemas.microsoft.com/office/powerpoint/2010/main" val="3199404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98587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Interpolate between the waypoints generated by gradient descent using quintic polynomial trajectories</a:t>
            </a:r>
          </a:p>
        </p:txBody>
      </p:sp>
      <p:sp>
        <p:nvSpPr>
          <p:cNvPr id="8" name="Text Placeholder 7">
            <a:extLst>
              <a:ext uri="{FF2B5EF4-FFF2-40B4-BE49-F238E27FC236}">
                <a16:creationId xmlns:a16="http://schemas.microsoft.com/office/drawing/2014/main" id="{F2B44AB2-DF54-B7A3-B516-21BFC74CA91C}"/>
              </a:ext>
            </a:extLst>
          </p:cNvPr>
          <p:cNvSpPr>
            <a:spLocks noGrp="1"/>
          </p:cNvSpPr>
          <p:nvPr>
            <p:ph type="body" sz="quarter" idx="15"/>
          </p:nvPr>
        </p:nvSpPr>
        <p:spPr>
          <a:xfrm>
            <a:off x="371475" y="1520825"/>
            <a:ext cx="5653088" cy="4787900"/>
          </a:xfrm>
        </p:spPr>
        <p:txBody>
          <a:bodyPr/>
          <a:lstStyle/>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For each joint in the robot, we define a trajectory in the configuration space which connects the current state to the next waypoint while satisfying velocity and acceleration constraints</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Smooth and continuous trajectories are essential to avoid impulsive movements which may excite vibrational modes in the manipulator &amp; reduce tracking accuracy</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Given we have 6 constraints (</a:t>
            </a:r>
            <a:r>
              <a:rPr lang="en-US" sz="1800" b="0" i="0" u="none" strike="noStrike" baseline="0" dirty="0">
                <a:latin typeface="CMR10"/>
              </a:rPr>
              <a:t>2x for initial and final configuration; 2x for initial and final velocities; 2x for initial and final accelerations), we need a fifth order polynomial</a:t>
            </a:r>
            <a:endParaRPr lang="en-US" b="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b="0" dirty="0">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9473D392-569B-2814-C3EF-97C04CC44946}"/>
              </a:ext>
            </a:extLst>
          </p:cNvPr>
          <p:cNvGrpSpPr/>
          <p:nvPr/>
        </p:nvGrpSpPr>
        <p:grpSpPr>
          <a:xfrm>
            <a:off x="-6695850" y="0"/>
            <a:ext cx="5300519" cy="6409669"/>
            <a:chOff x="90138" y="1110430"/>
            <a:chExt cx="5300519" cy="6409669"/>
          </a:xfrm>
        </p:grpSpPr>
        <p:pic>
          <p:nvPicPr>
            <p:cNvPr id="18" name="Picture 17">
              <a:extLst>
                <a:ext uri="{FF2B5EF4-FFF2-40B4-BE49-F238E27FC236}">
                  <a16:creationId xmlns:a16="http://schemas.microsoft.com/office/drawing/2014/main" id="{E52B9C88-3A8C-3F3B-7F33-0DC8BFFB54AF}"/>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1" name="Picture 20">
              <a:extLst>
                <a:ext uri="{FF2B5EF4-FFF2-40B4-BE49-F238E27FC236}">
                  <a16:creationId xmlns:a16="http://schemas.microsoft.com/office/drawing/2014/main" id="{9F696813-98B7-2A4E-AC4E-FEF9CB56A36C}"/>
                </a:ext>
              </a:extLst>
            </p:cNvPr>
            <p:cNvPicPr>
              <a:picLocks noChangeAspect="1"/>
            </p:cNvPicPr>
            <p:nvPr/>
          </p:nvPicPr>
          <p:blipFill>
            <a:blip r:embed="rId6"/>
            <a:stretch>
              <a:fillRect/>
            </a:stretch>
          </p:blipFill>
          <p:spPr>
            <a:xfrm>
              <a:off x="152270" y="4787880"/>
              <a:ext cx="3534268" cy="552527"/>
            </a:xfrm>
            <a:prstGeom prst="rect">
              <a:avLst/>
            </a:prstGeom>
          </p:spPr>
        </p:pic>
        <p:pic>
          <p:nvPicPr>
            <p:cNvPr id="24" name="Picture 23">
              <a:extLst>
                <a:ext uri="{FF2B5EF4-FFF2-40B4-BE49-F238E27FC236}">
                  <a16:creationId xmlns:a16="http://schemas.microsoft.com/office/drawing/2014/main" id="{DACDDF5E-C34E-2AA7-10AE-8F1211201B40}"/>
                </a:ext>
              </a:extLst>
            </p:cNvPr>
            <p:cNvPicPr>
              <a:picLocks noChangeAspect="1"/>
            </p:cNvPicPr>
            <p:nvPr/>
          </p:nvPicPr>
          <p:blipFill>
            <a:blip r:embed="rId7"/>
            <a:stretch>
              <a:fillRect/>
            </a:stretch>
          </p:blipFill>
          <p:spPr>
            <a:xfrm>
              <a:off x="255965" y="5691044"/>
              <a:ext cx="5134692" cy="1829055"/>
            </a:xfrm>
            <a:prstGeom prst="rect">
              <a:avLst/>
            </a:prstGeom>
          </p:spPr>
        </p:pic>
      </p:grpSp>
      <p:grpSp>
        <p:nvGrpSpPr>
          <p:cNvPr id="23" name="Group 22">
            <a:extLst>
              <a:ext uri="{FF2B5EF4-FFF2-40B4-BE49-F238E27FC236}">
                <a16:creationId xmlns:a16="http://schemas.microsoft.com/office/drawing/2014/main" id="{E9751E87-DF52-BC7B-313F-8FE3EA70D323}"/>
              </a:ext>
            </a:extLst>
          </p:cNvPr>
          <p:cNvGrpSpPr/>
          <p:nvPr/>
        </p:nvGrpSpPr>
        <p:grpSpPr>
          <a:xfrm>
            <a:off x="13299507" y="822953"/>
            <a:ext cx="5258534" cy="5101032"/>
            <a:chOff x="6501161" y="606298"/>
            <a:chExt cx="5258534" cy="5101032"/>
          </a:xfrm>
        </p:grpSpPr>
        <p:pic>
          <p:nvPicPr>
            <p:cNvPr id="25" name="Picture 24">
              <a:extLst>
                <a:ext uri="{FF2B5EF4-FFF2-40B4-BE49-F238E27FC236}">
                  <a16:creationId xmlns:a16="http://schemas.microsoft.com/office/drawing/2014/main" id="{4758FB60-B089-4846-9A4E-8549DF499249}"/>
                </a:ext>
              </a:extLst>
            </p:cNvPr>
            <p:cNvPicPr>
              <a:picLocks noChangeAspect="1"/>
            </p:cNvPicPr>
            <p:nvPr/>
          </p:nvPicPr>
          <p:blipFill>
            <a:blip r:embed="rId8"/>
            <a:stretch>
              <a:fillRect/>
            </a:stretch>
          </p:blipFill>
          <p:spPr>
            <a:xfrm>
              <a:off x="6501161" y="606298"/>
              <a:ext cx="5258534" cy="1943371"/>
            </a:xfrm>
            <a:prstGeom prst="rect">
              <a:avLst/>
            </a:prstGeom>
          </p:spPr>
        </p:pic>
        <p:pic>
          <p:nvPicPr>
            <p:cNvPr id="27" name="Picture 26">
              <a:extLst>
                <a:ext uri="{FF2B5EF4-FFF2-40B4-BE49-F238E27FC236}">
                  <a16:creationId xmlns:a16="http://schemas.microsoft.com/office/drawing/2014/main" id="{9E236C7C-CC73-C8B3-D6B1-1724C55EB9D7}"/>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29" name="Picture 28">
              <a:extLst>
                <a:ext uri="{FF2B5EF4-FFF2-40B4-BE49-F238E27FC236}">
                  <a16:creationId xmlns:a16="http://schemas.microsoft.com/office/drawing/2014/main" id="{F1037672-79C5-192E-2B16-52503D043C76}"/>
                </a:ext>
              </a:extLst>
            </p:cNvPr>
            <p:cNvPicPr>
              <a:picLocks noChangeAspect="1"/>
            </p:cNvPicPr>
            <p:nvPr/>
          </p:nvPicPr>
          <p:blipFill>
            <a:blip r:embed="rId10"/>
            <a:stretch>
              <a:fillRect/>
            </a:stretch>
          </p:blipFill>
          <p:spPr>
            <a:xfrm>
              <a:off x="6501161" y="3382906"/>
              <a:ext cx="4972744" cy="2324424"/>
            </a:xfrm>
            <a:prstGeom prst="rect">
              <a:avLst/>
            </a:prstGeom>
          </p:spPr>
        </p:pic>
      </p:grpSp>
      <p:grpSp>
        <p:nvGrpSpPr>
          <p:cNvPr id="39" name="Group 38">
            <a:extLst>
              <a:ext uri="{FF2B5EF4-FFF2-40B4-BE49-F238E27FC236}">
                <a16:creationId xmlns:a16="http://schemas.microsoft.com/office/drawing/2014/main" id="{D134BF50-FAD2-D4C9-33D5-5C7BCF4DD01F}"/>
              </a:ext>
            </a:extLst>
          </p:cNvPr>
          <p:cNvGrpSpPr/>
          <p:nvPr/>
        </p:nvGrpSpPr>
        <p:grpSpPr>
          <a:xfrm>
            <a:off x="6167438" y="4238203"/>
            <a:ext cx="5365216" cy="1813601"/>
            <a:chOff x="6342484" y="1520825"/>
            <a:chExt cx="5365216" cy="1813601"/>
          </a:xfrm>
        </p:grpSpPr>
        <p:pic>
          <p:nvPicPr>
            <p:cNvPr id="28" name="Picture 27">
              <a:extLst>
                <a:ext uri="{FF2B5EF4-FFF2-40B4-BE49-F238E27FC236}">
                  <a16:creationId xmlns:a16="http://schemas.microsoft.com/office/drawing/2014/main" id="{DA417A45-8C93-F7E6-3474-CCAFE67D3C2B}"/>
                </a:ext>
              </a:extLst>
            </p:cNvPr>
            <p:cNvPicPr>
              <a:picLocks noChangeAspect="1"/>
            </p:cNvPicPr>
            <p:nvPr/>
          </p:nvPicPr>
          <p:blipFill rotWithShape="1">
            <a:blip r:embed="rId10"/>
            <a:srcRect l="3294" t="13411" b="34768"/>
            <a:stretch/>
          </p:blipFill>
          <p:spPr>
            <a:xfrm>
              <a:off x="6342484" y="1990551"/>
              <a:ext cx="5365216" cy="1343875"/>
            </a:xfrm>
            <a:prstGeom prst="rect">
              <a:avLst/>
            </a:prstGeom>
          </p:spPr>
        </p:pic>
        <p:pic>
          <p:nvPicPr>
            <p:cNvPr id="33" name="Picture 32">
              <a:extLst>
                <a:ext uri="{FF2B5EF4-FFF2-40B4-BE49-F238E27FC236}">
                  <a16:creationId xmlns:a16="http://schemas.microsoft.com/office/drawing/2014/main" id="{F3051FB1-CE75-7288-875D-0826D85D7CA5}"/>
                </a:ext>
              </a:extLst>
            </p:cNvPr>
            <p:cNvPicPr>
              <a:picLocks noChangeAspect="1"/>
            </p:cNvPicPr>
            <p:nvPr/>
          </p:nvPicPr>
          <p:blipFill>
            <a:blip r:embed="rId11"/>
            <a:stretch>
              <a:fillRect/>
            </a:stretch>
          </p:blipFill>
          <p:spPr>
            <a:xfrm>
              <a:off x="6839202" y="1520825"/>
              <a:ext cx="4029637" cy="428685"/>
            </a:xfrm>
            <a:prstGeom prst="rect">
              <a:avLst/>
            </a:prstGeom>
          </p:spPr>
        </p:pic>
      </p:grpSp>
      <p:grpSp>
        <p:nvGrpSpPr>
          <p:cNvPr id="34" name="Group 33">
            <a:extLst>
              <a:ext uri="{FF2B5EF4-FFF2-40B4-BE49-F238E27FC236}">
                <a16:creationId xmlns:a16="http://schemas.microsoft.com/office/drawing/2014/main" id="{6D8EAD80-C29F-BCDE-6C28-0BB7A13756FC}"/>
              </a:ext>
            </a:extLst>
          </p:cNvPr>
          <p:cNvGrpSpPr/>
          <p:nvPr/>
        </p:nvGrpSpPr>
        <p:grpSpPr>
          <a:xfrm>
            <a:off x="13533648" y="6171178"/>
            <a:ext cx="4972744" cy="3006003"/>
            <a:chOff x="6501161" y="2701327"/>
            <a:chExt cx="4972744" cy="3006003"/>
          </a:xfrm>
        </p:grpSpPr>
        <p:pic>
          <p:nvPicPr>
            <p:cNvPr id="35" name="Picture 34">
              <a:extLst>
                <a:ext uri="{FF2B5EF4-FFF2-40B4-BE49-F238E27FC236}">
                  <a16:creationId xmlns:a16="http://schemas.microsoft.com/office/drawing/2014/main" id="{92615161-CE3A-7774-9E10-933D98235F7F}"/>
                </a:ext>
              </a:extLst>
            </p:cNvPr>
            <p:cNvPicPr>
              <a:picLocks noChangeAspect="1"/>
            </p:cNvPicPr>
            <p:nvPr/>
          </p:nvPicPr>
          <p:blipFill>
            <a:blip r:embed="rId9"/>
            <a:stretch>
              <a:fillRect/>
            </a:stretch>
          </p:blipFill>
          <p:spPr>
            <a:xfrm>
              <a:off x="6688859" y="2701327"/>
              <a:ext cx="4105848" cy="552527"/>
            </a:xfrm>
            <a:prstGeom prst="rect">
              <a:avLst/>
            </a:prstGeom>
          </p:spPr>
        </p:pic>
        <p:pic>
          <p:nvPicPr>
            <p:cNvPr id="36" name="Picture 35">
              <a:extLst>
                <a:ext uri="{FF2B5EF4-FFF2-40B4-BE49-F238E27FC236}">
                  <a16:creationId xmlns:a16="http://schemas.microsoft.com/office/drawing/2014/main" id="{4E7106A1-EB7C-5A91-9E4B-0709B39D55DB}"/>
                </a:ext>
              </a:extLst>
            </p:cNvPr>
            <p:cNvPicPr>
              <a:picLocks noChangeAspect="1"/>
            </p:cNvPicPr>
            <p:nvPr/>
          </p:nvPicPr>
          <p:blipFill>
            <a:blip r:embed="rId10"/>
            <a:stretch>
              <a:fillRect/>
            </a:stretch>
          </p:blipFill>
          <p:spPr>
            <a:xfrm>
              <a:off x="6501161" y="3382906"/>
              <a:ext cx="4972744" cy="2324424"/>
            </a:xfrm>
            <a:prstGeom prst="rect">
              <a:avLst/>
            </a:prstGeom>
          </p:spPr>
        </p:pic>
      </p:grpSp>
      <p:sp>
        <p:nvSpPr>
          <p:cNvPr id="37" name="TextBox 36">
            <a:extLst>
              <a:ext uri="{FF2B5EF4-FFF2-40B4-BE49-F238E27FC236}">
                <a16:creationId xmlns:a16="http://schemas.microsoft.com/office/drawing/2014/main" id="{692EB9FB-21FF-FF0B-921D-2ECF07243123}"/>
              </a:ext>
            </a:extLst>
          </p:cNvPr>
          <p:cNvSpPr txBox="1"/>
          <p:nvPr/>
        </p:nvSpPr>
        <p:spPr>
          <a:xfrm>
            <a:off x="6342483" y="6109523"/>
            <a:ext cx="5365216"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7 </a:t>
            </a:r>
            <a:r>
              <a:rPr lang="en-US" sz="1200" noProof="0" dirty="0">
                <a:latin typeface="Calibri" panose="020F0502020204030204" pitchFamily="34" charset="0"/>
                <a:cs typeface="Calibri" panose="020F0502020204030204" pitchFamily="34" charset="0"/>
              </a:rPr>
              <a:t>General form of quintic polynomial (top) and quintic polynomial trajectory, velocity and acceleration profile (bottom)</a:t>
            </a:r>
          </a:p>
        </p:txBody>
      </p:sp>
      <p:pic>
        <p:nvPicPr>
          <p:cNvPr id="41" name="Picture 40">
            <a:extLst>
              <a:ext uri="{FF2B5EF4-FFF2-40B4-BE49-F238E27FC236}">
                <a16:creationId xmlns:a16="http://schemas.microsoft.com/office/drawing/2014/main" id="{82E2DAE4-C271-7BFC-A1EB-A1547F299515}"/>
              </a:ext>
            </a:extLst>
          </p:cNvPr>
          <p:cNvPicPr>
            <a:picLocks noChangeAspect="1"/>
          </p:cNvPicPr>
          <p:nvPr/>
        </p:nvPicPr>
        <p:blipFill rotWithShape="1">
          <a:blip r:embed="rId12"/>
          <a:srcRect l="15908" t="818" r="7336" b="6687"/>
          <a:stretch/>
        </p:blipFill>
        <p:spPr>
          <a:xfrm>
            <a:off x="6543826" y="1119864"/>
            <a:ext cx="4270295" cy="2564095"/>
          </a:xfrm>
          <a:prstGeom prst="rect">
            <a:avLst/>
          </a:prstGeom>
        </p:spPr>
      </p:pic>
      <p:sp>
        <p:nvSpPr>
          <p:cNvPr id="42" name="TextBox 41">
            <a:extLst>
              <a:ext uri="{FF2B5EF4-FFF2-40B4-BE49-F238E27FC236}">
                <a16:creationId xmlns:a16="http://schemas.microsoft.com/office/drawing/2014/main" id="{AE91B816-12FB-94AB-2BB6-8C97613BE362}"/>
              </a:ext>
            </a:extLst>
          </p:cNvPr>
          <p:cNvSpPr txBox="1"/>
          <p:nvPr/>
        </p:nvSpPr>
        <p:spPr>
          <a:xfrm>
            <a:off x="6775417" y="3659898"/>
            <a:ext cx="3863508"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6 </a:t>
            </a:r>
            <a:r>
              <a:rPr lang="en-US" sz="1200" noProof="0" dirty="0">
                <a:latin typeface="Calibri" panose="020F0502020204030204" pitchFamily="34" charset="0"/>
                <a:cs typeface="Calibri" panose="020F0502020204030204" pitchFamily="34" charset="0"/>
              </a:rPr>
              <a:t>Waypoints from start to goal configuration generated by gradient descent on potential fields</a:t>
            </a:r>
          </a:p>
        </p:txBody>
      </p:sp>
    </p:spTree>
    <p:extLst>
      <p:ext uri="{BB962C8B-B14F-4D97-AF65-F5344CB8AC3E}">
        <p14:creationId xmlns:p14="http://schemas.microsoft.com/office/powerpoint/2010/main" val="212026182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7" name="Objeto 86" hidden="1">
            <a:extLst>
              <a:ext uri="{FF2B5EF4-FFF2-40B4-BE49-F238E27FC236}">
                <a16:creationId xmlns:a16="http://schemas.microsoft.com/office/drawing/2014/main" id="{FE2C35EA-A4FA-9A4E-AE1A-27C16B489458}"/>
              </a:ext>
            </a:extLst>
          </p:cNvPr>
          <p:cNvGraphicFramePr>
            <a:graphicFrameLocks noChangeAspect="1"/>
          </p:cNvGraphicFramePr>
          <p:nvPr>
            <p:custDataLst>
              <p:tags r:id="rId1"/>
            </p:custDataLst>
            <p:extLst>
              <p:ext uri="{D42A27DB-BD31-4B8C-83A1-F6EECF244321}">
                <p14:modId xmlns:p14="http://schemas.microsoft.com/office/powerpoint/2010/main" val="1564446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7" name="Objeto 86" hidden="1">
                        <a:extLst>
                          <a:ext uri="{FF2B5EF4-FFF2-40B4-BE49-F238E27FC236}">
                            <a16:creationId xmlns:a16="http://schemas.microsoft.com/office/drawing/2014/main" id="{FE2C35EA-A4FA-9A4E-AE1A-27C16B4894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9" name="Marcador de texto 88">
            <a:extLst>
              <a:ext uri="{FF2B5EF4-FFF2-40B4-BE49-F238E27FC236}">
                <a16:creationId xmlns:a16="http://schemas.microsoft.com/office/drawing/2014/main" id="{613222B4-FF01-A9B0-6C5F-A10902E79F43}"/>
              </a:ext>
            </a:extLst>
          </p:cNvPr>
          <p:cNvSpPr>
            <a:spLocks noGrp="1"/>
          </p:cNvSpPr>
          <p:nvPr>
            <p:ph type="body" sz="quarter" idx="14"/>
          </p:nvPr>
        </p:nvSpPr>
        <p:spPr/>
        <p:txBody>
          <a:bodyPr/>
          <a:lstStyle/>
          <a:p>
            <a:r>
              <a:rPr lang="en-US" dirty="0"/>
              <a:t>Subtitle</a:t>
            </a:r>
          </a:p>
        </p:txBody>
      </p:sp>
      <p:sp>
        <p:nvSpPr>
          <p:cNvPr id="54" name="Freeform 86">
            <a:extLst>
              <a:ext uri="{FF2B5EF4-FFF2-40B4-BE49-F238E27FC236}">
                <a16:creationId xmlns:a16="http://schemas.microsoft.com/office/drawing/2014/main" id="{4BB85DEB-173B-45AD-67A9-0B20E96ACF7A}"/>
              </a:ext>
            </a:extLst>
          </p:cNvPr>
          <p:cNvSpPr>
            <a:spLocks noChangeArrowheads="1"/>
          </p:cNvSpPr>
          <p:nvPr/>
        </p:nvSpPr>
        <p:spPr bwMode="auto">
          <a:xfrm>
            <a:off x="1236608"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55" name="Freeform 86">
            <a:extLst>
              <a:ext uri="{FF2B5EF4-FFF2-40B4-BE49-F238E27FC236}">
                <a16:creationId xmlns:a16="http://schemas.microsoft.com/office/drawing/2014/main" id="{3B7ADC50-D341-4EE6-923C-A36E456998A9}"/>
              </a:ext>
            </a:extLst>
          </p:cNvPr>
          <p:cNvSpPr>
            <a:spLocks noChangeAspect="1" noChangeArrowheads="1"/>
          </p:cNvSpPr>
          <p:nvPr/>
        </p:nvSpPr>
        <p:spPr bwMode="auto">
          <a:xfrm>
            <a:off x="1369505" y="2136940"/>
            <a:ext cx="1700165" cy="1700275"/>
          </a:xfrm>
          <a:prstGeom prst="ellipse">
            <a:avLst/>
          </a:prstGeom>
          <a:solidFill>
            <a:schemeClr val="accent1">
              <a:lumMod val="20000"/>
              <a:lumOff val="80000"/>
            </a:schemeClr>
          </a:solidFill>
          <a:ln w="57150">
            <a:noFill/>
          </a:ln>
          <a:effectLst/>
        </p:spPr>
        <p:txBody>
          <a:bodyPr wrap="none" anchor="ctr"/>
          <a:lstStyle/>
          <a:p>
            <a:endParaRPr lang="en-US" sz="9950" b="1" dirty="0"/>
          </a:p>
        </p:txBody>
      </p:sp>
      <p:sp>
        <p:nvSpPr>
          <p:cNvPr id="56" name="Pie 12">
            <a:extLst>
              <a:ext uri="{FF2B5EF4-FFF2-40B4-BE49-F238E27FC236}">
                <a16:creationId xmlns:a16="http://schemas.microsoft.com/office/drawing/2014/main" id="{EE0629DB-E45D-8854-DE2C-BCF3B0E64A2B}"/>
              </a:ext>
            </a:extLst>
          </p:cNvPr>
          <p:cNvSpPr>
            <a:spLocks noChangeAspect="1"/>
          </p:cNvSpPr>
          <p:nvPr/>
        </p:nvSpPr>
        <p:spPr>
          <a:xfrm>
            <a:off x="1369472" y="2136940"/>
            <a:ext cx="1700165" cy="1700275"/>
          </a:xfrm>
          <a:prstGeom prst="pie">
            <a:avLst>
              <a:gd name="adj1" fmla="val 5414869"/>
              <a:gd name="adj2" fmla="val 16197063"/>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7" name="Oval 19">
            <a:extLst>
              <a:ext uri="{FF2B5EF4-FFF2-40B4-BE49-F238E27FC236}">
                <a16:creationId xmlns:a16="http://schemas.microsoft.com/office/drawing/2014/main" id="{E6B7D870-173A-0BBE-93BF-3F674B79EEC3}"/>
              </a:ext>
            </a:extLst>
          </p:cNvPr>
          <p:cNvSpPr/>
          <p:nvPr/>
        </p:nvSpPr>
        <p:spPr>
          <a:xfrm>
            <a:off x="809642" y="2085035"/>
            <a:ext cx="771361" cy="771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TextBox 14">
            <a:extLst>
              <a:ext uri="{FF2B5EF4-FFF2-40B4-BE49-F238E27FC236}">
                <a16:creationId xmlns:a16="http://schemas.microsoft.com/office/drawing/2014/main" id="{EB5FB540-3861-6743-DC50-C840EF8B3B3A}"/>
              </a:ext>
            </a:extLst>
          </p:cNvPr>
          <p:cNvSpPr txBox="1"/>
          <p:nvPr/>
        </p:nvSpPr>
        <p:spPr>
          <a:xfrm>
            <a:off x="827936"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50%</a:t>
            </a:r>
          </a:p>
        </p:txBody>
      </p:sp>
      <p:sp>
        <p:nvSpPr>
          <p:cNvPr id="59" name="Freeform 86">
            <a:extLst>
              <a:ext uri="{FF2B5EF4-FFF2-40B4-BE49-F238E27FC236}">
                <a16:creationId xmlns:a16="http://schemas.microsoft.com/office/drawing/2014/main" id="{C2E71E56-5685-CE9E-A76B-D1BFA42D65DE}"/>
              </a:ext>
            </a:extLst>
          </p:cNvPr>
          <p:cNvSpPr>
            <a:spLocks noChangeArrowheads="1"/>
          </p:cNvSpPr>
          <p:nvPr/>
        </p:nvSpPr>
        <p:spPr bwMode="auto">
          <a:xfrm>
            <a:off x="3956436"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6">
            <a:extLst>
              <a:ext uri="{FF2B5EF4-FFF2-40B4-BE49-F238E27FC236}">
                <a16:creationId xmlns:a16="http://schemas.microsoft.com/office/drawing/2014/main" id="{50EB58B4-0411-B1D6-766C-840C0C2C9FEA}"/>
              </a:ext>
            </a:extLst>
          </p:cNvPr>
          <p:cNvSpPr>
            <a:spLocks noChangeAspect="1" noChangeArrowheads="1"/>
          </p:cNvSpPr>
          <p:nvPr/>
        </p:nvSpPr>
        <p:spPr bwMode="auto">
          <a:xfrm>
            <a:off x="4089333" y="2136940"/>
            <a:ext cx="1700165" cy="1700275"/>
          </a:xfrm>
          <a:prstGeom prst="ellipse">
            <a:avLst/>
          </a:prstGeom>
          <a:solidFill>
            <a:schemeClr val="accent2">
              <a:lumMod val="20000"/>
              <a:lumOff val="80000"/>
            </a:schemeClr>
          </a:solidFill>
          <a:ln w="57150">
            <a:noFill/>
          </a:ln>
          <a:effectLst/>
        </p:spPr>
        <p:txBody>
          <a:bodyPr wrap="none" anchor="ctr"/>
          <a:lstStyle/>
          <a:p>
            <a:endParaRPr lang="en-US" sz="9950" b="1" dirty="0"/>
          </a:p>
        </p:txBody>
      </p:sp>
      <p:sp>
        <p:nvSpPr>
          <p:cNvPr id="61" name="Pie 26">
            <a:extLst>
              <a:ext uri="{FF2B5EF4-FFF2-40B4-BE49-F238E27FC236}">
                <a16:creationId xmlns:a16="http://schemas.microsoft.com/office/drawing/2014/main" id="{3AD429D6-52CD-33D5-9EFB-B62AD6835285}"/>
              </a:ext>
            </a:extLst>
          </p:cNvPr>
          <p:cNvSpPr>
            <a:spLocks noChangeAspect="1"/>
          </p:cNvSpPr>
          <p:nvPr/>
        </p:nvSpPr>
        <p:spPr>
          <a:xfrm>
            <a:off x="4089300" y="2136940"/>
            <a:ext cx="1700165" cy="1700275"/>
          </a:xfrm>
          <a:prstGeom prst="pie">
            <a:avLst>
              <a:gd name="adj1" fmla="val 38409"/>
              <a:gd name="adj2" fmla="val 1619706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dirty="0">
              <a:solidFill>
                <a:schemeClr val="tx1"/>
              </a:solidFill>
            </a:endParaRPr>
          </a:p>
        </p:txBody>
      </p:sp>
      <p:sp>
        <p:nvSpPr>
          <p:cNvPr id="62" name="Oval 27">
            <a:extLst>
              <a:ext uri="{FF2B5EF4-FFF2-40B4-BE49-F238E27FC236}">
                <a16:creationId xmlns:a16="http://schemas.microsoft.com/office/drawing/2014/main" id="{EA888844-0FDD-CE12-83C9-551100C553A8}"/>
              </a:ext>
            </a:extLst>
          </p:cNvPr>
          <p:cNvSpPr/>
          <p:nvPr/>
        </p:nvSpPr>
        <p:spPr>
          <a:xfrm>
            <a:off x="3529470" y="2085035"/>
            <a:ext cx="771361" cy="771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Box 28">
            <a:extLst>
              <a:ext uri="{FF2B5EF4-FFF2-40B4-BE49-F238E27FC236}">
                <a16:creationId xmlns:a16="http://schemas.microsoft.com/office/drawing/2014/main" id="{788C5B0A-B1B2-6CF2-0A8C-A5E0B9A6FBA7}"/>
              </a:ext>
            </a:extLst>
          </p:cNvPr>
          <p:cNvSpPr txBox="1"/>
          <p:nvPr/>
        </p:nvSpPr>
        <p:spPr>
          <a:xfrm>
            <a:off x="3546301"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75%</a:t>
            </a:r>
          </a:p>
        </p:txBody>
      </p:sp>
      <p:sp>
        <p:nvSpPr>
          <p:cNvPr id="64" name="Freeform 86">
            <a:extLst>
              <a:ext uri="{FF2B5EF4-FFF2-40B4-BE49-F238E27FC236}">
                <a16:creationId xmlns:a16="http://schemas.microsoft.com/office/drawing/2014/main" id="{B534F22F-C84F-B7AE-F08D-3CE74BA08B59}"/>
              </a:ext>
            </a:extLst>
          </p:cNvPr>
          <p:cNvSpPr>
            <a:spLocks noChangeArrowheads="1"/>
          </p:cNvSpPr>
          <p:nvPr/>
        </p:nvSpPr>
        <p:spPr bwMode="auto">
          <a:xfrm>
            <a:off x="6677960"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65" name="Freeform 86">
            <a:extLst>
              <a:ext uri="{FF2B5EF4-FFF2-40B4-BE49-F238E27FC236}">
                <a16:creationId xmlns:a16="http://schemas.microsoft.com/office/drawing/2014/main" id="{B09BB82C-5FA3-692D-FD56-D78FF199ED90}"/>
              </a:ext>
            </a:extLst>
          </p:cNvPr>
          <p:cNvSpPr>
            <a:spLocks noChangeAspect="1" noChangeArrowheads="1"/>
          </p:cNvSpPr>
          <p:nvPr/>
        </p:nvSpPr>
        <p:spPr bwMode="auto">
          <a:xfrm>
            <a:off x="6810857" y="2136940"/>
            <a:ext cx="1700165" cy="1700275"/>
          </a:xfrm>
          <a:prstGeom prst="ellipse">
            <a:avLst/>
          </a:prstGeom>
          <a:solidFill>
            <a:schemeClr val="accent3">
              <a:lumMod val="90000"/>
            </a:schemeClr>
          </a:solidFill>
          <a:ln w="57150">
            <a:noFill/>
          </a:ln>
          <a:effectLst/>
        </p:spPr>
        <p:txBody>
          <a:bodyPr wrap="none" anchor="ctr"/>
          <a:lstStyle/>
          <a:p>
            <a:endParaRPr lang="en-US" sz="9950" b="1" dirty="0"/>
          </a:p>
        </p:txBody>
      </p:sp>
      <p:sp>
        <p:nvSpPr>
          <p:cNvPr id="66" name="Pie 31">
            <a:extLst>
              <a:ext uri="{FF2B5EF4-FFF2-40B4-BE49-F238E27FC236}">
                <a16:creationId xmlns:a16="http://schemas.microsoft.com/office/drawing/2014/main" id="{567ACCE6-1C96-045F-FEA5-C44B6281C847}"/>
              </a:ext>
            </a:extLst>
          </p:cNvPr>
          <p:cNvSpPr>
            <a:spLocks noChangeAspect="1"/>
          </p:cNvSpPr>
          <p:nvPr/>
        </p:nvSpPr>
        <p:spPr>
          <a:xfrm>
            <a:off x="6810824" y="2136940"/>
            <a:ext cx="1700165" cy="1700275"/>
          </a:xfrm>
          <a:prstGeom prst="pie">
            <a:avLst>
              <a:gd name="adj1" fmla="val 10788501"/>
              <a:gd name="adj2" fmla="val 1619706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7" name="Oval 32">
            <a:extLst>
              <a:ext uri="{FF2B5EF4-FFF2-40B4-BE49-F238E27FC236}">
                <a16:creationId xmlns:a16="http://schemas.microsoft.com/office/drawing/2014/main" id="{7E8EA0D7-121E-38FA-E060-58D767CD3F62}"/>
              </a:ext>
            </a:extLst>
          </p:cNvPr>
          <p:cNvSpPr/>
          <p:nvPr/>
        </p:nvSpPr>
        <p:spPr>
          <a:xfrm>
            <a:off x="6250994" y="2085035"/>
            <a:ext cx="771361" cy="771361"/>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TextBox 33">
            <a:extLst>
              <a:ext uri="{FF2B5EF4-FFF2-40B4-BE49-F238E27FC236}">
                <a16:creationId xmlns:a16="http://schemas.microsoft.com/office/drawing/2014/main" id="{11643E91-C769-86F7-9D2A-B6EDE2E7F15A}"/>
              </a:ext>
            </a:extLst>
          </p:cNvPr>
          <p:cNvSpPr txBox="1"/>
          <p:nvPr/>
        </p:nvSpPr>
        <p:spPr>
          <a:xfrm>
            <a:off x="6267825"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25%</a:t>
            </a:r>
          </a:p>
        </p:txBody>
      </p:sp>
      <p:sp>
        <p:nvSpPr>
          <p:cNvPr id="69" name="Freeform 86">
            <a:extLst>
              <a:ext uri="{FF2B5EF4-FFF2-40B4-BE49-F238E27FC236}">
                <a16:creationId xmlns:a16="http://schemas.microsoft.com/office/drawing/2014/main" id="{1EAE733C-5133-A42A-4054-4306C019D4D5}"/>
              </a:ext>
            </a:extLst>
          </p:cNvPr>
          <p:cNvSpPr>
            <a:spLocks noChangeArrowheads="1"/>
          </p:cNvSpPr>
          <p:nvPr/>
        </p:nvSpPr>
        <p:spPr bwMode="auto">
          <a:xfrm>
            <a:off x="9399484" y="2004097"/>
            <a:ext cx="1965960" cy="1965960"/>
          </a:xfrm>
          <a:prstGeom prst="ellipse">
            <a:avLst/>
          </a:prstGeom>
          <a:noFill/>
          <a:ln w="38100">
            <a:solidFill>
              <a:schemeClr val="accent6"/>
            </a:solidFill>
          </a:ln>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0" name="Freeform 86">
            <a:extLst>
              <a:ext uri="{FF2B5EF4-FFF2-40B4-BE49-F238E27FC236}">
                <a16:creationId xmlns:a16="http://schemas.microsoft.com/office/drawing/2014/main" id="{AEFC5CAA-678E-F4E7-54B6-221E747705D8}"/>
              </a:ext>
            </a:extLst>
          </p:cNvPr>
          <p:cNvSpPr>
            <a:spLocks noChangeAspect="1" noChangeArrowheads="1"/>
          </p:cNvSpPr>
          <p:nvPr/>
        </p:nvSpPr>
        <p:spPr bwMode="auto">
          <a:xfrm>
            <a:off x="9532381" y="2136940"/>
            <a:ext cx="1700165" cy="1700275"/>
          </a:xfrm>
          <a:prstGeom prst="ellipse">
            <a:avLst/>
          </a:prstGeom>
          <a:solidFill>
            <a:schemeClr val="accent4">
              <a:lumMod val="20000"/>
              <a:lumOff val="80000"/>
            </a:schemeClr>
          </a:solidFill>
          <a:ln w="57150">
            <a:noFill/>
          </a:ln>
          <a:effectLst/>
        </p:spPr>
        <p:txBody>
          <a:bodyPr wrap="none" anchor="ctr"/>
          <a:lstStyle/>
          <a:p>
            <a:endParaRPr lang="en-US" sz="9950" b="1" dirty="0"/>
          </a:p>
        </p:txBody>
      </p:sp>
      <p:sp>
        <p:nvSpPr>
          <p:cNvPr id="71" name="Pie 36">
            <a:extLst>
              <a:ext uri="{FF2B5EF4-FFF2-40B4-BE49-F238E27FC236}">
                <a16:creationId xmlns:a16="http://schemas.microsoft.com/office/drawing/2014/main" id="{9FA677A5-FB03-A7D5-DE66-12384C905F63}"/>
              </a:ext>
            </a:extLst>
          </p:cNvPr>
          <p:cNvSpPr>
            <a:spLocks noChangeAspect="1"/>
          </p:cNvSpPr>
          <p:nvPr/>
        </p:nvSpPr>
        <p:spPr>
          <a:xfrm>
            <a:off x="9532348" y="2136940"/>
            <a:ext cx="1700165" cy="1700275"/>
          </a:xfrm>
          <a:prstGeom prst="pie">
            <a:avLst>
              <a:gd name="adj1" fmla="val 17257894"/>
              <a:gd name="adj2" fmla="val 16197063"/>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72" name="Oval 37">
            <a:extLst>
              <a:ext uri="{FF2B5EF4-FFF2-40B4-BE49-F238E27FC236}">
                <a16:creationId xmlns:a16="http://schemas.microsoft.com/office/drawing/2014/main" id="{CCC3C931-EEA4-02A4-B4D5-F6DACF5B6A14}"/>
              </a:ext>
            </a:extLst>
          </p:cNvPr>
          <p:cNvSpPr/>
          <p:nvPr/>
        </p:nvSpPr>
        <p:spPr>
          <a:xfrm>
            <a:off x="8972518" y="2085035"/>
            <a:ext cx="771361" cy="771361"/>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TextBox 38">
            <a:extLst>
              <a:ext uri="{FF2B5EF4-FFF2-40B4-BE49-F238E27FC236}">
                <a16:creationId xmlns:a16="http://schemas.microsoft.com/office/drawing/2014/main" id="{4F420818-E0F9-8912-0E68-49976B9A768B}"/>
              </a:ext>
            </a:extLst>
          </p:cNvPr>
          <p:cNvSpPr txBox="1"/>
          <p:nvPr/>
        </p:nvSpPr>
        <p:spPr>
          <a:xfrm>
            <a:off x="8989349" y="2301601"/>
            <a:ext cx="737702" cy="338554"/>
          </a:xfrm>
          <a:prstGeom prst="rect">
            <a:avLst/>
          </a:prstGeom>
          <a:noFill/>
        </p:spPr>
        <p:txBody>
          <a:bodyPr wrap="none" rtlCol="0" anchor="ctr">
            <a:spAutoFit/>
          </a:bodyPr>
          <a:lstStyle/>
          <a:p>
            <a:pPr algn="ctr"/>
            <a:r>
              <a:rPr lang="en-US" sz="1600" b="1" dirty="0">
                <a:solidFill>
                  <a:schemeClr val="bg1"/>
                </a:solidFill>
                <a:ea typeface="Roboto" charset="0"/>
                <a:cs typeface="Poppins Bold" panose="02000000000000000000" pitchFamily="2" charset="77"/>
              </a:rPr>
              <a:t>90%</a:t>
            </a:r>
          </a:p>
        </p:txBody>
      </p:sp>
      <p:cxnSp>
        <p:nvCxnSpPr>
          <p:cNvPr id="74" name="Straight Connector 40">
            <a:extLst>
              <a:ext uri="{FF2B5EF4-FFF2-40B4-BE49-F238E27FC236}">
                <a16:creationId xmlns:a16="http://schemas.microsoft.com/office/drawing/2014/main" id="{2372ACF8-D444-6837-EF31-52D0F817C7FF}"/>
              </a:ext>
            </a:extLst>
          </p:cNvPr>
          <p:cNvCxnSpPr>
            <a:cxnSpLocks/>
          </p:cNvCxnSpPr>
          <p:nvPr/>
        </p:nvCxnSpPr>
        <p:spPr>
          <a:xfrm flipH="1">
            <a:off x="2219555"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5" name="Straight Connector 41">
            <a:extLst>
              <a:ext uri="{FF2B5EF4-FFF2-40B4-BE49-F238E27FC236}">
                <a16:creationId xmlns:a16="http://schemas.microsoft.com/office/drawing/2014/main" id="{8D4C8277-028E-20E0-8D83-AFA5BEF23881}"/>
              </a:ext>
            </a:extLst>
          </p:cNvPr>
          <p:cNvCxnSpPr/>
          <p:nvPr/>
        </p:nvCxnSpPr>
        <p:spPr>
          <a:xfrm flipH="1">
            <a:off x="4939350"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6" name="Straight Connector 42">
            <a:extLst>
              <a:ext uri="{FF2B5EF4-FFF2-40B4-BE49-F238E27FC236}">
                <a16:creationId xmlns:a16="http://schemas.microsoft.com/office/drawing/2014/main" id="{57BE9EFE-FB2F-C7FE-4DE6-9FA26F514DE0}"/>
              </a:ext>
            </a:extLst>
          </p:cNvPr>
          <p:cNvCxnSpPr/>
          <p:nvPr/>
        </p:nvCxnSpPr>
        <p:spPr>
          <a:xfrm flipH="1">
            <a:off x="7660874"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43">
            <a:extLst>
              <a:ext uri="{FF2B5EF4-FFF2-40B4-BE49-F238E27FC236}">
                <a16:creationId xmlns:a16="http://schemas.microsoft.com/office/drawing/2014/main" id="{5EFE3F8F-A5EA-B0DC-28E4-84FF8ABA46C9}"/>
              </a:ext>
            </a:extLst>
          </p:cNvPr>
          <p:cNvCxnSpPr/>
          <p:nvPr/>
        </p:nvCxnSpPr>
        <p:spPr>
          <a:xfrm flipH="1">
            <a:off x="10382398" y="4006152"/>
            <a:ext cx="33" cy="698196"/>
          </a:xfrm>
          <a:prstGeom prst="line">
            <a:avLst/>
          </a:prstGeom>
          <a:ln w="38100" cap="rnd">
            <a:solidFill>
              <a:schemeClr val="tx1">
                <a:lumMod val="50000"/>
                <a:lumOff val="50000"/>
              </a:schemeClr>
            </a:solidFill>
            <a:prstDash val="lgDashDot"/>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78" name="TextBox 44">
            <a:extLst>
              <a:ext uri="{FF2B5EF4-FFF2-40B4-BE49-F238E27FC236}">
                <a16:creationId xmlns:a16="http://schemas.microsoft.com/office/drawing/2014/main" id="{1BD1726D-A93D-9C40-DAE6-E3EE2D697B26}"/>
              </a:ext>
            </a:extLst>
          </p:cNvPr>
          <p:cNvSpPr txBox="1"/>
          <p:nvPr/>
        </p:nvSpPr>
        <p:spPr>
          <a:xfrm>
            <a:off x="9152143" y="4903673"/>
            <a:ext cx="1880641"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79" name="TextBox 45">
            <a:extLst>
              <a:ext uri="{FF2B5EF4-FFF2-40B4-BE49-F238E27FC236}">
                <a16:creationId xmlns:a16="http://schemas.microsoft.com/office/drawing/2014/main" id="{5804E017-883C-6D66-9D59-95A861151107}"/>
              </a:ext>
            </a:extLst>
          </p:cNvPr>
          <p:cNvSpPr txBox="1"/>
          <p:nvPr/>
        </p:nvSpPr>
        <p:spPr>
          <a:xfrm>
            <a:off x="6425114" y="4903673"/>
            <a:ext cx="1880642"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0" name="TextBox 46">
            <a:extLst>
              <a:ext uri="{FF2B5EF4-FFF2-40B4-BE49-F238E27FC236}">
                <a16:creationId xmlns:a16="http://schemas.microsoft.com/office/drawing/2014/main" id="{077EF6B4-3A8C-C72D-5B7E-DDC6A579A789}"/>
              </a:ext>
            </a:extLst>
          </p:cNvPr>
          <p:cNvSpPr txBox="1"/>
          <p:nvPr/>
        </p:nvSpPr>
        <p:spPr>
          <a:xfrm>
            <a:off x="3711492"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1" name="TextBox 47">
            <a:extLst>
              <a:ext uri="{FF2B5EF4-FFF2-40B4-BE49-F238E27FC236}">
                <a16:creationId xmlns:a16="http://schemas.microsoft.com/office/drawing/2014/main" id="{72D3A859-79CC-F88D-7369-21D636776FD9}"/>
              </a:ext>
            </a:extLst>
          </p:cNvPr>
          <p:cNvSpPr txBox="1"/>
          <p:nvPr/>
        </p:nvSpPr>
        <p:spPr>
          <a:xfrm>
            <a:off x="997870" y="4903673"/>
            <a:ext cx="1867235" cy="338554"/>
          </a:xfrm>
          <a:prstGeom prst="rect">
            <a:avLst/>
          </a:prstGeom>
          <a:noFill/>
        </p:spPr>
        <p:txBody>
          <a:bodyPr wrap="square" lIns="0" rtlCol="0">
            <a:spAutoFit/>
          </a:bodyPr>
          <a:lstStyle/>
          <a:p>
            <a:r>
              <a:rPr lang="en-US" sz="1600" b="1" dirty="0">
                <a:solidFill>
                  <a:schemeClr val="tx2"/>
                </a:solidFill>
                <a:ea typeface="Roboto" charset="0"/>
                <a:cs typeface="Poppins Bold" panose="02000000000000000000" pitchFamily="2" charset="77"/>
              </a:rPr>
              <a:t>Your Title</a:t>
            </a:r>
          </a:p>
        </p:txBody>
      </p:sp>
      <p:sp>
        <p:nvSpPr>
          <p:cNvPr id="82" name="TextBox 48">
            <a:extLst>
              <a:ext uri="{FF2B5EF4-FFF2-40B4-BE49-F238E27FC236}">
                <a16:creationId xmlns:a16="http://schemas.microsoft.com/office/drawing/2014/main" id="{5846F70B-FFA2-7D28-9CD5-5BE166B4F936}"/>
              </a:ext>
            </a:extLst>
          </p:cNvPr>
          <p:cNvSpPr txBox="1"/>
          <p:nvPr/>
        </p:nvSpPr>
        <p:spPr>
          <a:xfrm>
            <a:off x="916971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3" name="TextBox 49">
            <a:extLst>
              <a:ext uri="{FF2B5EF4-FFF2-40B4-BE49-F238E27FC236}">
                <a16:creationId xmlns:a16="http://schemas.microsoft.com/office/drawing/2014/main" id="{F1B41062-15F2-6453-224D-7F126A2714CB}"/>
              </a:ext>
            </a:extLst>
          </p:cNvPr>
          <p:cNvSpPr txBox="1"/>
          <p:nvPr/>
        </p:nvSpPr>
        <p:spPr>
          <a:xfrm>
            <a:off x="6429582"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4" name="TextBox 50">
            <a:extLst>
              <a:ext uri="{FF2B5EF4-FFF2-40B4-BE49-F238E27FC236}">
                <a16:creationId xmlns:a16="http://schemas.microsoft.com/office/drawing/2014/main" id="{D47E70BD-9E9A-5B98-1A6C-05BBE1503662}"/>
              </a:ext>
            </a:extLst>
          </p:cNvPr>
          <p:cNvSpPr txBox="1"/>
          <p:nvPr/>
        </p:nvSpPr>
        <p:spPr>
          <a:xfrm>
            <a:off x="372043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a:p>
            <a:pPr algn="l"/>
            <a:endParaRPr lang="en-US" dirty="0"/>
          </a:p>
        </p:txBody>
      </p:sp>
      <p:sp>
        <p:nvSpPr>
          <p:cNvPr id="85" name="TextBox 51">
            <a:extLst>
              <a:ext uri="{FF2B5EF4-FFF2-40B4-BE49-F238E27FC236}">
                <a16:creationId xmlns:a16="http://schemas.microsoft.com/office/drawing/2014/main" id="{8F4F910B-A43E-EFBB-15B7-4F696D531E15}"/>
              </a:ext>
            </a:extLst>
          </p:cNvPr>
          <p:cNvSpPr txBox="1"/>
          <p:nvPr/>
        </p:nvSpPr>
        <p:spPr>
          <a:xfrm>
            <a:off x="997870" y="5262147"/>
            <a:ext cx="2424223" cy="83933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 name="Footer Placeholder 1">
            <a:extLst>
              <a:ext uri="{FF2B5EF4-FFF2-40B4-BE49-F238E27FC236}">
                <a16:creationId xmlns:a16="http://schemas.microsoft.com/office/drawing/2014/main" id="{C1C0D382-663E-D9AE-8A8D-D37370ED1A79}"/>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DC853117-2E72-9FD6-D97C-9FA339CBE052}"/>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6161403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0948F25B-A8AF-B457-031B-C9FBA92CAA3A}"/>
              </a:ext>
            </a:extLst>
          </p:cNvPr>
          <p:cNvGraphicFramePr>
            <a:graphicFrameLocks noChangeAspect="1"/>
          </p:cNvGraphicFramePr>
          <p:nvPr>
            <p:custDataLst>
              <p:tags r:id="rId1"/>
            </p:custDataLst>
            <p:extLst>
              <p:ext uri="{D42A27DB-BD31-4B8C-83A1-F6EECF244321}">
                <p14:modId xmlns:p14="http://schemas.microsoft.com/office/powerpoint/2010/main" val="26102385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0948F25B-A8AF-B457-031B-C9FBA92CAA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Marcador de texto 6">
            <a:extLst>
              <a:ext uri="{FF2B5EF4-FFF2-40B4-BE49-F238E27FC236}">
                <a16:creationId xmlns:a16="http://schemas.microsoft.com/office/drawing/2014/main" id="{7D1B6945-7019-D4BA-35FF-9F0F9608CC45}"/>
              </a:ext>
            </a:extLst>
          </p:cNvPr>
          <p:cNvSpPr>
            <a:spLocks noGrp="1"/>
          </p:cNvSpPr>
          <p:nvPr>
            <p:ph type="body" sz="quarter" idx="14"/>
          </p:nvPr>
        </p:nvSpPr>
        <p:spPr/>
        <p:txBody>
          <a:bodyPr/>
          <a:lstStyle/>
          <a:p>
            <a:r>
              <a:rPr lang="en-US" dirty="0"/>
              <a:t>Subtitle</a:t>
            </a:r>
          </a:p>
        </p:txBody>
      </p:sp>
      <p:graphicFrame>
        <p:nvGraphicFramePr>
          <p:cNvPr id="11" name="Table 3">
            <a:extLst>
              <a:ext uri="{FF2B5EF4-FFF2-40B4-BE49-F238E27FC236}">
                <a16:creationId xmlns:a16="http://schemas.microsoft.com/office/drawing/2014/main" id="{4B08A480-CF36-F0AA-25AA-AC2AAEE84D5B}"/>
              </a:ext>
            </a:extLst>
          </p:cNvPr>
          <p:cNvGraphicFramePr>
            <a:graphicFrameLocks noGrp="1"/>
          </p:cNvGraphicFramePr>
          <p:nvPr>
            <p:extLst>
              <p:ext uri="{D42A27DB-BD31-4B8C-83A1-F6EECF244321}">
                <p14:modId xmlns:p14="http://schemas.microsoft.com/office/powerpoint/2010/main" val="1180635878"/>
              </p:ext>
            </p:extLst>
          </p:nvPr>
        </p:nvGraphicFramePr>
        <p:xfrm>
          <a:off x="561975" y="1520824"/>
          <a:ext cx="11258551" cy="3729001"/>
        </p:xfrm>
        <a:graphic>
          <a:graphicData uri="http://schemas.openxmlformats.org/drawingml/2006/table">
            <a:tbl>
              <a:tblPr firstRow="1" firstCol="1">
                <a:tableStyleId>{5A111915-BE36-4E01-A7E5-04B1672EAD32}</a:tableStyleId>
              </a:tblPr>
              <a:tblGrid>
                <a:gridCol w="3962035">
                  <a:extLst>
                    <a:ext uri="{9D8B030D-6E8A-4147-A177-3AD203B41FA5}">
                      <a16:colId xmlns:a16="http://schemas.microsoft.com/office/drawing/2014/main" val="3217080445"/>
                    </a:ext>
                  </a:extLst>
                </a:gridCol>
                <a:gridCol w="1824129">
                  <a:extLst>
                    <a:ext uri="{9D8B030D-6E8A-4147-A177-3AD203B41FA5}">
                      <a16:colId xmlns:a16="http://schemas.microsoft.com/office/drawing/2014/main" val="2441850317"/>
                    </a:ext>
                  </a:extLst>
                </a:gridCol>
                <a:gridCol w="1824129">
                  <a:extLst>
                    <a:ext uri="{9D8B030D-6E8A-4147-A177-3AD203B41FA5}">
                      <a16:colId xmlns:a16="http://schemas.microsoft.com/office/drawing/2014/main" val="3825669539"/>
                    </a:ext>
                  </a:extLst>
                </a:gridCol>
                <a:gridCol w="1824129">
                  <a:extLst>
                    <a:ext uri="{9D8B030D-6E8A-4147-A177-3AD203B41FA5}">
                      <a16:colId xmlns:a16="http://schemas.microsoft.com/office/drawing/2014/main" val="2643082913"/>
                    </a:ext>
                  </a:extLst>
                </a:gridCol>
                <a:gridCol w="1824129">
                  <a:extLst>
                    <a:ext uri="{9D8B030D-6E8A-4147-A177-3AD203B41FA5}">
                      <a16:colId xmlns:a16="http://schemas.microsoft.com/office/drawing/2014/main" val="374085253"/>
                    </a:ext>
                  </a:extLst>
                </a:gridCol>
              </a:tblGrid>
              <a:tr h="362666">
                <a:tc>
                  <a:txBody>
                    <a:bodyPr/>
                    <a:lstStyle/>
                    <a:p>
                      <a:r>
                        <a:rPr lang="en-US" sz="1800" b="1" i="0" dirty="0">
                          <a:latin typeface="+mn-lt"/>
                          <a:ea typeface="Roboto" panose="02000000000000000000" pitchFamily="2" charset="0"/>
                        </a:rPr>
                        <a:t> </a:t>
                      </a:r>
                    </a:p>
                  </a:txBody>
                  <a:tcPr marL="45720" marR="45720" marT="22860" marB="22860">
                    <a:lnL w="6350" cap="flat" cmpd="sng" algn="ctr">
                      <a:noFill/>
                      <a:prstDash val="solid"/>
                      <a:miter lim="800000"/>
                    </a:lnL>
                    <a:lnR>
                      <a:noFill/>
                    </a:lnR>
                    <a:lnT w="6350" cap="flat" cmpd="sng" algn="ctr">
                      <a:noFill/>
                      <a:prstDash val="solid"/>
                      <a:miter lim="800000"/>
                    </a:lnT>
                    <a:lnB>
                      <a:noFill/>
                    </a:lnB>
                    <a:lnTlToBr w="12700" cmpd="sng">
                      <a:noFill/>
                      <a:prstDash val="solid"/>
                    </a:lnTlToBr>
                    <a:lnBlToTr w="12700" cmpd="sng">
                      <a:noFill/>
                      <a:prstDash val="solid"/>
                    </a:lnBlToTr>
                    <a:noFill/>
                  </a:tcPr>
                </a:tc>
                <a:tc>
                  <a:txBody>
                    <a:bodyPr/>
                    <a:lstStyle/>
                    <a:p>
                      <a:pPr algn="ct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1"/>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a:noFill/>
                    </a:lnR>
                    <a:lnT w="6350" cap="flat" cmpd="sng" algn="ctr">
                      <a:noFill/>
                      <a:prstDash val="solid"/>
                      <a:miter lim="800000"/>
                    </a:lnT>
                    <a:lnB>
                      <a:noFill/>
                    </a:lnB>
                    <a:lnTlToBr w="12700" cmpd="sng">
                      <a:noFill/>
                      <a:prstDash val="solid"/>
                    </a:lnTlToBr>
                    <a:lnBlToTr w="12700" cmpd="sng">
                      <a:noFill/>
                      <a:prstDash val="solid"/>
                    </a:lnBlToTr>
                    <a:solidFill>
                      <a:schemeClr val="accent3"/>
                    </a:solidFill>
                  </a:tcPr>
                </a:tc>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mn-lt"/>
                          <a:ea typeface="Roboto" panose="02000000000000000000" pitchFamily="2" charset="0"/>
                        </a:rPr>
                        <a:t>Your Title</a:t>
                      </a:r>
                    </a:p>
                  </a:txBody>
                  <a:tcPr marL="45720" marR="45720" marT="22860" marB="22860" anchor="ctr">
                    <a:lnL>
                      <a:noFill/>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247812651"/>
                  </a:ext>
                </a:extLst>
              </a:tr>
              <a:tr h="673267">
                <a:tc>
                  <a:txBody>
                    <a:bodyPr/>
                    <a:lstStyle/>
                    <a:p>
                      <a:pPr marL="0" indent="0" algn="l" defTabSz="1087636" rtl="0" eaLnBrk="1" latinLnBrk="0" hangingPunct="1">
                        <a:lnSpc>
                          <a:spcPct val="100000"/>
                        </a:lnSpc>
                        <a:spcBef>
                          <a:spcPts val="0"/>
                        </a:spcBef>
                        <a:buFont typeface="Arial"/>
                        <a:buNone/>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6732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lang="en-US" sz="1200" b="0" kern="1200" dirty="0" err="1">
                          <a:solidFill>
                            <a:schemeClr val="tx1"/>
                          </a:solidFill>
                          <a:latin typeface="+mn-lt"/>
                          <a:ea typeface="Roboto Light" panose="02000000000000000000" pitchFamily="2" charset="0"/>
                        </a:rPr>
                        <a:t>xxxx</a:t>
                      </a:r>
                      <a:endParaRPr lang="en-US" sz="1200" b="0" kern="1200" dirty="0">
                        <a:solidFill>
                          <a:schemeClr val="tx1"/>
                        </a:solidFill>
                        <a:latin typeface="+mn-lt"/>
                        <a:ea typeface="Roboto Light" panose="02000000000000000000" pitchFamily="2" charset="0"/>
                      </a:endParaRPr>
                    </a:p>
                  </a:txBody>
                  <a:tcPr marL="45720" marR="45720" marT="22860" marB="22860" anchor="ctr">
                    <a:lnL w="38100" cap="flat" cmpd="sng" algn="ctr">
                      <a:no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dirty="0">
                        <a:latin typeface="+mn-lt"/>
                        <a:ea typeface="Roboto" panose="02000000000000000000" pitchFamily="2" charset="0"/>
                      </a:endParaRPr>
                    </a:p>
                  </a:txBody>
                  <a:tcPr marL="45720" marR="45720" marT="22860" marB="22860">
                    <a:lnL>
                      <a:noFill/>
                    </a:lnL>
                    <a:lnR w="381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bl>
          </a:graphicData>
        </a:graphic>
      </p:graphicFrame>
      <p:sp>
        <p:nvSpPr>
          <p:cNvPr id="12" name="Oval 7">
            <a:extLst>
              <a:ext uri="{FF2B5EF4-FFF2-40B4-BE49-F238E27FC236}">
                <a16:creationId xmlns:a16="http://schemas.microsoft.com/office/drawing/2014/main" id="{E27D69D2-E1A6-BE92-9F5E-A001783F382F}"/>
              </a:ext>
            </a:extLst>
          </p:cNvPr>
          <p:cNvSpPr/>
          <p:nvPr/>
        </p:nvSpPr>
        <p:spPr>
          <a:xfrm>
            <a:off x="5183188" y="198921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Pie 8">
            <a:extLst>
              <a:ext uri="{FF2B5EF4-FFF2-40B4-BE49-F238E27FC236}">
                <a16:creationId xmlns:a16="http://schemas.microsoft.com/office/drawing/2014/main" id="{A87F9301-ECF4-ECB5-1B1E-0FE85D9E8864}"/>
              </a:ext>
            </a:extLst>
          </p:cNvPr>
          <p:cNvSpPr/>
          <p:nvPr/>
        </p:nvSpPr>
        <p:spPr>
          <a:xfrm>
            <a:off x="5183188" y="1989214"/>
            <a:ext cx="483633" cy="475812"/>
          </a:xfrm>
          <a:prstGeom prst="pie">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9">
            <a:extLst>
              <a:ext uri="{FF2B5EF4-FFF2-40B4-BE49-F238E27FC236}">
                <a16:creationId xmlns:a16="http://schemas.microsoft.com/office/drawing/2014/main" id="{CFAB5C15-E3AC-26DC-F7ED-18F0F24F1CF5}"/>
              </a:ext>
            </a:extLst>
          </p:cNvPr>
          <p:cNvSpPr/>
          <p:nvPr/>
        </p:nvSpPr>
        <p:spPr>
          <a:xfrm>
            <a:off x="5183188" y="2655964"/>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Pie 10">
            <a:extLst>
              <a:ext uri="{FF2B5EF4-FFF2-40B4-BE49-F238E27FC236}">
                <a16:creationId xmlns:a16="http://schemas.microsoft.com/office/drawing/2014/main" id="{C3349C3E-9C7E-4C6D-27C0-670D18A950B4}"/>
              </a:ext>
            </a:extLst>
          </p:cNvPr>
          <p:cNvSpPr/>
          <p:nvPr/>
        </p:nvSpPr>
        <p:spPr>
          <a:xfrm>
            <a:off x="5183188" y="2655964"/>
            <a:ext cx="483633" cy="475812"/>
          </a:xfrm>
          <a:prstGeom prst="pie">
            <a:avLst>
              <a:gd name="adj1" fmla="val 5373011"/>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1">
            <a:extLst>
              <a:ext uri="{FF2B5EF4-FFF2-40B4-BE49-F238E27FC236}">
                <a16:creationId xmlns:a16="http://schemas.microsoft.com/office/drawing/2014/main" id="{C7D83A88-0DA4-AD8A-4730-1DAD9F465FCB}"/>
              </a:ext>
            </a:extLst>
          </p:cNvPr>
          <p:cNvSpPr/>
          <p:nvPr/>
        </p:nvSpPr>
        <p:spPr>
          <a:xfrm>
            <a:off x="5183188" y="3337398"/>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Pie 12">
            <a:extLst>
              <a:ext uri="{FF2B5EF4-FFF2-40B4-BE49-F238E27FC236}">
                <a16:creationId xmlns:a16="http://schemas.microsoft.com/office/drawing/2014/main" id="{4A748D93-1922-1403-5853-A72C49854D95}"/>
              </a:ext>
            </a:extLst>
          </p:cNvPr>
          <p:cNvSpPr/>
          <p:nvPr/>
        </p:nvSpPr>
        <p:spPr>
          <a:xfrm>
            <a:off x="5183188" y="3337398"/>
            <a:ext cx="483633" cy="475812"/>
          </a:xfrm>
          <a:prstGeom prst="pie">
            <a:avLst>
              <a:gd name="adj1" fmla="val 10692023"/>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3">
            <a:extLst>
              <a:ext uri="{FF2B5EF4-FFF2-40B4-BE49-F238E27FC236}">
                <a16:creationId xmlns:a16="http://schemas.microsoft.com/office/drawing/2014/main" id="{10E9048F-1F1C-7E39-B4DF-CF1A203C4378}"/>
              </a:ext>
            </a:extLst>
          </p:cNvPr>
          <p:cNvSpPr/>
          <p:nvPr/>
        </p:nvSpPr>
        <p:spPr>
          <a:xfrm>
            <a:off x="5183188" y="4003282"/>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Pie 14">
            <a:extLst>
              <a:ext uri="{FF2B5EF4-FFF2-40B4-BE49-F238E27FC236}">
                <a16:creationId xmlns:a16="http://schemas.microsoft.com/office/drawing/2014/main" id="{685ECCAA-F012-8B6B-9886-CD3EDA7199F0}"/>
              </a:ext>
            </a:extLst>
          </p:cNvPr>
          <p:cNvSpPr/>
          <p:nvPr/>
        </p:nvSpPr>
        <p:spPr>
          <a:xfrm>
            <a:off x="5183188" y="4003282"/>
            <a:ext cx="483633" cy="475812"/>
          </a:xfrm>
          <a:prstGeom prst="pie">
            <a:avLst>
              <a:gd name="adj1" fmla="val 16216965"/>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Oval 15">
            <a:extLst>
              <a:ext uri="{FF2B5EF4-FFF2-40B4-BE49-F238E27FC236}">
                <a16:creationId xmlns:a16="http://schemas.microsoft.com/office/drawing/2014/main" id="{1ED3DBCA-CF17-A667-F87E-DA2D68D87813}"/>
              </a:ext>
            </a:extLst>
          </p:cNvPr>
          <p:cNvSpPr/>
          <p:nvPr/>
        </p:nvSpPr>
        <p:spPr>
          <a:xfrm>
            <a:off x="5183188" y="4734975"/>
            <a:ext cx="483633" cy="47581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Pie 16">
            <a:extLst>
              <a:ext uri="{FF2B5EF4-FFF2-40B4-BE49-F238E27FC236}">
                <a16:creationId xmlns:a16="http://schemas.microsoft.com/office/drawing/2014/main" id="{BC4AE7D5-DC9A-9898-635E-80D6463B3D41}"/>
              </a:ext>
            </a:extLst>
          </p:cNvPr>
          <p:cNvSpPr/>
          <p:nvPr/>
        </p:nvSpPr>
        <p:spPr>
          <a:xfrm>
            <a:off x="5183188" y="4734975"/>
            <a:ext cx="483633" cy="475812"/>
          </a:xfrm>
          <a:prstGeom prst="pie">
            <a:avLst>
              <a:gd name="adj1" fmla="val 13508267"/>
              <a:gd name="adj2" fmla="val 16200000"/>
            </a:avLst>
          </a:prstGeom>
          <a:pattFill prst="zigZ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17">
            <a:extLst>
              <a:ext uri="{FF2B5EF4-FFF2-40B4-BE49-F238E27FC236}">
                <a16:creationId xmlns:a16="http://schemas.microsoft.com/office/drawing/2014/main" id="{93B8E6D9-8276-FDE1-1E71-E66770427FDD}"/>
              </a:ext>
            </a:extLst>
          </p:cNvPr>
          <p:cNvSpPr/>
          <p:nvPr/>
        </p:nvSpPr>
        <p:spPr>
          <a:xfrm>
            <a:off x="6993492" y="198921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Pie 18">
            <a:extLst>
              <a:ext uri="{FF2B5EF4-FFF2-40B4-BE49-F238E27FC236}">
                <a16:creationId xmlns:a16="http://schemas.microsoft.com/office/drawing/2014/main" id="{6CBE4EF5-8067-FA3D-C98C-61A7FAB35F3B}"/>
              </a:ext>
            </a:extLst>
          </p:cNvPr>
          <p:cNvSpPr/>
          <p:nvPr/>
        </p:nvSpPr>
        <p:spPr>
          <a:xfrm>
            <a:off x="6993492" y="1989214"/>
            <a:ext cx="483633" cy="475812"/>
          </a:xfrm>
          <a:prstGeom prst="pie">
            <a:avLst>
              <a:gd name="adj1" fmla="val 19627430"/>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19">
            <a:extLst>
              <a:ext uri="{FF2B5EF4-FFF2-40B4-BE49-F238E27FC236}">
                <a16:creationId xmlns:a16="http://schemas.microsoft.com/office/drawing/2014/main" id="{2EC8E5BA-682F-7313-07BE-0F10FEFBA293}"/>
              </a:ext>
            </a:extLst>
          </p:cNvPr>
          <p:cNvSpPr/>
          <p:nvPr/>
        </p:nvSpPr>
        <p:spPr>
          <a:xfrm>
            <a:off x="6993492" y="2655964"/>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5" name="Pie 20">
            <a:extLst>
              <a:ext uri="{FF2B5EF4-FFF2-40B4-BE49-F238E27FC236}">
                <a16:creationId xmlns:a16="http://schemas.microsoft.com/office/drawing/2014/main" id="{4510B60A-D757-8F6F-294E-6A9A8C285658}"/>
              </a:ext>
            </a:extLst>
          </p:cNvPr>
          <p:cNvSpPr/>
          <p:nvPr/>
        </p:nvSpPr>
        <p:spPr>
          <a:xfrm>
            <a:off x="6993492" y="2655964"/>
            <a:ext cx="483633" cy="475812"/>
          </a:xfrm>
          <a:prstGeom prst="pie">
            <a:avLst>
              <a:gd name="adj1" fmla="val 18473056"/>
              <a:gd name="adj2" fmla="val 312119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Oval 21">
            <a:extLst>
              <a:ext uri="{FF2B5EF4-FFF2-40B4-BE49-F238E27FC236}">
                <a16:creationId xmlns:a16="http://schemas.microsoft.com/office/drawing/2014/main" id="{9023FBAD-8EED-C875-4175-B7E41ABEB9F2}"/>
              </a:ext>
            </a:extLst>
          </p:cNvPr>
          <p:cNvSpPr/>
          <p:nvPr/>
        </p:nvSpPr>
        <p:spPr>
          <a:xfrm>
            <a:off x="6993492" y="3337398"/>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Pie 22">
            <a:extLst>
              <a:ext uri="{FF2B5EF4-FFF2-40B4-BE49-F238E27FC236}">
                <a16:creationId xmlns:a16="http://schemas.microsoft.com/office/drawing/2014/main" id="{0EEE9B3B-D4EA-CABB-970E-C25A3EF5BDE5}"/>
              </a:ext>
            </a:extLst>
          </p:cNvPr>
          <p:cNvSpPr/>
          <p:nvPr/>
        </p:nvSpPr>
        <p:spPr>
          <a:xfrm>
            <a:off x="6993492" y="3337398"/>
            <a:ext cx="483633" cy="475812"/>
          </a:xfrm>
          <a:prstGeom prst="pie">
            <a:avLst>
              <a:gd name="adj1" fmla="val 1290323"/>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3">
            <a:extLst>
              <a:ext uri="{FF2B5EF4-FFF2-40B4-BE49-F238E27FC236}">
                <a16:creationId xmlns:a16="http://schemas.microsoft.com/office/drawing/2014/main" id="{BACB931C-B270-E075-A29A-42D273EF327E}"/>
              </a:ext>
            </a:extLst>
          </p:cNvPr>
          <p:cNvSpPr/>
          <p:nvPr/>
        </p:nvSpPr>
        <p:spPr>
          <a:xfrm>
            <a:off x="6993492" y="4003282"/>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Pie 24">
            <a:extLst>
              <a:ext uri="{FF2B5EF4-FFF2-40B4-BE49-F238E27FC236}">
                <a16:creationId xmlns:a16="http://schemas.microsoft.com/office/drawing/2014/main" id="{3B1B0EAB-C934-811A-66D3-6D93322CA1EE}"/>
              </a:ext>
            </a:extLst>
          </p:cNvPr>
          <p:cNvSpPr/>
          <p:nvPr/>
        </p:nvSpPr>
        <p:spPr>
          <a:xfrm>
            <a:off x="6993492" y="4003282"/>
            <a:ext cx="483633" cy="475812"/>
          </a:xfrm>
          <a:prstGeom prst="pie">
            <a:avLst>
              <a:gd name="adj1" fmla="val 16216965"/>
              <a:gd name="adj2" fmla="val 20988405"/>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Oval 25">
            <a:extLst>
              <a:ext uri="{FF2B5EF4-FFF2-40B4-BE49-F238E27FC236}">
                <a16:creationId xmlns:a16="http://schemas.microsoft.com/office/drawing/2014/main" id="{B7AB8194-0D84-F155-E3A7-A3ABF05E6D07}"/>
              </a:ext>
            </a:extLst>
          </p:cNvPr>
          <p:cNvSpPr/>
          <p:nvPr/>
        </p:nvSpPr>
        <p:spPr>
          <a:xfrm>
            <a:off x="6993492" y="4734975"/>
            <a:ext cx="483633" cy="4758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Pie 26">
            <a:extLst>
              <a:ext uri="{FF2B5EF4-FFF2-40B4-BE49-F238E27FC236}">
                <a16:creationId xmlns:a16="http://schemas.microsoft.com/office/drawing/2014/main" id="{B888300B-6778-456D-AB31-82A02D0FAB93}"/>
              </a:ext>
            </a:extLst>
          </p:cNvPr>
          <p:cNvSpPr/>
          <p:nvPr/>
        </p:nvSpPr>
        <p:spPr>
          <a:xfrm>
            <a:off x="6993492" y="4734975"/>
            <a:ext cx="483633" cy="475812"/>
          </a:xfrm>
          <a:prstGeom prst="pie">
            <a:avLst>
              <a:gd name="adj1" fmla="val 16778425"/>
              <a:gd name="adj2" fmla="val 16200000"/>
            </a:avLst>
          </a:prstGeom>
          <a:pattFill prst="zigZag">
            <a:fgClr>
              <a:schemeClr val="accent2"/>
            </a:fgClr>
            <a:bgClr>
              <a:schemeClr val="accent2">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Oval 27">
            <a:extLst>
              <a:ext uri="{FF2B5EF4-FFF2-40B4-BE49-F238E27FC236}">
                <a16:creationId xmlns:a16="http://schemas.microsoft.com/office/drawing/2014/main" id="{3EE94E30-2981-435F-6318-92B677D740EB}"/>
              </a:ext>
            </a:extLst>
          </p:cNvPr>
          <p:cNvSpPr/>
          <p:nvPr/>
        </p:nvSpPr>
        <p:spPr>
          <a:xfrm>
            <a:off x="8795119" y="198921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Pie 28">
            <a:extLst>
              <a:ext uri="{FF2B5EF4-FFF2-40B4-BE49-F238E27FC236}">
                <a16:creationId xmlns:a16="http://schemas.microsoft.com/office/drawing/2014/main" id="{4365AB1B-24E3-26D9-5151-D05E58D6B736}"/>
              </a:ext>
            </a:extLst>
          </p:cNvPr>
          <p:cNvSpPr/>
          <p:nvPr/>
        </p:nvSpPr>
        <p:spPr>
          <a:xfrm>
            <a:off x="8795119" y="1989214"/>
            <a:ext cx="483633" cy="475812"/>
          </a:xfrm>
          <a:prstGeom prst="pie">
            <a:avLst>
              <a:gd name="adj1" fmla="val 14734418"/>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Oval 29">
            <a:extLst>
              <a:ext uri="{FF2B5EF4-FFF2-40B4-BE49-F238E27FC236}">
                <a16:creationId xmlns:a16="http://schemas.microsoft.com/office/drawing/2014/main" id="{18A9C01A-D19C-8ACD-C603-FB031CFB3AB2}"/>
              </a:ext>
            </a:extLst>
          </p:cNvPr>
          <p:cNvSpPr/>
          <p:nvPr/>
        </p:nvSpPr>
        <p:spPr>
          <a:xfrm>
            <a:off x="8795119" y="2655964"/>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5" name="Pie 30">
            <a:extLst>
              <a:ext uri="{FF2B5EF4-FFF2-40B4-BE49-F238E27FC236}">
                <a16:creationId xmlns:a16="http://schemas.microsoft.com/office/drawing/2014/main" id="{729CF43C-9418-7638-2BEC-79C00504BFEB}"/>
              </a:ext>
            </a:extLst>
          </p:cNvPr>
          <p:cNvSpPr/>
          <p:nvPr/>
        </p:nvSpPr>
        <p:spPr>
          <a:xfrm>
            <a:off x="8795119" y="2655964"/>
            <a:ext cx="483633" cy="475812"/>
          </a:xfrm>
          <a:prstGeom prst="pie">
            <a:avLst>
              <a:gd name="adj1" fmla="val 18473056"/>
              <a:gd name="adj2" fmla="val 99252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Oval 31">
            <a:extLst>
              <a:ext uri="{FF2B5EF4-FFF2-40B4-BE49-F238E27FC236}">
                <a16:creationId xmlns:a16="http://schemas.microsoft.com/office/drawing/2014/main" id="{F4C6ED8E-037D-05DF-0D9C-C57DFF7FFD51}"/>
              </a:ext>
            </a:extLst>
          </p:cNvPr>
          <p:cNvSpPr/>
          <p:nvPr/>
        </p:nvSpPr>
        <p:spPr>
          <a:xfrm>
            <a:off x="8795119" y="3337398"/>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Pie 32">
            <a:extLst>
              <a:ext uri="{FF2B5EF4-FFF2-40B4-BE49-F238E27FC236}">
                <a16:creationId xmlns:a16="http://schemas.microsoft.com/office/drawing/2014/main" id="{2DF1F661-B3E5-6E00-A1D1-863AA081C67C}"/>
              </a:ext>
            </a:extLst>
          </p:cNvPr>
          <p:cNvSpPr/>
          <p:nvPr/>
        </p:nvSpPr>
        <p:spPr>
          <a:xfrm>
            <a:off x="8795119" y="3337398"/>
            <a:ext cx="483633" cy="475812"/>
          </a:xfrm>
          <a:prstGeom prst="pie">
            <a:avLst>
              <a:gd name="adj1" fmla="val 18574662"/>
              <a:gd name="adj2" fmla="val 16200000"/>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8" name="Oval 33">
            <a:extLst>
              <a:ext uri="{FF2B5EF4-FFF2-40B4-BE49-F238E27FC236}">
                <a16:creationId xmlns:a16="http://schemas.microsoft.com/office/drawing/2014/main" id="{56F148BD-A01C-3B64-3FBE-2BEE557BBBE4}"/>
              </a:ext>
            </a:extLst>
          </p:cNvPr>
          <p:cNvSpPr/>
          <p:nvPr/>
        </p:nvSpPr>
        <p:spPr>
          <a:xfrm>
            <a:off x="8795119" y="4003282"/>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Pie 34">
            <a:extLst>
              <a:ext uri="{FF2B5EF4-FFF2-40B4-BE49-F238E27FC236}">
                <a16:creationId xmlns:a16="http://schemas.microsoft.com/office/drawing/2014/main" id="{C4904CC0-D9B8-CCA9-8D2F-5F7DDACF5A95}"/>
              </a:ext>
            </a:extLst>
          </p:cNvPr>
          <p:cNvSpPr/>
          <p:nvPr/>
        </p:nvSpPr>
        <p:spPr>
          <a:xfrm>
            <a:off x="8795119" y="4003282"/>
            <a:ext cx="483633" cy="475812"/>
          </a:xfrm>
          <a:prstGeom prst="pie">
            <a:avLst>
              <a:gd name="adj1" fmla="val 16216965"/>
              <a:gd name="adj2" fmla="val 5436963"/>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Oval 35">
            <a:extLst>
              <a:ext uri="{FF2B5EF4-FFF2-40B4-BE49-F238E27FC236}">
                <a16:creationId xmlns:a16="http://schemas.microsoft.com/office/drawing/2014/main" id="{E645853C-4444-13FD-9DFE-B1D3EC977FA2}"/>
              </a:ext>
            </a:extLst>
          </p:cNvPr>
          <p:cNvSpPr/>
          <p:nvPr/>
        </p:nvSpPr>
        <p:spPr>
          <a:xfrm>
            <a:off x="8795119" y="4734975"/>
            <a:ext cx="483633" cy="4758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Pie 36">
            <a:extLst>
              <a:ext uri="{FF2B5EF4-FFF2-40B4-BE49-F238E27FC236}">
                <a16:creationId xmlns:a16="http://schemas.microsoft.com/office/drawing/2014/main" id="{E1C10BBF-D894-F992-B857-9378E395E5FF}"/>
              </a:ext>
            </a:extLst>
          </p:cNvPr>
          <p:cNvSpPr/>
          <p:nvPr/>
        </p:nvSpPr>
        <p:spPr>
          <a:xfrm>
            <a:off x="8795119" y="4734975"/>
            <a:ext cx="483633" cy="475812"/>
          </a:xfrm>
          <a:prstGeom prst="pie">
            <a:avLst>
              <a:gd name="adj1" fmla="val 16778425"/>
              <a:gd name="adj2" fmla="val 1626574"/>
            </a:avLst>
          </a:prstGeom>
          <a:pattFill prst="zigZag">
            <a:fgClr>
              <a:schemeClr val="accent3"/>
            </a:fgClr>
            <a:bgClr>
              <a:schemeClr val="accent3">
                <a:lumMod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Oval 37">
            <a:extLst>
              <a:ext uri="{FF2B5EF4-FFF2-40B4-BE49-F238E27FC236}">
                <a16:creationId xmlns:a16="http://schemas.microsoft.com/office/drawing/2014/main" id="{6CD1D797-0E62-27AD-5852-96082BE07C8C}"/>
              </a:ext>
            </a:extLst>
          </p:cNvPr>
          <p:cNvSpPr/>
          <p:nvPr/>
        </p:nvSpPr>
        <p:spPr>
          <a:xfrm>
            <a:off x="10667734" y="198921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Pie 38">
            <a:extLst>
              <a:ext uri="{FF2B5EF4-FFF2-40B4-BE49-F238E27FC236}">
                <a16:creationId xmlns:a16="http://schemas.microsoft.com/office/drawing/2014/main" id="{7312D46D-4037-B37C-9C21-C3EC1F4E3DA1}"/>
              </a:ext>
            </a:extLst>
          </p:cNvPr>
          <p:cNvSpPr/>
          <p:nvPr/>
        </p:nvSpPr>
        <p:spPr>
          <a:xfrm>
            <a:off x="10667734" y="1989214"/>
            <a:ext cx="483633" cy="475812"/>
          </a:xfrm>
          <a:prstGeom prst="pie">
            <a:avLst>
              <a:gd name="adj1" fmla="val 18693"/>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Oval 39">
            <a:extLst>
              <a:ext uri="{FF2B5EF4-FFF2-40B4-BE49-F238E27FC236}">
                <a16:creationId xmlns:a16="http://schemas.microsoft.com/office/drawing/2014/main" id="{5F7735A7-D9A8-617E-2A21-794482037592}"/>
              </a:ext>
            </a:extLst>
          </p:cNvPr>
          <p:cNvSpPr/>
          <p:nvPr/>
        </p:nvSpPr>
        <p:spPr>
          <a:xfrm>
            <a:off x="10667734" y="2655964"/>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Pie 40">
            <a:extLst>
              <a:ext uri="{FF2B5EF4-FFF2-40B4-BE49-F238E27FC236}">
                <a16:creationId xmlns:a16="http://schemas.microsoft.com/office/drawing/2014/main" id="{9EE32CBE-7B04-82C6-E6FF-007C80A7C569}"/>
              </a:ext>
            </a:extLst>
          </p:cNvPr>
          <p:cNvSpPr/>
          <p:nvPr/>
        </p:nvSpPr>
        <p:spPr>
          <a:xfrm>
            <a:off x="10667734" y="2655964"/>
            <a:ext cx="483633" cy="475812"/>
          </a:xfrm>
          <a:prstGeom prst="pie">
            <a:avLst>
              <a:gd name="adj1" fmla="val 16243695"/>
              <a:gd name="adj2" fmla="val 835432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6" name="Oval 41">
            <a:extLst>
              <a:ext uri="{FF2B5EF4-FFF2-40B4-BE49-F238E27FC236}">
                <a16:creationId xmlns:a16="http://schemas.microsoft.com/office/drawing/2014/main" id="{54E4744E-23E9-F153-98CE-BA3E10AB9B29}"/>
              </a:ext>
            </a:extLst>
          </p:cNvPr>
          <p:cNvSpPr/>
          <p:nvPr/>
        </p:nvSpPr>
        <p:spPr>
          <a:xfrm>
            <a:off x="10667734" y="3337398"/>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7" name="Pie 42">
            <a:extLst>
              <a:ext uri="{FF2B5EF4-FFF2-40B4-BE49-F238E27FC236}">
                <a16:creationId xmlns:a16="http://schemas.microsoft.com/office/drawing/2014/main" id="{58973053-3797-7624-0182-FE8127B43A4C}"/>
              </a:ext>
            </a:extLst>
          </p:cNvPr>
          <p:cNvSpPr/>
          <p:nvPr/>
        </p:nvSpPr>
        <p:spPr>
          <a:xfrm>
            <a:off x="10667734" y="3337398"/>
            <a:ext cx="483633" cy="475812"/>
          </a:xfrm>
          <a:prstGeom prst="pie">
            <a:avLst>
              <a:gd name="adj1" fmla="val 12085007"/>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Oval 43">
            <a:extLst>
              <a:ext uri="{FF2B5EF4-FFF2-40B4-BE49-F238E27FC236}">
                <a16:creationId xmlns:a16="http://schemas.microsoft.com/office/drawing/2014/main" id="{8C85C395-DB7C-A859-A644-8EC69277E05C}"/>
              </a:ext>
            </a:extLst>
          </p:cNvPr>
          <p:cNvSpPr/>
          <p:nvPr/>
        </p:nvSpPr>
        <p:spPr>
          <a:xfrm>
            <a:off x="10667734" y="4003282"/>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Pie 44">
            <a:extLst>
              <a:ext uri="{FF2B5EF4-FFF2-40B4-BE49-F238E27FC236}">
                <a16:creationId xmlns:a16="http://schemas.microsoft.com/office/drawing/2014/main" id="{A4DEEFBD-ED5A-8CA6-7B9F-05C4291D53A1}"/>
              </a:ext>
            </a:extLst>
          </p:cNvPr>
          <p:cNvSpPr/>
          <p:nvPr/>
        </p:nvSpPr>
        <p:spPr>
          <a:xfrm>
            <a:off x="10667734" y="4003282"/>
            <a:ext cx="483633" cy="475812"/>
          </a:xfrm>
          <a:prstGeom prst="pie">
            <a:avLst>
              <a:gd name="adj1" fmla="val 16216965"/>
              <a:gd name="adj2" fmla="val 16216941"/>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Oval 45">
            <a:extLst>
              <a:ext uri="{FF2B5EF4-FFF2-40B4-BE49-F238E27FC236}">
                <a16:creationId xmlns:a16="http://schemas.microsoft.com/office/drawing/2014/main" id="{BFB06B63-EE8D-A80E-B129-9A1A26D494F3}"/>
              </a:ext>
            </a:extLst>
          </p:cNvPr>
          <p:cNvSpPr/>
          <p:nvPr/>
        </p:nvSpPr>
        <p:spPr>
          <a:xfrm>
            <a:off x="10667734" y="4734975"/>
            <a:ext cx="483633" cy="4758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1" name="Pie 46">
            <a:extLst>
              <a:ext uri="{FF2B5EF4-FFF2-40B4-BE49-F238E27FC236}">
                <a16:creationId xmlns:a16="http://schemas.microsoft.com/office/drawing/2014/main" id="{98453E3D-E005-D3CE-ACB6-2ACFE15DA67B}"/>
              </a:ext>
            </a:extLst>
          </p:cNvPr>
          <p:cNvSpPr/>
          <p:nvPr/>
        </p:nvSpPr>
        <p:spPr>
          <a:xfrm>
            <a:off x="10667734" y="4734975"/>
            <a:ext cx="483633" cy="475812"/>
          </a:xfrm>
          <a:prstGeom prst="pie">
            <a:avLst>
              <a:gd name="adj1" fmla="val 18391448"/>
              <a:gd name="adj2" fmla="val 16200000"/>
            </a:avLst>
          </a:prstGeom>
          <a:pattFill prst="zigZag">
            <a:fgClr>
              <a:schemeClr val="accent4"/>
            </a:fgClr>
            <a:bgClr>
              <a:schemeClr val="accent4">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3" name="Text Placeholder 6">
            <a:extLst>
              <a:ext uri="{FF2B5EF4-FFF2-40B4-BE49-F238E27FC236}">
                <a16:creationId xmlns:a16="http://schemas.microsoft.com/office/drawing/2014/main" id="{0DEE824A-ECCE-7DF5-0600-4128AF909E79}"/>
              </a:ext>
            </a:extLst>
          </p:cNvPr>
          <p:cNvSpPr txBox="1">
            <a:spLocks/>
          </p:cNvSpPr>
          <p:nvPr/>
        </p:nvSpPr>
        <p:spPr>
          <a:xfrm>
            <a:off x="371474" y="5505705"/>
            <a:ext cx="11449051" cy="803019"/>
          </a:xfrm>
          <a:prstGeom prst="rect">
            <a:avLst/>
          </a:prstGeom>
          <a:solidFill>
            <a:schemeClr val="bg1"/>
          </a:solidFill>
          <a:ln>
            <a:solidFill>
              <a:schemeClr val="tx2"/>
            </a:solidFill>
          </a:ln>
          <a:effectLst/>
        </p:spPr>
        <p:txBody>
          <a:bodyPr lIns="144000" tIns="72000" rIns="108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CE9AC356-EE25-475B-8674-96349846AFB1}"/>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1CEFD768-1F42-D3B9-811F-95AD34B4EC1A}"/>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35885078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B8681D-D946-39D3-589C-115DBDC11EDA}"/>
              </a:ext>
            </a:extLst>
          </p:cNvPr>
          <p:cNvGraphicFramePr>
            <a:graphicFrameLocks noChangeAspect="1"/>
          </p:cNvGraphicFramePr>
          <p:nvPr>
            <p:custDataLst>
              <p:tags r:id="rId1"/>
            </p:custDataLst>
            <p:extLst>
              <p:ext uri="{D42A27DB-BD31-4B8C-83A1-F6EECF244321}">
                <p14:modId xmlns:p14="http://schemas.microsoft.com/office/powerpoint/2010/main" val="4191013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B8681D-D946-39D3-589C-115DBDC11E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33" name="Rectangle 5">
            <a:extLst>
              <a:ext uri="{FF2B5EF4-FFF2-40B4-BE49-F238E27FC236}">
                <a16:creationId xmlns:a16="http://schemas.microsoft.com/office/drawing/2014/main" id="{42DF3400-348A-E39A-5C91-203443198FDB}"/>
              </a:ext>
            </a:extLst>
          </p:cNvPr>
          <p:cNvSpPr/>
          <p:nvPr/>
        </p:nvSpPr>
        <p:spPr>
          <a:xfrm>
            <a:off x="9084673" y="1520825"/>
            <a:ext cx="2735851" cy="4787900"/>
          </a:xfrm>
          <a:prstGeom prst="rect">
            <a:avLst/>
          </a:prstGeom>
          <a:solidFill>
            <a:schemeClr val="bg1">
              <a:lumMod val="95000"/>
            </a:schemeClr>
          </a:solidFill>
          <a:effectLst/>
        </p:spPr>
        <p:txBody>
          <a:bodyPr lIns="108000" tIns="72000" rIns="72000" bIns="72000" anchor="ctr"/>
          <a:lstStyle/>
          <a:p>
            <a:pPr defTabSz="1087636"/>
            <a:endParaRPr lang="en-US" sz="1200" dirty="0">
              <a:solidFill>
                <a:schemeClr val="tx1"/>
              </a:solidFill>
            </a:endParaRPr>
          </a:p>
        </p:txBody>
      </p:sp>
      <p:sp>
        <p:nvSpPr>
          <p:cNvPr id="8" name="Marcador de texto 7">
            <a:extLst>
              <a:ext uri="{FF2B5EF4-FFF2-40B4-BE49-F238E27FC236}">
                <a16:creationId xmlns:a16="http://schemas.microsoft.com/office/drawing/2014/main" id="{7057DC37-B710-EDC0-5689-E529E1657A81}"/>
              </a:ext>
            </a:extLst>
          </p:cNvPr>
          <p:cNvSpPr>
            <a:spLocks noGrp="1"/>
          </p:cNvSpPr>
          <p:nvPr>
            <p:ph type="body" sz="quarter" idx="14"/>
          </p:nvPr>
        </p:nvSpPr>
        <p:spPr/>
        <p:txBody>
          <a:bodyPr/>
          <a:lstStyle/>
          <a:p>
            <a:r>
              <a:rPr lang="en-US" dirty="0"/>
              <a:t>Subtitle</a:t>
            </a:r>
          </a:p>
        </p:txBody>
      </p:sp>
      <p:grpSp>
        <p:nvGrpSpPr>
          <p:cNvPr id="9" name="Group 434">
            <a:extLst>
              <a:ext uri="{FF2B5EF4-FFF2-40B4-BE49-F238E27FC236}">
                <a16:creationId xmlns:a16="http://schemas.microsoft.com/office/drawing/2014/main" id="{9346BD7B-6263-5D5C-4C13-21C9A63CE898}"/>
              </a:ext>
            </a:extLst>
          </p:cNvPr>
          <p:cNvGrpSpPr/>
          <p:nvPr/>
        </p:nvGrpSpPr>
        <p:grpSpPr>
          <a:xfrm>
            <a:off x="504409" y="1628700"/>
            <a:ext cx="8459032" cy="4427002"/>
            <a:chOff x="3843499" y="3719582"/>
            <a:chExt cx="16665619" cy="8244192"/>
          </a:xfrm>
          <a:solidFill>
            <a:schemeClr val="bg1">
              <a:lumMod val="85000"/>
            </a:schemeClr>
          </a:solidFill>
        </p:grpSpPr>
        <p:sp>
          <p:nvSpPr>
            <p:cNvPr id="10" name="Freeform 781">
              <a:extLst>
                <a:ext uri="{FF2B5EF4-FFF2-40B4-BE49-F238E27FC236}">
                  <a16:creationId xmlns:a16="http://schemas.microsoft.com/office/drawing/2014/main" id="{DE84336D-6EE7-4EF7-8D7F-63D630E503A9}"/>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 name="Freeform 403">
              <a:extLst>
                <a:ext uri="{FF2B5EF4-FFF2-40B4-BE49-F238E27FC236}">
                  <a16:creationId xmlns:a16="http://schemas.microsoft.com/office/drawing/2014/main" id="{31B659C5-70B8-D291-B4EA-E2B2D60648B2}"/>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 name="Freeform 404">
              <a:extLst>
                <a:ext uri="{FF2B5EF4-FFF2-40B4-BE49-F238E27FC236}">
                  <a16:creationId xmlns:a16="http://schemas.microsoft.com/office/drawing/2014/main" id="{80784B35-D2F9-9739-1445-B246511823B6}"/>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 name="Freeform 405">
              <a:extLst>
                <a:ext uri="{FF2B5EF4-FFF2-40B4-BE49-F238E27FC236}">
                  <a16:creationId xmlns:a16="http://schemas.microsoft.com/office/drawing/2014/main" id="{F248F951-AFEA-A29C-25A7-E59C75CE6396}"/>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 name="Freeform 406">
              <a:extLst>
                <a:ext uri="{FF2B5EF4-FFF2-40B4-BE49-F238E27FC236}">
                  <a16:creationId xmlns:a16="http://schemas.microsoft.com/office/drawing/2014/main" id="{F8113ECE-5650-C6CE-C01F-28D7DE5A0B8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 name="Freeform 407">
              <a:extLst>
                <a:ext uri="{FF2B5EF4-FFF2-40B4-BE49-F238E27FC236}">
                  <a16:creationId xmlns:a16="http://schemas.microsoft.com/office/drawing/2014/main" id="{F18134AE-79ED-1F91-D41C-6D847C0D3125}"/>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 name="Freeform 408">
              <a:extLst>
                <a:ext uri="{FF2B5EF4-FFF2-40B4-BE49-F238E27FC236}">
                  <a16:creationId xmlns:a16="http://schemas.microsoft.com/office/drawing/2014/main" id="{AC30D2F3-F45D-BCC9-4C7E-8134868F988B}"/>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 name="Freeform 409">
              <a:extLst>
                <a:ext uri="{FF2B5EF4-FFF2-40B4-BE49-F238E27FC236}">
                  <a16:creationId xmlns:a16="http://schemas.microsoft.com/office/drawing/2014/main" id="{86037636-102C-69E6-A754-48148F2C5407}"/>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 name="Freeform 410">
              <a:extLst>
                <a:ext uri="{FF2B5EF4-FFF2-40B4-BE49-F238E27FC236}">
                  <a16:creationId xmlns:a16="http://schemas.microsoft.com/office/drawing/2014/main" id="{2D1C911C-24EA-B24A-8C89-C08DAA1FFB9B}"/>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 name="Freeform 411">
              <a:extLst>
                <a:ext uri="{FF2B5EF4-FFF2-40B4-BE49-F238E27FC236}">
                  <a16:creationId xmlns:a16="http://schemas.microsoft.com/office/drawing/2014/main" id="{330B51A4-57DA-5A4F-F94D-59A72E8356F4}"/>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 name="Freeform 412">
              <a:extLst>
                <a:ext uri="{FF2B5EF4-FFF2-40B4-BE49-F238E27FC236}">
                  <a16:creationId xmlns:a16="http://schemas.microsoft.com/office/drawing/2014/main" id="{B6C0227B-7C1F-4B51-75C1-40829E93E51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 name="Freeform 413">
              <a:extLst>
                <a:ext uri="{FF2B5EF4-FFF2-40B4-BE49-F238E27FC236}">
                  <a16:creationId xmlns:a16="http://schemas.microsoft.com/office/drawing/2014/main" id="{325E1822-B3EA-3073-BC88-28D07060D391}"/>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 name="Freeform 414">
              <a:extLst>
                <a:ext uri="{FF2B5EF4-FFF2-40B4-BE49-F238E27FC236}">
                  <a16:creationId xmlns:a16="http://schemas.microsoft.com/office/drawing/2014/main" id="{6ABAE6B9-1CC5-FE41-2EB9-2AEC5F8C014A}"/>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 name="Freeform 415">
              <a:extLst>
                <a:ext uri="{FF2B5EF4-FFF2-40B4-BE49-F238E27FC236}">
                  <a16:creationId xmlns:a16="http://schemas.microsoft.com/office/drawing/2014/main" id="{AE415092-08E5-DCC3-DBDB-D8D32EDD56C9}"/>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 name="Freeform 416">
              <a:extLst>
                <a:ext uri="{FF2B5EF4-FFF2-40B4-BE49-F238E27FC236}">
                  <a16:creationId xmlns:a16="http://schemas.microsoft.com/office/drawing/2014/main" id="{0C717BF3-7B72-DBE7-9914-E6175C6705A2}"/>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 name="Freeform 417">
              <a:extLst>
                <a:ext uri="{FF2B5EF4-FFF2-40B4-BE49-F238E27FC236}">
                  <a16:creationId xmlns:a16="http://schemas.microsoft.com/office/drawing/2014/main" id="{87DC67BB-D2CD-C24A-0A12-430000CB856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 name="Freeform 418">
              <a:extLst>
                <a:ext uri="{FF2B5EF4-FFF2-40B4-BE49-F238E27FC236}">
                  <a16:creationId xmlns:a16="http://schemas.microsoft.com/office/drawing/2014/main" id="{7E514755-03C8-9FAA-1419-6EE5738274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 name="Freeform 419">
              <a:extLst>
                <a:ext uri="{FF2B5EF4-FFF2-40B4-BE49-F238E27FC236}">
                  <a16:creationId xmlns:a16="http://schemas.microsoft.com/office/drawing/2014/main" id="{D4A6004F-08CE-1EFA-B879-11D28E4CA07E}"/>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 name="Freeform 420">
              <a:extLst>
                <a:ext uri="{FF2B5EF4-FFF2-40B4-BE49-F238E27FC236}">
                  <a16:creationId xmlns:a16="http://schemas.microsoft.com/office/drawing/2014/main" id="{A49927D8-1CEC-2384-9762-4214D46A104D}"/>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 name="Freeform 421">
              <a:extLst>
                <a:ext uri="{FF2B5EF4-FFF2-40B4-BE49-F238E27FC236}">
                  <a16:creationId xmlns:a16="http://schemas.microsoft.com/office/drawing/2014/main" id="{5C433E5F-BE8F-439B-C791-1B7013413E9F}"/>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 name="Freeform 422">
              <a:extLst>
                <a:ext uri="{FF2B5EF4-FFF2-40B4-BE49-F238E27FC236}">
                  <a16:creationId xmlns:a16="http://schemas.microsoft.com/office/drawing/2014/main" id="{A6EEA0E5-B34D-2AA7-0D95-0C8D68A1BB39}"/>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 name="Freeform 423">
              <a:extLst>
                <a:ext uri="{FF2B5EF4-FFF2-40B4-BE49-F238E27FC236}">
                  <a16:creationId xmlns:a16="http://schemas.microsoft.com/office/drawing/2014/main" id="{5C949C4E-BF35-57F8-9A44-A5F5EE1D747C}"/>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 name="Freeform 424">
              <a:extLst>
                <a:ext uri="{FF2B5EF4-FFF2-40B4-BE49-F238E27FC236}">
                  <a16:creationId xmlns:a16="http://schemas.microsoft.com/office/drawing/2014/main" id="{2D06EA24-C049-CBF3-058E-3BF89C9F63F7}"/>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 name="Freeform 425">
              <a:extLst>
                <a:ext uri="{FF2B5EF4-FFF2-40B4-BE49-F238E27FC236}">
                  <a16:creationId xmlns:a16="http://schemas.microsoft.com/office/drawing/2014/main" id="{9612D60E-D5DB-9750-A3A3-C7965EF80AE8}"/>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 name="Freeform 426">
              <a:extLst>
                <a:ext uri="{FF2B5EF4-FFF2-40B4-BE49-F238E27FC236}">
                  <a16:creationId xmlns:a16="http://schemas.microsoft.com/office/drawing/2014/main" id="{B32DE19B-D170-155B-A92D-65B2810DF3B2}"/>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 name="Freeform 427">
              <a:extLst>
                <a:ext uri="{FF2B5EF4-FFF2-40B4-BE49-F238E27FC236}">
                  <a16:creationId xmlns:a16="http://schemas.microsoft.com/office/drawing/2014/main" id="{8E62DF98-E69A-D493-D0CE-3E1F074E3ACF}"/>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 name="Freeform 428">
              <a:extLst>
                <a:ext uri="{FF2B5EF4-FFF2-40B4-BE49-F238E27FC236}">
                  <a16:creationId xmlns:a16="http://schemas.microsoft.com/office/drawing/2014/main" id="{2F33C28C-1EC7-49E7-5EF2-F9619588FF7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 name="Freeform 429">
              <a:extLst>
                <a:ext uri="{FF2B5EF4-FFF2-40B4-BE49-F238E27FC236}">
                  <a16:creationId xmlns:a16="http://schemas.microsoft.com/office/drawing/2014/main" id="{43C8F0B6-125F-077B-48A0-542D5092D342}"/>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nvGrpSpPr>
            <p:cNvPr id="38" name="Group 463">
              <a:extLst>
                <a:ext uri="{FF2B5EF4-FFF2-40B4-BE49-F238E27FC236}">
                  <a16:creationId xmlns:a16="http://schemas.microsoft.com/office/drawing/2014/main" id="{4A4F131D-827B-BC64-3DC6-38A71FCAE6E3}"/>
                </a:ext>
              </a:extLst>
            </p:cNvPr>
            <p:cNvGrpSpPr/>
            <p:nvPr/>
          </p:nvGrpSpPr>
          <p:grpSpPr>
            <a:xfrm>
              <a:off x="17709756" y="6761778"/>
              <a:ext cx="697449" cy="662593"/>
              <a:chOff x="5961121" y="2686387"/>
              <a:chExt cx="288233" cy="273757"/>
            </a:xfrm>
            <a:grpFill/>
          </p:grpSpPr>
          <p:sp>
            <p:nvSpPr>
              <p:cNvPr id="403" name="Freeform 430">
                <a:extLst>
                  <a:ext uri="{FF2B5EF4-FFF2-40B4-BE49-F238E27FC236}">
                    <a16:creationId xmlns:a16="http://schemas.microsoft.com/office/drawing/2014/main" id="{35DA95C3-979C-F6B3-509F-E129CC8AA8B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4" name="Freeform 431">
                <a:extLst>
                  <a:ext uri="{FF2B5EF4-FFF2-40B4-BE49-F238E27FC236}">
                    <a16:creationId xmlns:a16="http://schemas.microsoft.com/office/drawing/2014/main" id="{C11CBB1A-8BFE-BA73-00B8-0DE1AA0250D1}"/>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39" name="Freeform 432">
              <a:extLst>
                <a:ext uri="{FF2B5EF4-FFF2-40B4-BE49-F238E27FC236}">
                  <a16:creationId xmlns:a16="http://schemas.microsoft.com/office/drawing/2014/main" id="{9DC30F8B-1622-5344-259F-9E64A5DEAE91}"/>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 name="Freeform 433">
              <a:extLst>
                <a:ext uri="{FF2B5EF4-FFF2-40B4-BE49-F238E27FC236}">
                  <a16:creationId xmlns:a16="http://schemas.microsoft.com/office/drawing/2014/main" id="{E5823BD8-686B-A93F-23A3-B8E742BCEDD6}"/>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1" name="Freeform 434">
              <a:extLst>
                <a:ext uri="{FF2B5EF4-FFF2-40B4-BE49-F238E27FC236}">
                  <a16:creationId xmlns:a16="http://schemas.microsoft.com/office/drawing/2014/main" id="{6F056D58-6354-0738-9BB9-8726AFDDB9A0}"/>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2" name="Freeform 435">
              <a:extLst>
                <a:ext uri="{FF2B5EF4-FFF2-40B4-BE49-F238E27FC236}">
                  <a16:creationId xmlns:a16="http://schemas.microsoft.com/office/drawing/2014/main" id="{D5EF729E-83C1-71D9-9EE8-10BC2132765F}"/>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3" name="Freeform 436">
              <a:extLst>
                <a:ext uri="{FF2B5EF4-FFF2-40B4-BE49-F238E27FC236}">
                  <a16:creationId xmlns:a16="http://schemas.microsoft.com/office/drawing/2014/main" id="{4D8B6938-9492-6B99-4DB7-DFA25BA1882D}"/>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4" name="Freeform 437">
              <a:extLst>
                <a:ext uri="{FF2B5EF4-FFF2-40B4-BE49-F238E27FC236}">
                  <a16:creationId xmlns:a16="http://schemas.microsoft.com/office/drawing/2014/main" id="{EE90D9D5-3FFC-DCDF-C298-AC748AC5394E}"/>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5" name="Freeform 438">
              <a:extLst>
                <a:ext uri="{FF2B5EF4-FFF2-40B4-BE49-F238E27FC236}">
                  <a16:creationId xmlns:a16="http://schemas.microsoft.com/office/drawing/2014/main" id="{CA39C297-E136-F5F1-41D3-7AF33F040CE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6" name="Freeform 439">
              <a:extLst>
                <a:ext uri="{FF2B5EF4-FFF2-40B4-BE49-F238E27FC236}">
                  <a16:creationId xmlns:a16="http://schemas.microsoft.com/office/drawing/2014/main" id="{0A3153F2-A60C-7141-49F4-F6C8EBF5B6FC}"/>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7" name="Freeform 440">
              <a:extLst>
                <a:ext uri="{FF2B5EF4-FFF2-40B4-BE49-F238E27FC236}">
                  <a16:creationId xmlns:a16="http://schemas.microsoft.com/office/drawing/2014/main" id="{2D3D1019-47B8-0C17-B205-F6494341821B}"/>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8" name="Freeform 441">
              <a:extLst>
                <a:ext uri="{FF2B5EF4-FFF2-40B4-BE49-F238E27FC236}">
                  <a16:creationId xmlns:a16="http://schemas.microsoft.com/office/drawing/2014/main" id="{30C328A1-64A2-5CDC-A698-DC2241702D3F}"/>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9" name="Freeform 442">
              <a:extLst>
                <a:ext uri="{FF2B5EF4-FFF2-40B4-BE49-F238E27FC236}">
                  <a16:creationId xmlns:a16="http://schemas.microsoft.com/office/drawing/2014/main" id="{3DEBD4B2-B105-9D79-14E0-4A2290E10A72}"/>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0" name="Freeform 443">
              <a:extLst>
                <a:ext uri="{FF2B5EF4-FFF2-40B4-BE49-F238E27FC236}">
                  <a16:creationId xmlns:a16="http://schemas.microsoft.com/office/drawing/2014/main" id="{14FBD4C2-6C7A-452A-8E03-A2B0B585939C}"/>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1" name="Freeform 444">
              <a:extLst>
                <a:ext uri="{FF2B5EF4-FFF2-40B4-BE49-F238E27FC236}">
                  <a16:creationId xmlns:a16="http://schemas.microsoft.com/office/drawing/2014/main" id="{F5171AD3-289C-AA1C-0431-2DC07B6A538F}"/>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2" name="Freeform 445">
              <a:extLst>
                <a:ext uri="{FF2B5EF4-FFF2-40B4-BE49-F238E27FC236}">
                  <a16:creationId xmlns:a16="http://schemas.microsoft.com/office/drawing/2014/main" id="{FDFCB860-002C-404B-E715-0EF91988129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3" name="Freeform 446">
              <a:extLst>
                <a:ext uri="{FF2B5EF4-FFF2-40B4-BE49-F238E27FC236}">
                  <a16:creationId xmlns:a16="http://schemas.microsoft.com/office/drawing/2014/main" id="{72894714-948A-CDE6-2677-F4FD708C32E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4" name="Freeform 447">
              <a:extLst>
                <a:ext uri="{FF2B5EF4-FFF2-40B4-BE49-F238E27FC236}">
                  <a16:creationId xmlns:a16="http://schemas.microsoft.com/office/drawing/2014/main" id="{543E0039-D6A4-F0B1-1507-EAD1D842FF35}"/>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5" name="Freeform 448">
              <a:extLst>
                <a:ext uri="{FF2B5EF4-FFF2-40B4-BE49-F238E27FC236}">
                  <a16:creationId xmlns:a16="http://schemas.microsoft.com/office/drawing/2014/main" id="{2F114B65-9156-28CC-59E1-F3BC8BDFBF82}"/>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6" name="Freeform 449">
              <a:extLst>
                <a:ext uri="{FF2B5EF4-FFF2-40B4-BE49-F238E27FC236}">
                  <a16:creationId xmlns:a16="http://schemas.microsoft.com/office/drawing/2014/main" id="{C559BEF4-6A64-585A-3B9E-1B711518D1DF}"/>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7" name="Freeform 450">
              <a:extLst>
                <a:ext uri="{FF2B5EF4-FFF2-40B4-BE49-F238E27FC236}">
                  <a16:creationId xmlns:a16="http://schemas.microsoft.com/office/drawing/2014/main" id="{110D3840-8804-9AEC-28DC-CACCADCF3C1A}"/>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8" name="Freeform 451">
              <a:extLst>
                <a:ext uri="{FF2B5EF4-FFF2-40B4-BE49-F238E27FC236}">
                  <a16:creationId xmlns:a16="http://schemas.microsoft.com/office/drawing/2014/main" id="{EF3A57E8-8B57-79ED-CA2E-3C385C13D308}"/>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59" name="Freeform 452">
              <a:extLst>
                <a:ext uri="{FF2B5EF4-FFF2-40B4-BE49-F238E27FC236}">
                  <a16:creationId xmlns:a16="http://schemas.microsoft.com/office/drawing/2014/main" id="{1FA8740B-8C2C-0655-8ADB-38B541A68FC6}"/>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0" name="Freeform 453">
              <a:extLst>
                <a:ext uri="{FF2B5EF4-FFF2-40B4-BE49-F238E27FC236}">
                  <a16:creationId xmlns:a16="http://schemas.microsoft.com/office/drawing/2014/main" id="{5A07D2B2-F29B-476B-4DBF-388153ADD447}"/>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1" name="Freeform 454">
              <a:extLst>
                <a:ext uri="{FF2B5EF4-FFF2-40B4-BE49-F238E27FC236}">
                  <a16:creationId xmlns:a16="http://schemas.microsoft.com/office/drawing/2014/main" id="{56105766-4218-E158-5C54-63895EB01897}"/>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2" name="Freeform 455">
              <a:extLst>
                <a:ext uri="{FF2B5EF4-FFF2-40B4-BE49-F238E27FC236}">
                  <a16:creationId xmlns:a16="http://schemas.microsoft.com/office/drawing/2014/main" id="{05975A11-AAA7-D59E-723C-F9CBDFC389CF}"/>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3" name="Freeform 456">
              <a:extLst>
                <a:ext uri="{FF2B5EF4-FFF2-40B4-BE49-F238E27FC236}">
                  <a16:creationId xmlns:a16="http://schemas.microsoft.com/office/drawing/2014/main" id="{80B1E84E-1A6E-A421-25A0-E7E6B6BD56A5}"/>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4" name="Freeform 457">
              <a:extLst>
                <a:ext uri="{FF2B5EF4-FFF2-40B4-BE49-F238E27FC236}">
                  <a16:creationId xmlns:a16="http://schemas.microsoft.com/office/drawing/2014/main" id="{582557AF-6BAA-7F6C-0DFE-4047D21D9053}"/>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5" name="Freeform 458">
              <a:extLst>
                <a:ext uri="{FF2B5EF4-FFF2-40B4-BE49-F238E27FC236}">
                  <a16:creationId xmlns:a16="http://schemas.microsoft.com/office/drawing/2014/main" id="{67D6FB79-47B2-D178-B134-61CF4935F870}"/>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6" name="Freeform 459">
              <a:extLst>
                <a:ext uri="{FF2B5EF4-FFF2-40B4-BE49-F238E27FC236}">
                  <a16:creationId xmlns:a16="http://schemas.microsoft.com/office/drawing/2014/main" id="{93D760EA-A956-6C18-4FEE-7208E9760CD9}"/>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7" name="Freeform 460">
              <a:extLst>
                <a:ext uri="{FF2B5EF4-FFF2-40B4-BE49-F238E27FC236}">
                  <a16:creationId xmlns:a16="http://schemas.microsoft.com/office/drawing/2014/main" id="{260F2777-FF69-092D-A51B-7987E94D2F7E}"/>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8" name="Freeform 461">
              <a:extLst>
                <a:ext uri="{FF2B5EF4-FFF2-40B4-BE49-F238E27FC236}">
                  <a16:creationId xmlns:a16="http://schemas.microsoft.com/office/drawing/2014/main" id="{AFE5E896-05C9-7C63-3D10-E702A5D27BB9}"/>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69" name="Freeform 462">
              <a:extLst>
                <a:ext uri="{FF2B5EF4-FFF2-40B4-BE49-F238E27FC236}">
                  <a16:creationId xmlns:a16="http://schemas.microsoft.com/office/drawing/2014/main" id="{96877C0D-2CA1-A784-A8B4-6AFE8C6D304F}"/>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0" name="Freeform 463">
              <a:extLst>
                <a:ext uri="{FF2B5EF4-FFF2-40B4-BE49-F238E27FC236}">
                  <a16:creationId xmlns:a16="http://schemas.microsoft.com/office/drawing/2014/main" id="{6271EC6E-E3FB-53A9-5E2A-23EF1AC80BC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1" name="Freeform 464">
              <a:extLst>
                <a:ext uri="{FF2B5EF4-FFF2-40B4-BE49-F238E27FC236}">
                  <a16:creationId xmlns:a16="http://schemas.microsoft.com/office/drawing/2014/main" id="{5A625444-3929-8FA0-EAC4-7BA9D8922DD3}"/>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2" name="Freeform 465">
              <a:extLst>
                <a:ext uri="{FF2B5EF4-FFF2-40B4-BE49-F238E27FC236}">
                  <a16:creationId xmlns:a16="http://schemas.microsoft.com/office/drawing/2014/main" id="{23515ACB-6E66-E008-BFCA-38DC84DC2E1F}"/>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3" name="Freeform 466">
              <a:extLst>
                <a:ext uri="{FF2B5EF4-FFF2-40B4-BE49-F238E27FC236}">
                  <a16:creationId xmlns:a16="http://schemas.microsoft.com/office/drawing/2014/main" id="{8A6BA01F-428B-CA86-E1F9-6392C0CF9EF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4" name="Freeform 467">
              <a:extLst>
                <a:ext uri="{FF2B5EF4-FFF2-40B4-BE49-F238E27FC236}">
                  <a16:creationId xmlns:a16="http://schemas.microsoft.com/office/drawing/2014/main" id="{B445743B-F5E2-7776-CA5A-1E62422CC4F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5" name="Freeform 468">
              <a:extLst>
                <a:ext uri="{FF2B5EF4-FFF2-40B4-BE49-F238E27FC236}">
                  <a16:creationId xmlns:a16="http://schemas.microsoft.com/office/drawing/2014/main" id="{562A9920-045E-3E10-D96B-BB27DF3236F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6" name="Freeform 469">
              <a:extLst>
                <a:ext uri="{FF2B5EF4-FFF2-40B4-BE49-F238E27FC236}">
                  <a16:creationId xmlns:a16="http://schemas.microsoft.com/office/drawing/2014/main" id="{B96585E4-24AE-9D32-9A13-0D532E31CB5F}"/>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7" name="Freeform 470">
              <a:extLst>
                <a:ext uri="{FF2B5EF4-FFF2-40B4-BE49-F238E27FC236}">
                  <a16:creationId xmlns:a16="http://schemas.microsoft.com/office/drawing/2014/main" id="{3FA92890-93B3-8CC1-EC57-54C24E53C80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8" name="Freeform 471">
              <a:extLst>
                <a:ext uri="{FF2B5EF4-FFF2-40B4-BE49-F238E27FC236}">
                  <a16:creationId xmlns:a16="http://schemas.microsoft.com/office/drawing/2014/main" id="{2BE335EC-FE07-8623-29DD-8B40BBD3A37F}"/>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79" name="Freeform 472">
              <a:extLst>
                <a:ext uri="{FF2B5EF4-FFF2-40B4-BE49-F238E27FC236}">
                  <a16:creationId xmlns:a16="http://schemas.microsoft.com/office/drawing/2014/main" id="{BA4F05C6-55F2-6160-4B20-2A1FF1495630}"/>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0" name="Freeform 473">
              <a:extLst>
                <a:ext uri="{FF2B5EF4-FFF2-40B4-BE49-F238E27FC236}">
                  <a16:creationId xmlns:a16="http://schemas.microsoft.com/office/drawing/2014/main" id="{4972FE5D-A936-D0B6-1424-91EF0FAC4FFB}"/>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1" name="Freeform 474">
              <a:extLst>
                <a:ext uri="{FF2B5EF4-FFF2-40B4-BE49-F238E27FC236}">
                  <a16:creationId xmlns:a16="http://schemas.microsoft.com/office/drawing/2014/main" id="{9E197132-A888-DA79-99E8-38F41ED1443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2" name="Freeform 475">
              <a:extLst>
                <a:ext uri="{FF2B5EF4-FFF2-40B4-BE49-F238E27FC236}">
                  <a16:creationId xmlns:a16="http://schemas.microsoft.com/office/drawing/2014/main" id="{F81F3EF3-8E79-00F1-7835-9B1374784865}"/>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3" name="Freeform 476">
              <a:extLst>
                <a:ext uri="{FF2B5EF4-FFF2-40B4-BE49-F238E27FC236}">
                  <a16:creationId xmlns:a16="http://schemas.microsoft.com/office/drawing/2014/main" id="{17DAB5AC-2AAF-CD09-DD27-29DEDB6C9D09}"/>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4" name="Freeform 477">
              <a:extLst>
                <a:ext uri="{FF2B5EF4-FFF2-40B4-BE49-F238E27FC236}">
                  <a16:creationId xmlns:a16="http://schemas.microsoft.com/office/drawing/2014/main" id="{0510E0A2-7471-A3B9-E717-EDC5C41A0AB0}"/>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5" name="Freeform 478">
              <a:extLst>
                <a:ext uri="{FF2B5EF4-FFF2-40B4-BE49-F238E27FC236}">
                  <a16:creationId xmlns:a16="http://schemas.microsoft.com/office/drawing/2014/main" id="{34117142-EC45-351F-6236-5166A1D296F3}"/>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6" name="Freeform 479">
              <a:extLst>
                <a:ext uri="{FF2B5EF4-FFF2-40B4-BE49-F238E27FC236}">
                  <a16:creationId xmlns:a16="http://schemas.microsoft.com/office/drawing/2014/main" id="{F7F844BE-1954-8A05-F76B-DF67C081C234}"/>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7" name="Freeform 480">
              <a:extLst>
                <a:ext uri="{FF2B5EF4-FFF2-40B4-BE49-F238E27FC236}">
                  <a16:creationId xmlns:a16="http://schemas.microsoft.com/office/drawing/2014/main" id="{475FCABF-5747-F071-371E-8587EA82B086}"/>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8" name="Freeform 481">
              <a:extLst>
                <a:ext uri="{FF2B5EF4-FFF2-40B4-BE49-F238E27FC236}">
                  <a16:creationId xmlns:a16="http://schemas.microsoft.com/office/drawing/2014/main" id="{01E81A73-D6F4-E902-DA45-A92AFC44B819}"/>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89" name="Freeform 482">
              <a:extLst>
                <a:ext uri="{FF2B5EF4-FFF2-40B4-BE49-F238E27FC236}">
                  <a16:creationId xmlns:a16="http://schemas.microsoft.com/office/drawing/2014/main" id="{73AE7844-0865-47AF-2906-8A81D3BE1FB6}"/>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0" name="Freeform 483">
              <a:extLst>
                <a:ext uri="{FF2B5EF4-FFF2-40B4-BE49-F238E27FC236}">
                  <a16:creationId xmlns:a16="http://schemas.microsoft.com/office/drawing/2014/main" id="{74F887A4-FA34-7EAB-E73F-F91E0173BCA6}"/>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1" name="Freeform 484">
              <a:extLst>
                <a:ext uri="{FF2B5EF4-FFF2-40B4-BE49-F238E27FC236}">
                  <a16:creationId xmlns:a16="http://schemas.microsoft.com/office/drawing/2014/main" id="{F175B44A-77ED-1B3A-DB6A-B63BA363D9E3}"/>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2" name="Freeform 485">
              <a:extLst>
                <a:ext uri="{FF2B5EF4-FFF2-40B4-BE49-F238E27FC236}">
                  <a16:creationId xmlns:a16="http://schemas.microsoft.com/office/drawing/2014/main" id="{7C802DC9-ACEF-4773-B182-C75FEE441162}"/>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3" name="Freeform 486">
              <a:extLst>
                <a:ext uri="{FF2B5EF4-FFF2-40B4-BE49-F238E27FC236}">
                  <a16:creationId xmlns:a16="http://schemas.microsoft.com/office/drawing/2014/main" id="{CBD547E1-849F-D79C-2F0F-B6270C7B6A6E}"/>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4" name="Freeform 487">
              <a:extLst>
                <a:ext uri="{FF2B5EF4-FFF2-40B4-BE49-F238E27FC236}">
                  <a16:creationId xmlns:a16="http://schemas.microsoft.com/office/drawing/2014/main" id="{9483D563-5A7C-5688-D746-4AFE0B2B35B8}"/>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5" name="Freeform 488">
              <a:extLst>
                <a:ext uri="{FF2B5EF4-FFF2-40B4-BE49-F238E27FC236}">
                  <a16:creationId xmlns:a16="http://schemas.microsoft.com/office/drawing/2014/main" id="{AE8558E3-0E99-9042-0E02-5D331B969FE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6" name="Freeform 489">
              <a:extLst>
                <a:ext uri="{FF2B5EF4-FFF2-40B4-BE49-F238E27FC236}">
                  <a16:creationId xmlns:a16="http://schemas.microsoft.com/office/drawing/2014/main" id="{7FCA2B6F-C6B6-B129-2925-3B69D3432221}"/>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7" name="Freeform 490">
              <a:extLst>
                <a:ext uri="{FF2B5EF4-FFF2-40B4-BE49-F238E27FC236}">
                  <a16:creationId xmlns:a16="http://schemas.microsoft.com/office/drawing/2014/main" id="{B034A006-ACC7-9322-546F-54B64A7A6300}"/>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8" name="Freeform 491">
              <a:extLst>
                <a:ext uri="{FF2B5EF4-FFF2-40B4-BE49-F238E27FC236}">
                  <a16:creationId xmlns:a16="http://schemas.microsoft.com/office/drawing/2014/main" id="{363EE200-CA3F-66F9-1001-9E07D02028FD}"/>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99" name="Freeform 492">
              <a:extLst>
                <a:ext uri="{FF2B5EF4-FFF2-40B4-BE49-F238E27FC236}">
                  <a16:creationId xmlns:a16="http://schemas.microsoft.com/office/drawing/2014/main" id="{95E73EA9-233C-8F6E-F5CC-A7C38ED2509D}"/>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0" name="Freeform 493">
              <a:extLst>
                <a:ext uri="{FF2B5EF4-FFF2-40B4-BE49-F238E27FC236}">
                  <a16:creationId xmlns:a16="http://schemas.microsoft.com/office/drawing/2014/main" id="{B261F8EF-6861-0A27-EDB8-82294A4791D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1" name="Freeform 494">
              <a:extLst>
                <a:ext uri="{FF2B5EF4-FFF2-40B4-BE49-F238E27FC236}">
                  <a16:creationId xmlns:a16="http://schemas.microsoft.com/office/drawing/2014/main" id="{3D802BEB-2D4B-D58D-1BDA-18E01C6830F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2" name="Freeform 495">
              <a:extLst>
                <a:ext uri="{FF2B5EF4-FFF2-40B4-BE49-F238E27FC236}">
                  <a16:creationId xmlns:a16="http://schemas.microsoft.com/office/drawing/2014/main" id="{021AA662-D662-04D7-A7D3-46918E08C46A}"/>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3" name="Freeform 496">
              <a:extLst>
                <a:ext uri="{FF2B5EF4-FFF2-40B4-BE49-F238E27FC236}">
                  <a16:creationId xmlns:a16="http://schemas.microsoft.com/office/drawing/2014/main" id="{EC040ECE-AB81-F4AD-7C77-DDD3395CFA60}"/>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4" name="Freeform 497">
              <a:extLst>
                <a:ext uri="{FF2B5EF4-FFF2-40B4-BE49-F238E27FC236}">
                  <a16:creationId xmlns:a16="http://schemas.microsoft.com/office/drawing/2014/main" id="{36C2EB46-EA02-4565-69F5-C622DE053DC4}"/>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5" name="Freeform 498">
              <a:extLst>
                <a:ext uri="{FF2B5EF4-FFF2-40B4-BE49-F238E27FC236}">
                  <a16:creationId xmlns:a16="http://schemas.microsoft.com/office/drawing/2014/main" id="{3CE2C4BD-44A1-53A7-5BE3-DC2B1704F9EF}"/>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6" name="Freeform 499">
              <a:extLst>
                <a:ext uri="{FF2B5EF4-FFF2-40B4-BE49-F238E27FC236}">
                  <a16:creationId xmlns:a16="http://schemas.microsoft.com/office/drawing/2014/main" id="{423BB34C-96BA-33E8-B122-F8E6A54802B8}"/>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7" name="Freeform 500">
              <a:extLst>
                <a:ext uri="{FF2B5EF4-FFF2-40B4-BE49-F238E27FC236}">
                  <a16:creationId xmlns:a16="http://schemas.microsoft.com/office/drawing/2014/main" id="{045DDAA3-E47D-2017-4E66-55FF2D2A52CD}"/>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8" name="Freeform 501">
              <a:extLst>
                <a:ext uri="{FF2B5EF4-FFF2-40B4-BE49-F238E27FC236}">
                  <a16:creationId xmlns:a16="http://schemas.microsoft.com/office/drawing/2014/main" id="{0BE90193-820B-98F5-63C8-F475FBB49604}"/>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09" name="Freeform 502">
              <a:extLst>
                <a:ext uri="{FF2B5EF4-FFF2-40B4-BE49-F238E27FC236}">
                  <a16:creationId xmlns:a16="http://schemas.microsoft.com/office/drawing/2014/main" id="{07A86C02-628F-31F7-67E3-21CBEFFE1CE9}"/>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0" name="Freeform 503">
              <a:extLst>
                <a:ext uri="{FF2B5EF4-FFF2-40B4-BE49-F238E27FC236}">
                  <a16:creationId xmlns:a16="http://schemas.microsoft.com/office/drawing/2014/main" id="{552E36F5-6F68-3C55-67B4-215499012742}"/>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1" name="Freeform 504">
              <a:extLst>
                <a:ext uri="{FF2B5EF4-FFF2-40B4-BE49-F238E27FC236}">
                  <a16:creationId xmlns:a16="http://schemas.microsoft.com/office/drawing/2014/main" id="{59D55356-1A6A-4AA3-C84D-E8F805F76D31}"/>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2" name="Freeform 505">
              <a:extLst>
                <a:ext uri="{FF2B5EF4-FFF2-40B4-BE49-F238E27FC236}">
                  <a16:creationId xmlns:a16="http://schemas.microsoft.com/office/drawing/2014/main" id="{BA717E2C-AED9-848C-C140-CD98A939BFF5}"/>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3" name="Freeform 506">
              <a:extLst>
                <a:ext uri="{FF2B5EF4-FFF2-40B4-BE49-F238E27FC236}">
                  <a16:creationId xmlns:a16="http://schemas.microsoft.com/office/drawing/2014/main" id="{EF42E7E9-4F82-BE6B-D58D-F1923862D7C6}"/>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4" name="Freeform 507">
              <a:extLst>
                <a:ext uri="{FF2B5EF4-FFF2-40B4-BE49-F238E27FC236}">
                  <a16:creationId xmlns:a16="http://schemas.microsoft.com/office/drawing/2014/main" id="{47C2F699-9E92-B7E8-3ECE-A7BAD1D7B5BA}"/>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5" name="Freeform 508">
              <a:extLst>
                <a:ext uri="{FF2B5EF4-FFF2-40B4-BE49-F238E27FC236}">
                  <a16:creationId xmlns:a16="http://schemas.microsoft.com/office/drawing/2014/main" id="{536FEE6B-63AF-83AC-BC6E-DE9CF916E4F4}"/>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6" name="Freeform 509">
              <a:extLst>
                <a:ext uri="{FF2B5EF4-FFF2-40B4-BE49-F238E27FC236}">
                  <a16:creationId xmlns:a16="http://schemas.microsoft.com/office/drawing/2014/main" id="{EB1A72C7-723C-3E03-06C9-DCA8C3BD43D7}"/>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7" name="Freeform 510">
              <a:extLst>
                <a:ext uri="{FF2B5EF4-FFF2-40B4-BE49-F238E27FC236}">
                  <a16:creationId xmlns:a16="http://schemas.microsoft.com/office/drawing/2014/main" id="{6F9652DE-C119-422C-0658-319DEA01EFF9}"/>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8" name="Freeform 511">
              <a:extLst>
                <a:ext uri="{FF2B5EF4-FFF2-40B4-BE49-F238E27FC236}">
                  <a16:creationId xmlns:a16="http://schemas.microsoft.com/office/drawing/2014/main" id="{914868DA-6788-9927-5074-C8C9AE1F9A66}"/>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19" name="Freeform 512">
              <a:extLst>
                <a:ext uri="{FF2B5EF4-FFF2-40B4-BE49-F238E27FC236}">
                  <a16:creationId xmlns:a16="http://schemas.microsoft.com/office/drawing/2014/main" id="{19197351-6EC7-277F-0EBA-CDD42A4A6A09}"/>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0" name="Freeform 513">
              <a:extLst>
                <a:ext uri="{FF2B5EF4-FFF2-40B4-BE49-F238E27FC236}">
                  <a16:creationId xmlns:a16="http://schemas.microsoft.com/office/drawing/2014/main" id="{6D5DDC5E-C2A6-0AB4-73A0-3F8551630E7E}"/>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1" name="Freeform 514">
              <a:extLst>
                <a:ext uri="{FF2B5EF4-FFF2-40B4-BE49-F238E27FC236}">
                  <a16:creationId xmlns:a16="http://schemas.microsoft.com/office/drawing/2014/main" id="{567D5E68-1417-70B4-A389-7127E3B35A73}"/>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2" name="Freeform 515">
              <a:extLst>
                <a:ext uri="{FF2B5EF4-FFF2-40B4-BE49-F238E27FC236}">
                  <a16:creationId xmlns:a16="http://schemas.microsoft.com/office/drawing/2014/main" id="{4627FB57-9B8A-33CD-6A4B-8752567C0C0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3" name="Freeform 516">
              <a:extLst>
                <a:ext uri="{FF2B5EF4-FFF2-40B4-BE49-F238E27FC236}">
                  <a16:creationId xmlns:a16="http://schemas.microsoft.com/office/drawing/2014/main" id="{B5FE3CDE-766B-3064-9B3A-0E36A0FB78E3}"/>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4" name="Freeform 517">
              <a:extLst>
                <a:ext uri="{FF2B5EF4-FFF2-40B4-BE49-F238E27FC236}">
                  <a16:creationId xmlns:a16="http://schemas.microsoft.com/office/drawing/2014/main" id="{2B104EB7-1F64-5CCF-6726-FC2A9D6D536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5" name="Freeform 518">
              <a:extLst>
                <a:ext uri="{FF2B5EF4-FFF2-40B4-BE49-F238E27FC236}">
                  <a16:creationId xmlns:a16="http://schemas.microsoft.com/office/drawing/2014/main" id="{658BC11F-F71F-F1FD-B0E1-DB90B5FB1507}"/>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6" name="Freeform 519">
              <a:extLst>
                <a:ext uri="{FF2B5EF4-FFF2-40B4-BE49-F238E27FC236}">
                  <a16:creationId xmlns:a16="http://schemas.microsoft.com/office/drawing/2014/main" id="{5FFBC344-286A-AA12-A1DB-760D549046B7}"/>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7" name="Freeform 520">
              <a:extLst>
                <a:ext uri="{FF2B5EF4-FFF2-40B4-BE49-F238E27FC236}">
                  <a16:creationId xmlns:a16="http://schemas.microsoft.com/office/drawing/2014/main" id="{6FD60022-EB56-BD7F-0B7E-45BEE1ABF46F}"/>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8" name="Freeform 521">
              <a:extLst>
                <a:ext uri="{FF2B5EF4-FFF2-40B4-BE49-F238E27FC236}">
                  <a16:creationId xmlns:a16="http://schemas.microsoft.com/office/drawing/2014/main" id="{E81FD524-72BB-8ECC-AD90-64442E70D419}"/>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29" name="Freeform 522">
              <a:extLst>
                <a:ext uri="{FF2B5EF4-FFF2-40B4-BE49-F238E27FC236}">
                  <a16:creationId xmlns:a16="http://schemas.microsoft.com/office/drawing/2014/main" id="{193F504D-0787-9B5A-A5C3-0C7A7E400BDB}"/>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0" name="Freeform 523">
              <a:extLst>
                <a:ext uri="{FF2B5EF4-FFF2-40B4-BE49-F238E27FC236}">
                  <a16:creationId xmlns:a16="http://schemas.microsoft.com/office/drawing/2014/main" id="{AF5DAA86-CB85-D482-3B68-2E76301606E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1" name="Freeform 524">
              <a:extLst>
                <a:ext uri="{FF2B5EF4-FFF2-40B4-BE49-F238E27FC236}">
                  <a16:creationId xmlns:a16="http://schemas.microsoft.com/office/drawing/2014/main" id="{AF7A0350-19B6-32E5-8FF8-52E9AF8F1C7A}"/>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2" name="Freeform 525">
              <a:extLst>
                <a:ext uri="{FF2B5EF4-FFF2-40B4-BE49-F238E27FC236}">
                  <a16:creationId xmlns:a16="http://schemas.microsoft.com/office/drawing/2014/main" id="{BAE2F077-9C6A-CD45-43F6-2139447F136C}"/>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3" name="Freeform 526">
              <a:extLst>
                <a:ext uri="{FF2B5EF4-FFF2-40B4-BE49-F238E27FC236}">
                  <a16:creationId xmlns:a16="http://schemas.microsoft.com/office/drawing/2014/main" id="{C5D0D015-872C-AB63-CFC8-8CAFB31EF4B3}"/>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4" name="Freeform 527">
              <a:extLst>
                <a:ext uri="{FF2B5EF4-FFF2-40B4-BE49-F238E27FC236}">
                  <a16:creationId xmlns:a16="http://schemas.microsoft.com/office/drawing/2014/main" id="{BAED492C-FCE7-8161-0000-227FF8F90633}"/>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5" name="Freeform 528">
              <a:extLst>
                <a:ext uri="{FF2B5EF4-FFF2-40B4-BE49-F238E27FC236}">
                  <a16:creationId xmlns:a16="http://schemas.microsoft.com/office/drawing/2014/main" id="{F3CA34E0-BE42-8A11-6572-3D0152DD081F}"/>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6" name="Freeform 529">
              <a:extLst>
                <a:ext uri="{FF2B5EF4-FFF2-40B4-BE49-F238E27FC236}">
                  <a16:creationId xmlns:a16="http://schemas.microsoft.com/office/drawing/2014/main" id="{83216307-5F0B-8C5A-F75D-846C193BC3DA}"/>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7" name="Freeform 530">
              <a:extLst>
                <a:ext uri="{FF2B5EF4-FFF2-40B4-BE49-F238E27FC236}">
                  <a16:creationId xmlns:a16="http://schemas.microsoft.com/office/drawing/2014/main" id="{E7FC0018-9D53-18B9-A77B-1929650738E7}"/>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8" name="Freeform 531">
              <a:extLst>
                <a:ext uri="{FF2B5EF4-FFF2-40B4-BE49-F238E27FC236}">
                  <a16:creationId xmlns:a16="http://schemas.microsoft.com/office/drawing/2014/main" id="{646A351F-B20F-851A-3406-3073FF4DA781}"/>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39" name="Freeform 532">
              <a:extLst>
                <a:ext uri="{FF2B5EF4-FFF2-40B4-BE49-F238E27FC236}">
                  <a16:creationId xmlns:a16="http://schemas.microsoft.com/office/drawing/2014/main" id="{2B2416F1-A3C5-5483-ABCA-28A48AD71E0C}"/>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0" name="Freeform 533">
              <a:extLst>
                <a:ext uri="{FF2B5EF4-FFF2-40B4-BE49-F238E27FC236}">
                  <a16:creationId xmlns:a16="http://schemas.microsoft.com/office/drawing/2014/main" id="{46E63ED5-2DCB-3173-F1D6-5F2DF88D4832}"/>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1" name="Freeform 534">
              <a:extLst>
                <a:ext uri="{FF2B5EF4-FFF2-40B4-BE49-F238E27FC236}">
                  <a16:creationId xmlns:a16="http://schemas.microsoft.com/office/drawing/2014/main" id="{E5DCEF3E-54AA-5F15-4F10-3C08E09224F6}"/>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2" name="Freeform 535">
              <a:extLst>
                <a:ext uri="{FF2B5EF4-FFF2-40B4-BE49-F238E27FC236}">
                  <a16:creationId xmlns:a16="http://schemas.microsoft.com/office/drawing/2014/main" id="{82360769-77DD-0FDC-340A-440D174C9FA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3" name="Freeform 536">
              <a:extLst>
                <a:ext uri="{FF2B5EF4-FFF2-40B4-BE49-F238E27FC236}">
                  <a16:creationId xmlns:a16="http://schemas.microsoft.com/office/drawing/2014/main" id="{FE53168A-2892-E1BA-C46D-B23DD62C288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4" name="Freeform 537">
              <a:extLst>
                <a:ext uri="{FF2B5EF4-FFF2-40B4-BE49-F238E27FC236}">
                  <a16:creationId xmlns:a16="http://schemas.microsoft.com/office/drawing/2014/main" id="{AC3A4AEB-8B90-B437-27D1-ADBAAF90AB5A}"/>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5" name="Freeform 538">
              <a:extLst>
                <a:ext uri="{FF2B5EF4-FFF2-40B4-BE49-F238E27FC236}">
                  <a16:creationId xmlns:a16="http://schemas.microsoft.com/office/drawing/2014/main" id="{97668433-4DBC-2F67-B441-55CD76A742EC}"/>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6" name="Freeform 539">
              <a:extLst>
                <a:ext uri="{FF2B5EF4-FFF2-40B4-BE49-F238E27FC236}">
                  <a16:creationId xmlns:a16="http://schemas.microsoft.com/office/drawing/2014/main" id="{B2083C1E-731D-D931-B672-D8CA4A4B4CBB}"/>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7" name="Freeform 540">
              <a:extLst>
                <a:ext uri="{FF2B5EF4-FFF2-40B4-BE49-F238E27FC236}">
                  <a16:creationId xmlns:a16="http://schemas.microsoft.com/office/drawing/2014/main" id="{85D7097B-3297-4A6C-DBA6-B15B1DBE2576}"/>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8" name="Freeform 541">
              <a:extLst>
                <a:ext uri="{FF2B5EF4-FFF2-40B4-BE49-F238E27FC236}">
                  <a16:creationId xmlns:a16="http://schemas.microsoft.com/office/drawing/2014/main" id="{220AF1CF-6EB9-BA33-2D01-2DF25852802A}"/>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49" name="Freeform 542">
              <a:extLst>
                <a:ext uri="{FF2B5EF4-FFF2-40B4-BE49-F238E27FC236}">
                  <a16:creationId xmlns:a16="http://schemas.microsoft.com/office/drawing/2014/main" id="{C98BCF52-ABC4-9E10-C259-2D0686D57D7C}"/>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0" name="Freeform 543">
              <a:extLst>
                <a:ext uri="{FF2B5EF4-FFF2-40B4-BE49-F238E27FC236}">
                  <a16:creationId xmlns:a16="http://schemas.microsoft.com/office/drawing/2014/main" id="{71865944-DD58-30A8-D218-68BBFA910DF3}"/>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1" name="Freeform 544">
              <a:extLst>
                <a:ext uri="{FF2B5EF4-FFF2-40B4-BE49-F238E27FC236}">
                  <a16:creationId xmlns:a16="http://schemas.microsoft.com/office/drawing/2014/main" id="{F494F5AF-0487-31C1-EF42-F45C50FC83A8}"/>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2" name="Freeform 545">
              <a:extLst>
                <a:ext uri="{FF2B5EF4-FFF2-40B4-BE49-F238E27FC236}">
                  <a16:creationId xmlns:a16="http://schemas.microsoft.com/office/drawing/2014/main" id="{37E37393-54E9-68E0-8A57-0B399D83F88D}"/>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3" name="Freeform 546">
              <a:extLst>
                <a:ext uri="{FF2B5EF4-FFF2-40B4-BE49-F238E27FC236}">
                  <a16:creationId xmlns:a16="http://schemas.microsoft.com/office/drawing/2014/main" id="{D204001F-8938-5B24-895E-330DAFB130B4}"/>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4" name="Freeform 547">
              <a:extLst>
                <a:ext uri="{FF2B5EF4-FFF2-40B4-BE49-F238E27FC236}">
                  <a16:creationId xmlns:a16="http://schemas.microsoft.com/office/drawing/2014/main" id="{CFA7DA8A-157B-3A19-1034-DD48D283A542}"/>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5" name="Freeform 548">
              <a:extLst>
                <a:ext uri="{FF2B5EF4-FFF2-40B4-BE49-F238E27FC236}">
                  <a16:creationId xmlns:a16="http://schemas.microsoft.com/office/drawing/2014/main" id="{02669CFF-4498-94C5-0555-6984144E039C}"/>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6" name="Freeform 549">
              <a:extLst>
                <a:ext uri="{FF2B5EF4-FFF2-40B4-BE49-F238E27FC236}">
                  <a16:creationId xmlns:a16="http://schemas.microsoft.com/office/drawing/2014/main" id="{89BC824E-1A5D-526C-6879-9C9C4499203D}"/>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7" name="Freeform 550">
              <a:extLst>
                <a:ext uri="{FF2B5EF4-FFF2-40B4-BE49-F238E27FC236}">
                  <a16:creationId xmlns:a16="http://schemas.microsoft.com/office/drawing/2014/main" id="{822D76D3-DF11-81F5-0E50-F60655156528}"/>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8" name="Freeform 551">
              <a:extLst>
                <a:ext uri="{FF2B5EF4-FFF2-40B4-BE49-F238E27FC236}">
                  <a16:creationId xmlns:a16="http://schemas.microsoft.com/office/drawing/2014/main" id="{A65AD6CF-1A7B-49EE-44F9-9C95EFD6D30E}"/>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59" name="Freeform 552">
              <a:extLst>
                <a:ext uri="{FF2B5EF4-FFF2-40B4-BE49-F238E27FC236}">
                  <a16:creationId xmlns:a16="http://schemas.microsoft.com/office/drawing/2014/main" id="{AD135C97-5D8F-B11E-477D-72FCB11A998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0" name="Freeform 553">
              <a:extLst>
                <a:ext uri="{FF2B5EF4-FFF2-40B4-BE49-F238E27FC236}">
                  <a16:creationId xmlns:a16="http://schemas.microsoft.com/office/drawing/2014/main" id="{59A936B7-542F-A3C2-DF6B-02B242BBE3FF}"/>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1" name="Freeform 554">
              <a:extLst>
                <a:ext uri="{FF2B5EF4-FFF2-40B4-BE49-F238E27FC236}">
                  <a16:creationId xmlns:a16="http://schemas.microsoft.com/office/drawing/2014/main" id="{A4378921-527A-B7E8-F86B-601779E89248}"/>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2" name="Freeform 555">
              <a:extLst>
                <a:ext uri="{FF2B5EF4-FFF2-40B4-BE49-F238E27FC236}">
                  <a16:creationId xmlns:a16="http://schemas.microsoft.com/office/drawing/2014/main" id="{57B29E6F-ACBD-B9BC-5BA2-0E8209455A4E}"/>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3" name="Freeform 556">
              <a:extLst>
                <a:ext uri="{FF2B5EF4-FFF2-40B4-BE49-F238E27FC236}">
                  <a16:creationId xmlns:a16="http://schemas.microsoft.com/office/drawing/2014/main" id="{73C3DDF3-288C-56A7-A374-A46D315AF97E}"/>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4" name="Freeform 557">
              <a:extLst>
                <a:ext uri="{FF2B5EF4-FFF2-40B4-BE49-F238E27FC236}">
                  <a16:creationId xmlns:a16="http://schemas.microsoft.com/office/drawing/2014/main" id="{504A7CB2-82C0-E944-A8BA-0C28C7F872A7}"/>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5" name="Freeform 558">
              <a:extLst>
                <a:ext uri="{FF2B5EF4-FFF2-40B4-BE49-F238E27FC236}">
                  <a16:creationId xmlns:a16="http://schemas.microsoft.com/office/drawing/2014/main" id="{8FC088F2-CDCD-E9D8-AF55-E5F7389D75A8}"/>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6" name="Freeform 559">
              <a:extLst>
                <a:ext uri="{FF2B5EF4-FFF2-40B4-BE49-F238E27FC236}">
                  <a16:creationId xmlns:a16="http://schemas.microsoft.com/office/drawing/2014/main" id="{08C84D53-FCE0-F810-C81D-3C3DB49AE3D6}"/>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7" name="Freeform 560">
              <a:extLst>
                <a:ext uri="{FF2B5EF4-FFF2-40B4-BE49-F238E27FC236}">
                  <a16:creationId xmlns:a16="http://schemas.microsoft.com/office/drawing/2014/main" id="{CE722FD3-9ED9-CD47-10C8-CDF9EFDDF09F}"/>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8" name="Freeform 561">
              <a:extLst>
                <a:ext uri="{FF2B5EF4-FFF2-40B4-BE49-F238E27FC236}">
                  <a16:creationId xmlns:a16="http://schemas.microsoft.com/office/drawing/2014/main" id="{DBC28D54-9B2B-F630-82EA-F38CFD550460}"/>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69" name="Freeform 562">
              <a:extLst>
                <a:ext uri="{FF2B5EF4-FFF2-40B4-BE49-F238E27FC236}">
                  <a16:creationId xmlns:a16="http://schemas.microsoft.com/office/drawing/2014/main" id="{38C64382-4F7C-834F-E37B-1B71381E61B8}"/>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0" name="Freeform 563">
              <a:extLst>
                <a:ext uri="{FF2B5EF4-FFF2-40B4-BE49-F238E27FC236}">
                  <a16:creationId xmlns:a16="http://schemas.microsoft.com/office/drawing/2014/main" id="{3ED4A8E5-7181-CF56-2679-F434A48526ED}"/>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1" name="Freeform 564">
              <a:extLst>
                <a:ext uri="{FF2B5EF4-FFF2-40B4-BE49-F238E27FC236}">
                  <a16:creationId xmlns:a16="http://schemas.microsoft.com/office/drawing/2014/main" id="{832C6E33-C3AA-2181-AB5A-5FCD35A2B948}"/>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2" name="Freeform 565">
              <a:extLst>
                <a:ext uri="{FF2B5EF4-FFF2-40B4-BE49-F238E27FC236}">
                  <a16:creationId xmlns:a16="http://schemas.microsoft.com/office/drawing/2014/main" id="{0D4C31EA-A079-ADD2-B308-17578A8AE514}"/>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3" name="Freeform 566">
              <a:extLst>
                <a:ext uri="{FF2B5EF4-FFF2-40B4-BE49-F238E27FC236}">
                  <a16:creationId xmlns:a16="http://schemas.microsoft.com/office/drawing/2014/main" id="{DD00F4FA-1860-4181-75AD-B7D6CB90E5D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4" name="Freeform 567">
              <a:extLst>
                <a:ext uri="{FF2B5EF4-FFF2-40B4-BE49-F238E27FC236}">
                  <a16:creationId xmlns:a16="http://schemas.microsoft.com/office/drawing/2014/main" id="{D02326B9-FEFC-2EDD-AFEC-3C309157E15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5" name="Freeform 568">
              <a:extLst>
                <a:ext uri="{FF2B5EF4-FFF2-40B4-BE49-F238E27FC236}">
                  <a16:creationId xmlns:a16="http://schemas.microsoft.com/office/drawing/2014/main" id="{46306A4F-3504-3434-59D0-7D39AA3FB89F}"/>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6" name="Freeform 569">
              <a:extLst>
                <a:ext uri="{FF2B5EF4-FFF2-40B4-BE49-F238E27FC236}">
                  <a16:creationId xmlns:a16="http://schemas.microsoft.com/office/drawing/2014/main" id="{74FF9783-233A-854E-5982-DBAE4F4607AB}"/>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7" name="Freeform 570">
              <a:extLst>
                <a:ext uri="{FF2B5EF4-FFF2-40B4-BE49-F238E27FC236}">
                  <a16:creationId xmlns:a16="http://schemas.microsoft.com/office/drawing/2014/main" id="{2A28DB01-9393-CCD9-B4A3-E954AC9450E2}"/>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8" name="Freeform 571">
              <a:extLst>
                <a:ext uri="{FF2B5EF4-FFF2-40B4-BE49-F238E27FC236}">
                  <a16:creationId xmlns:a16="http://schemas.microsoft.com/office/drawing/2014/main" id="{48F0AFE2-DA4F-BC6D-28D9-C6AB28A1046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79" name="Freeform 572">
              <a:extLst>
                <a:ext uri="{FF2B5EF4-FFF2-40B4-BE49-F238E27FC236}">
                  <a16:creationId xmlns:a16="http://schemas.microsoft.com/office/drawing/2014/main" id="{FCF024A6-B323-7EFF-060A-E2B13B31E7C9}"/>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0" name="Freeform 573">
              <a:extLst>
                <a:ext uri="{FF2B5EF4-FFF2-40B4-BE49-F238E27FC236}">
                  <a16:creationId xmlns:a16="http://schemas.microsoft.com/office/drawing/2014/main" id="{E2C6336F-C5BC-07FF-B8D8-2AC274427FC7}"/>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1" name="Freeform 574">
              <a:extLst>
                <a:ext uri="{FF2B5EF4-FFF2-40B4-BE49-F238E27FC236}">
                  <a16:creationId xmlns:a16="http://schemas.microsoft.com/office/drawing/2014/main" id="{FB891089-ABE0-0151-CF68-DAE1A0A7DD2D}"/>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2" name="Freeform 575">
              <a:extLst>
                <a:ext uri="{FF2B5EF4-FFF2-40B4-BE49-F238E27FC236}">
                  <a16:creationId xmlns:a16="http://schemas.microsoft.com/office/drawing/2014/main" id="{D373E7D7-E6FB-C4FC-9BC9-20E9F2914346}"/>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3" name="Freeform 576">
              <a:extLst>
                <a:ext uri="{FF2B5EF4-FFF2-40B4-BE49-F238E27FC236}">
                  <a16:creationId xmlns:a16="http://schemas.microsoft.com/office/drawing/2014/main" id="{E0CF9FA7-DC61-D38C-2A01-0AA2A5E5CD16}"/>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4" name="Freeform 577">
              <a:extLst>
                <a:ext uri="{FF2B5EF4-FFF2-40B4-BE49-F238E27FC236}">
                  <a16:creationId xmlns:a16="http://schemas.microsoft.com/office/drawing/2014/main" id="{99FCB58E-090E-B0EC-779E-5C45EE562815}"/>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5" name="Freeform 578">
              <a:extLst>
                <a:ext uri="{FF2B5EF4-FFF2-40B4-BE49-F238E27FC236}">
                  <a16:creationId xmlns:a16="http://schemas.microsoft.com/office/drawing/2014/main" id="{33892A7E-9D4B-EF18-7793-43488A0C92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6" name="Freeform 579">
              <a:extLst>
                <a:ext uri="{FF2B5EF4-FFF2-40B4-BE49-F238E27FC236}">
                  <a16:creationId xmlns:a16="http://schemas.microsoft.com/office/drawing/2014/main" id="{1BDEC9EB-0A89-1CF4-858C-ECD63D11545F}"/>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7" name="Freeform 580">
              <a:extLst>
                <a:ext uri="{FF2B5EF4-FFF2-40B4-BE49-F238E27FC236}">
                  <a16:creationId xmlns:a16="http://schemas.microsoft.com/office/drawing/2014/main" id="{C97C733D-F5E0-25D3-7A3C-30EC4018B753}"/>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8" name="Freeform 581">
              <a:extLst>
                <a:ext uri="{FF2B5EF4-FFF2-40B4-BE49-F238E27FC236}">
                  <a16:creationId xmlns:a16="http://schemas.microsoft.com/office/drawing/2014/main" id="{7A4A8E11-3430-B974-E72D-B694088ECEC4}"/>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89" name="Freeform 582">
              <a:extLst>
                <a:ext uri="{FF2B5EF4-FFF2-40B4-BE49-F238E27FC236}">
                  <a16:creationId xmlns:a16="http://schemas.microsoft.com/office/drawing/2014/main" id="{437F004F-09CC-BC25-06EE-215FEA2158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0" name="Freeform 583">
              <a:extLst>
                <a:ext uri="{FF2B5EF4-FFF2-40B4-BE49-F238E27FC236}">
                  <a16:creationId xmlns:a16="http://schemas.microsoft.com/office/drawing/2014/main" id="{E70E78BE-4376-A31E-5526-962286261D33}"/>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1" name="Freeform 584">
              <a:extLst>
                <a:ext uri="{FF2B5EF4-FFF2-40B4-BE49-F238E27FC236}">
                  <a16:creationId xmlns:a16="http://schemas.microsoft.com/office/drawing/2014/main" id="{A63C2D14-B0AD-F2EA-2A22-299012B8EA72}"/>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2" name="Freeform 585">
              <a:extLst>
                <a:ext uri="{FF2B5EF4-FFF2-40B4-BE49-F238E27FC236}">
                  <a16:creationId xmlns:a16="http://schemas.microsoft.com/office/drawing/2014/main" id="{9D9D7A27-1722-C877-72B8-89CD01A206B3}"/>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3" name="Freeform 586">
              <a:extLst>
                <a:ext uri="{FF2B5EF4-FFF2-40B4-BE49-F238E27FC236}">
                  <a16:creationId xmlns:a16="http://schemas.microsoft.com/office/drawing/2014/main" id="{FA9137D9-35A5-044C-0E45-48D4D3565BEE}"/>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4" name="Freeform 587">
              <a:extLst>
                <a:ext uri="{FF2B5EF4-FFF2-40B4-BE49-F238E27FC236}">
                  <a16:creationId xmlns:a16="http://schemas.microsoft.com/office/drawing/2014/main" id="{65FBE5A6-8DB6-51F3-DD8A-B4E363F390AF}"/>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5" name="Freeform 588">
              <a:extLst>
                <a:ext uri="{FF2B5EF4-FFF2-40B4-BE49-F238E27FC236}">
                  <a16:creationId xmlns:a16="http://schemas.microsoft.com/office/drawing/2014/main" id="{262ABFE5-4A21-66A4-916B-F82E2DA27765}"/>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6" name="Freeform 589">
              <a:extLst>
                <a:ext uri="{FF2B5EF4-FFF2-40B4-BE49-F238E27FC236}">
                  <a16:creationId xmlns:a16="http://schemas.microsoft.com/office/drawing/2014/main" id="{182938EC-5087-3FB6-C602-A5B16E3E1B59}"/>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7" name="Freeform 590">
              <a:extLst>
                <a:ext uri="{FF2B5EF4-FFF2-40B4-BE49-F238E27FC236}">
                  <a16:creationId xmlns:a16="http://schemas.microsoft.com/office/drawing/2014/main" id="{AEBCBBAF-BDAE-0A81-E0CB-F1C2BB8B32F1}"/>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8" name="Freeform 591">
              <a:extLst>
                <a:ext uri="{FF2B5EF4-FFF2-40B4-BE49-F238E27FC236}">
                  <a16:creationId xmlns:a16="http://schemas.microsoft.com/office/drawing/2014/main" id="{407FC15E-59C2-36E9-C026-618AA16DFCEC}"/>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199" name="Freeform 592">
              <a:extLst>
                <a:ext uri="{FF2B5EF4-FFF2-40B4-BE49-F238E27FC236}">
                  <a16:creationId xmlns:a16="http://schemas.microsoft.com/office/drawing/2014/main" id="{43B31137-1F3B-12DB-9CFA-44903F883C7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0" name="Freeform 593">
              <a:extLst>
                <a:ext uri="{FF2B5EF4-FFF2-40B4-BE49-F238E27FC236}">
                  <a16:creationId xmlns:a16="http://schemas.microsoft.com/office/drawing/2014/main" id="{8FE410D6-8B54-8B6B-A3AF-C8C4B7837C3B}"/>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1" name="Freeform 594">
              <a:extLst>
                <a:ext uri="{FF2B5EF4-FFF2-40B4-BE49-F238E27FC236}">
                  <a16:creationId xmlns:a16="http://schemas.microsoft.com/office/drawing/2014/main" id="{FAA2169A-3534-9DC8-AD8B-55D94E7BD6A3}"/>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2" name="Freeform 595">
              <a:extLst>
                <a:ext uri="{FF2B5EF4-FFF2-40B4-BE49-F238E27FC236}">
                  <a16:creationId xmlns:a16="http://schemas.microsoft.com/office/drawing/2014/main" id="{EADCB98C-4B06-A0AF-11C9-389B99558F3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3" name="Freeform 596">
              <a:extLst>
                <a:ext uri="{FF2B5EF4-FFF2-40B4-BE49-F238E27FC236}">
                  <a16:creationId xmlns:a16="http://schemas.microsoft.com/office/drawing/2014/main" id="{053C8FA0-AF5F-FF8A-D9C0-A6FFD385DED7}"/>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4" name="Freeform 597">
              <a:extLst>
                <a:ext uri="{FF2B5EF4-FFF2-40B4-BE49-F238E27FC236}">
                  <a16:creationId xmlns:a16="http://schemas.microsoft.com/office/drawing/2014/main" id="{25887EF5-BA71-1A77-E3BE-F0D7F03A5BAA}"/>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5" name="Freeform 598">
              <a:extLst>
                <a:ext uri="{FF2B5EF4-FFF2-40B4-BE49-F238E27FC236}">
                  <a16:creationId xmlns:a16="http://schemas.microsoft.com/office/drawing/2014/main" id="{97EC3CC7-337C-B126-2F10-A50163810CA3}"/>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6" name="Freeform 599">
              <a:extLst>
                <a:ext uri="{FF2B5EF4-FFF2-40B4-BE49-F238E27FC236}">
                  <a16:creationId xmlns:a16="http://schemas.microsoft.com/office/drawing/2014/main" id="{7D9BDE91-81D6-67AA-0FCF-C564E72DF832}"/>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7" name="Freeform 600">
              <a:extLst>
                <a:ext uri="{FF2B5EF4-FFF2-40B4-BE49-F238E27FC236}">
                  <a16:creationId xmlns:a16="http://schemas.microsoft.com/office/drawing/2014/main" id="{1DBEEEB5-4728-CEE8-E4AC-7CE9338FD291}"/>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8" name="Freeform 601">
              <a:extLst>
                <a:ext uri="{FF2B5EF4-FFF2-40B4-BE49-F238E27FC236}">
                  <a16:creationId xmlns:a16="http://schemas.microsoft.com/office/drawing/2014/main" id="{3CDA1DAF-A78A-56FB-9A26-DCF9BF40E972}"/>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09" name="Freeform 602">
              <a:extLst>
                <a:ext uri="{FF2B5EF4-FFF2-40B4-BE49-F238E27FC236}">
                  <a16:creationId xmlns:a16="http://schemas.microsoft.com/office/drawing/2014/main" id="{6B004B91-4298-7388-9793-B80605E5E37F}"/>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0" name="Freeform 604">
              <a:extLst>
                <a:ext uri="{FF2B5EF4-FFF2-40B4-BE49-F238E27FC236}">
                  <a16:creationId xmlns:a16="http://schemas.microsoft.com/office/drawing/2014/main" id="{B9309985-62CF-F6C9-FAB1-515B28C4D0EA}"/>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1" name="Freeform 605">
              <a:extLst>
                <a:ext uri="{FF2B5EF4-FFF2-40B4-BE49-F238E27FC236}">
                  <a16:creationId xmlns:a16="http://schemas.microsoft.com/office/drawing/2014/main" id="{A23ED048-99CA-522F-C4AF-68F512AAD9F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2" name="Freeform 606">
              <a:extLst>
                <a:ext uri="{FF2B5EF4-FFF2-40B4-BE49-F238E27FC236}">
                  <a16:creationId xmlns:a16="http://schemas.microsoft.com/office/drawing/2014/main" id="{902C4A3A-1390-C93E-B365-9AB6D633B89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3" name="Freeform 607">
              <a:extLst>
                <a:ext uri="{FF2B5EF4-FFF2-40B4-BE49-F238E27FC236}">
                  <a16:creationId xmlns:a16="http://schemas.microsoft.com/office/drawing/2014/main" id="{8F92D289-E6C8-5235-5127-E49E436919AF}"/>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4" name="Freeform 608">
              <a:extLst>
                <a:ext uri="{FF2B5EF4-FFF2-40B4-BE49-F238E27FC236}">
                  <a16:creationId xmlns:a16="http://schemas.microsoft.com/office/drawing/2014/main" id="{D7318757-2CA8-24A9-EDF9-A2CE0ED1A2EE}"/>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5" name="Freeform 609">
              <a:extLst>
                <a:ext uri="{FF2B5EF4-FFF2-40B4-BE49-F238E27FC236}">
                  <a16:creationId xmlns:a16="http://schemas.microsoft.com/office/drawing/2014/main" id="{996923DA-2609-3E96-83E9-94F46549F72D}"/>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6" name="Freeform 610">
              <a:extLst>
                <a:ext uri="{FF2B5EF4-FFF2-40B4-BE49-F238E27FC236}">
                  <a16:creationId xmlns:a16="http://schemas.microsoft.com/office/drawing/2014/main" id="{B615DC79-4880-D4F8-F167-CCC9621D453C}"/>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7" name="Freeform 611">
              <a:extLst>
                <a:ext uri="{FF2B5EF4-FFF2-40B4-BE49-F238E27FC236}">
                  <a16:creationId xmlns:a16="http://schemas.microsoft.com/office/drawing/2014/main" id="{E9BDFDA0-2404-E0F6-14AF-9E8A18C00CAA}"/>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8" name="Freeform 612">
              <a:extLst>
                <a:ext uri="{FF2B5EF4-FFF2-40B4-BE49-F238E27FC236}">
                  <a16:creationId xmlns:a16="http://schemas.microsoft.com/office/drawing/2014/main" id="{58F31B38-B4B2-8D51-DFFF-6EC7BF479E4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19" name="Rectangle 613">
              <a:extLst>
                <a:ext uri="{FF2B5EF4-FFF2-40B4-BE49-F238E27FC236}">
                  <a16:creationId xmlns:a16="http://schemas.microsoft.com/office/drawing/2014/main" id="{638020FC-F7D7-14F9-2770-6356D0D24CF0}"/>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0" name="Freeform 614">
              <a:extLst>
                <a:ext uri="{FF2B5EF4-FFF2-40B4-BE49-F238E27FC236}">
                  <a16:creationId xmlns:a16="http://schemas.microsoft.com/office/drawing/2014/main" id="{DC6AC652-FEB5-13A7-E10D-C6EE486D72B8}"/>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1" name="Freeform 615">
              <a:extLst>
                <a:ext uri="{FF2B5EF4-FFF2-40B4-BE49-F238E27FC236}">
                  <a16:creationId xmlns:a16="http://schemas.microsoft.com/office/drawing/2014/main" id="{8B2ED949-B2F9-076D-F588-703F440D4F62}"/>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2" name="Freeform 616">
              <a:extLst>
                <a:ext uri="{FF2B5EF4-FFF2-40B4-BE49-F238E27FC236}">
                  <a16:creationId xmlns:a16="http://schemas.microsoft.com/office/drawing/2014/main" id="{B3B3FB98-9CDE-9651-2D63-2BEBABD2BBC3}"/>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3" name="Freeform 617">
              <a:extLst>
                <a:ext uri="{FF2B5EF4-FFF2-40B4-BE49-F238E27FC236}">
                  <a16:creationId xmlns:a16="http://schemas.microsoft.com/office/drawing/2014/main" id="{B7E80686-6015-19D0-36CE-33B940D0D3A7}"/>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4" name="Freeform 618">
              <a:extLst>
                <a:ext uri="{FF2B5EF4-FFF2-40B4-BE49-F238E27FC236}">
                  <a16:creationId xmlns:a16="http://schemas.microsoft.com/office/drawing/2014/main" id="{B5C0A2E2-27F9-2372-90C7-BD9C5AD7B04E}"/>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5" name="Freeform 619">
              <a:extLst>
                <a:ext uri="{FF2B5EF4-FFF2-40B4-BE49-F238E27FC236}">
                  <a16:creationId xmlns:a16="http://schemas.microsoft.com/office/drawing/2014/main" id="{89D068AA-ED14-B14C-3FEB-CB3D35834516}"/>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6" name="Freeform 620">
              <a:extLst>
                <a:ext uri="{FF2B5EF4-FFF2-40B4-BE49-F238E27FC236}">
                  <a16:creationId xmlns:a16="http://schemas.microsoft.com/office/drawing/2014/main" id="{224D1A96-286C-3490-AA36-0E5333EAD131}"/>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7" name="Freeform 621">
              <a:extLst>
                <a:ext uri="{FF2B5EF4-FFF2-40B4-BE49-F238E27FC236}">
                  <a16:creationId xmlns:a16="http://schemas.microsoft.com/office/drawing/2014/main" id="{98DA6A9B-6263-1867-7515-519479C04190}"/>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8" name="Freeform 622">
              <a:extLst>
                <a:ext uri="{FF2B5EF4-FFF2-40B4-BE49-F238E27FC236}">
                  <a16:creationId xmlns:a16="http://schemas.microsoft.com/office/drawing/2014/main" id="{2FBD97D0-E144-D99A-3815-6E7177C5B2F6}"/>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29" name="Freeform 623">
              <a:extLst>
                <a:ext uri="{FF2B5EF4-FFF2-40B4-BE49-F238E27FC236}">
                  <a16:creationId xmlns:a16="http://schemas.microsoft.com/office/drawing/2014/main" id="{981FBA5D-8BBF-6C5C-5BB1-528173D3102B}"/>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0" name="Freeform 624">
              <a:extLst>
                <a:ext uri="{FF2B5EF4-FFF2-40B4-BE49-F238E27FC236}">
                  <a16:creationId xmlns:a16="http://schemas.microsoft.com/office/drawing/2014/main" id="{286E05DF-1C56-354D-5B5D-37EEB3898473}"/>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1" name="Freeform 625">
              <a:extLst>
                <a:ext uri="{FF2B5EF4-FFF2-40B4-BE49-F238E27FC236}">
                  <a16:creationId xmlns:a16="http://schemas.microsoft.com/office/drawing/2014/main" id="{72B6C925-861C-7C6B-DD5D-B1CA6B022B92}"/>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2" name="Freeform 626">
              <a:extLst>
                <a:ext uri="{FF2B5EF4-FFF2-40B4-BE49-F238E27FC236}">
                  <a16:creationId xmlns:a16="http://schemas.microsoft.com/office/drawing/2014/main" id="{D963086F-BCC6-6F6A-F7A0-A95085A7FDF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3" name="Freeform 627">
              <a:extLst>
                <a:ext uri="{FF2B5EF4-FFF2-40B4-BE49-F238E27FC236}">
                  <a16:creationId xmlns:a16="http://schemas.microsoft.com/office/drawing/2014/main" id="{C1FE9B35-ADEF-E6E8-BC24-1B1F8B6DB33E}"/>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4" name="Freeform 628">
              <a:extLst>
                <a:ext uri="{FF2B5EF4-FFF2-40B4-BE49-F238E27FC236}">
                  <a16:creationId xmlns:a16="http://schemas.microsoft.com/office/drawing/2014/main" id="{3BCC217A-D03A-0259-7901-EB5D6A15D12B}"/>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5" name="Freeform 629">
              <a:extLst>
                <a:ext uri="{FF2B5EF4-FFF2-40B4-BE49-F238E27FC236}">
                  <a16:creationId xmlns:a16="http://schemas.microsoft.com/office/drawing/2014/main" id="{B5ECA121-A749-A128-C044-7EAB5B2283CE}"/>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6" name="Freeform 630">
              <a:extLst>
                <a:ext uri="{FF2B5EF4-FFF2-40B4-BE49-F238E27FC236}">
                  <a16:creationId xmlns:a16="http://schemas.microsoft.com/office/drawing/2014/main" id="{4926E8DA-D1F6-16E1-BC12-6216F1334DCD}"/>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7" name="Freeform 631">
              <a:extLst>
                <a:ext uri="{FF2B5EF4-FFF2-40B4-BE49-F238E27FC236}">
                  <a16:creationId xmlns:a16="http://schemas.microsoft.com/office/drawing/2014/main" id="{75400766-72F8-2BBA-8719-5C978591470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8" name="Freeform 632">
              <a:extLst>
                <a:ext uri="{FF2B5EF4-FFF2-40B4-BE49-F238E27FC236}">
                  <a16:creationId xmlns:a16="http://schemas.microsoft.com/office/drawing/2014/main" id="{1F8F170E-6FA7-4D05-CC92-E3950EDBE3B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39" name="Freeform 633">
              <a:extLst>
                <a:ext uri="{FF2B5EF4-FFF2-40B4-BE49-F238E27FC236}">
                  <a16:creationId xmlns:a16="http://schemas.microsoft.com/office/drawing/2014/main" id="{9FB2ADE2-E026-6828-1C91-8365E945DADE}"/>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0" name="Freeform 634">
              <a:extLst>
                <a:ext uri="{FF2B5EF4-FFF2-40B4-BE49-F238E27FC236}">
                  <a16:creationId xmlns:a16="http://schemas.microsoft.com/office/drawing/2014/main" id="{6F953B15-6EA0-6FAC-EBE0-823F36A0AA0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1" name="Freeform 635">
              <a:extLst>
                <a:ext uri="{FF2B5EF4-FFF2-40B4-BE49-F238E27FC236}">
                  <a16:creationId xmlns:a16="http://schemas.microsoft.com/office/drawing/2014/main" id="{02D2BA9C-EAAA-B9C0-7C03-5EF9D7ACD3E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2" name="Freeform 636">
              <a:extLst>
                <a:ext uri="{FF2B5EF4-FFF2-40B4-BE49-F238E27FC236}">
                  <a16:creationId xmlns:a16="http://schemas.microsoft.com/office/drawing/2014/main" id="{5304BB6B-A698-E364-7E4B-516B2ECA06F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3" name="Freeform 637">
              <a:extLst>
                <a:ext uri="{FF2B5EF4-FFF2-40B4-BE49-F238E27FC236}">
                  <a16:creationId xmlns:a16="http://schemas.microsoft.com/office/drawing/2014/main" id="{C406D1FD-2923-E01F-3D9A-D7D9CC7EE3EE}"/>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4" name="Freeform 638">
              <a:extLst>
                <a:ext uri="{FF2B5EF4-FFF2-40B4-BE49-F238E27FC236}">
                  <a16:creationId xmlns:a16="http://schemas.microsoft.com/office/drawing/2014/main" id="{CDFB61ED-C272-B4EB-D440-AA9ACBF0AA7C}"/>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5" name="Freeform 639">
              <a:extLst>
                <a:ext uri="{FF2B5EF4-FFF2-40B4-BE49-F238E27FC236}">
                  <a16:creationId xmlns:a16="http://schemas.microsoft.com/office/drawing/2014/main" id="{20A1DDD3-296F-DDFE-8339-31DECE695B43}"/>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6" name="Freeform 640">
              <a:extLst>
                <a:ext uri="{FF2B5EF4-FFF2-40B4-BE49-F238E27FC236}">
                  <a16:creationId xmlns:a16="http://schemas.microsoft.com/office/drawing/2014/main" id="{FD8E7561-3E85-C948-E144-72780B8D2095}"/>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7" name="Freeform 641">
              <a:extLst>
                <a:ext uri="{FF2B5EF4-FFF2-40B4-BE49-F238E27FC236}">
                  <a16:creationId xmlns:a16="http://schemas.microsoft.com/office/drawing/2014/main" id="{12205441-6D62-9470-59D6-D66538863075}"/>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8" name="Freeform 642">
              <a:extLst>
                <a:ext uri="{FF2B5EF4-FFF2-40B4-BE49-F238E27FC236}">
                  <a16:creationId xmlns:a16="http://schemas.microsoft.com/office/drawing/2014/main" id="{E33265E7-B781-684B-3603-ED16C74C3862}"/>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49" name="Freeform 643">
              <a:extLst>
                <a:ext uri="{FF2B5EF4-FFF2-40B4-BE49-F238E27FC236}">
                  <a16:creationId xmlns:a16="http://schemas.microsoft.com/office/drawing/2014/main" id="{414841E1-7323-7BAD-42E9-D13E49060D82}"/>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0" name="Freeform 644">
              <a:extLst>
                <a:ext uri="{FF2B5EF4-FFF2-40B4-BE49-F238E27FC236}">
                  <a16:creationId xmlns:a16="http://schemas.microsoft.com/office/drawing/2014/main" id="{293EA9EC-4FE8-46A6-8CEF-41A14CB20C4B}"/>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1" name="Freeform 645">
              <a:extLst>
                <a:ext uri="{FF2B5EF4-FFF2-40B4-BE49-F238E27FC236}">
                  <a16:creationId xmlns:a16="http://schemas.microsoft.com/office/drawing/2014/main" id="{16F3CCC1-EBA8-564E-73FA-A2FA837494BE}"/>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2" name="Freeform 646">
              <a:extLst>
                <a:ext uri="{FF2B5EF4-FFF2-40B4-BE49-F238E27FC236}">
                  <a16:creationId xmlns:a16="http://schemas.microsoft.com/office/drawing/2014/main" id="{DED035A8-12ED-6681-2112-DBFE297FF5B8}"/>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3" name="Freeform 647">
              <a:extLst>
                <a:ext uri="{FF2B5EF4-FFF2-40B4-BE49-F238E27FC236}">
                  <a16:creationId xmlns:a16="http://schemas.microsoft.com/office/drawing/2014/main" id="{9AF1EB34-3560-891F-9D70-E14DD3ADA30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4" name="Freeform 648">
              <a:extLst>
                <a:ext uri="{FF2B5EF4-FFF2-40B4-BE49-F238E27FC236}">
                  <a16:creationId xmlns:a16="http://schemas.microsoft.com/office/drawing/2014/main" id="{FE2710EE-1552-B8ED-FC97-1292AA2C90D6}"/>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5" name="Freeform 649">
              <a:extLst>
                <a:ext uri="{FF2B5EF4-FFF2-40B4-BE49-F238E27FC236}">
                  <a16:creationId xmlns:a16="http://schemas.microsoft.com/office/drawing/2014/main" id="{E019B45F-A7BE-9DE7-2A18-8613F5D673A6}"/>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6" name="Freeform 650">
              <a:extLst>
                <a:ext uri="{FF2B5EF4-FFF2-40B4-BE49-F238E27FC236}">
                  <a16:creationId xmlns:a16="http://schemas.microsoft.com/office/drawing/2014/main" id="{6C940C09-AECA-DF3A-2C45-1382CF627F72}"/>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7" name="Freeform 651">
              <a:extLst>
                <a:ext uri="{FF2B5EF4-FFF2-40B4-BE49-F238E27FC236}">
                  <a16:creationId xmlns:a16="http://schemas.microsoft.com/office/drawing/2014/main" id="{FD7D3307-BCED-647F-C076-FD745EB0423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8" name="Freeform 652">
              <a:extLst>
                <a:ext uri="{FF2B5EF4-FFF2-40B4-BE49-F238E27FC236}">
                  <a16:creationId xmlns:a16="http://schemas.microsoft.com/office/drawing/2014/main" id="{F7FE509C-7C21-C82F-D23B-4062F9CC0F79}"/>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59" name="Freeform 653">
              <a:extLst>
                <a:ext uri="{FF2B5EF4-FFF2-40B4-BE49-F238E27FC236}">
                  <a16:creationId xmlns:a16="http://schemas.microsoft.com/office/drawing/2014/main" id="{38213574-9927-A47E-312A-F9CA214ACA2A}"/>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0" name="Freeform 654">
              <a:extLst>
                <a:ext uri="{FF2B5EF4-FFF2-40B4-BE49-F238E27FC236}">
                  <a16:creationId xmlns:a16="http://schemas.microsoft.com/office/drawing/2014/main" id="{80CBE8F7-92CF-8847-6B22-20C38C2168F1}"/>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1" name="Freeform 655">
              <a:extLst>
                <a:ext uri="{FF2B5EF4-FFF2-40B4-BE49-F238E27FC236}">
                  <a16:creationId xmlns:a16="http://schemas.microsoft.com/office/drawing/2014/main" id="{0795024D-DCE3-2B72-E52F-E8CEFC0669E7}"/>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2" name="Freeform 656">
              <a:extLst>
                <a:ext uri="{FF2B5EF4-FFF2-40B4-BE49-F238E27FC236}">
                  <a16:creationId xmlns:a16="http://schemas.microsoft.com/office/drawing/2014/main" id="{5968E453-DCE3-3A93-1DC8-A0BEAB07F964}"/>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3" name="Freeform 657">
              <a:extLst>
                <a:ext uri="{FF2B5EF4-FFF2-40B4-BE49-F238E27FC236}">
                  <a16:creationId xmlns:a16="http://schemas.microsoft.com/office/drawing/2014/main" id="{93B6756F-5234-DBF7-C40A-85B3B56E9384}"/>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4" name="Freeform 658">
              <a:extLst>
                <a:ext uri="{FF2B5EF4-FFF2-40B4-BE49-F238E27FC236}">
                  <a16:creationId xmlns:a16="http://schemas.microsoft.com/office/drawing/2014/main" id="{ED921AA1-9804-8A34-08D6-ADDC82117A19}"/>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5" name="Freeform 659">
              <a:extLst>
                <a:ext uri="{FF2B5EF4-FFF2-40B4-BE49-F238E27FC236}">
                  <a16:creationId xmlns:a16="http://schemas.microsoft.com/office/drawing/2014/main" id="{18AD56F4-001A-8FB7-38E5-42AB04BC3D81}"/>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6" name="Freeform 660">
              <a:extLst>
                <a:ext uri="{FF2B5EF4-FFF2-40B4-BE49-F238E27FC236}">
                  <a16:creationId xmlns:a16="http://schemas.microsoft.com/office/drawing/2014/main" id="{755E81E4-5F91-79F3-85D7-FA0B5C6369C3}"/>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7" name="Freeform 661">
              <a:extLst>
                <a:ext uri="{FF2B5EF4-FFF2-40B4-BE49-F238E27FC236}">
                  <a16:creationId xmlns:a16="http://schemas.microsoft.com/office/drawing/2014/main" id="{25CE45C5-D7C3-2196-9B34-FF5C7AA1FFC4}"/>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8" name="Freeform 662">
              <a:extLst>
                <a:ext uri="{FF2B5EF4-FFF2-40B4-BE49-F238E27FC236}">
                  <a16:creationId xmlns:a16="http://schemas.microsoft.com/office/drawing/2014/main" id="{54D470AE-4FC7-3647-66A6-710D36B3FA05}"/>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69" name="Freeform 663">
              <a:extLst>
                <a:ext uri="{FF2B5EF4-FFF2-40B4-BE49-F238E27FC236}">
                  <a16:creationId xmlns:a16="http://schemas.microsoft.com/office/drawing/2014/main" id="{B6D9670E-DA69-3987-A8E7-55E6A2CA5ED3}"/>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0" name="Freeform 664">
              <a:extLst>
                <a:ext uri="{FF2B5EF4-FFF2-40B4-BE49-F238E27FC236}">
                  <a16:creationId xmlns:a16="http://schemas.microsoft.com/office/drawing/2014/main" id="{88B82641-D043-DC4F-34F7-33191DCA9AF0}"/>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1" name="Freeform 665">
              <a:extLst>
                <a:ext uri="{FF2B5EF4-FFF2-40B4-BE49-F238E27FC236}">
                  <a16:creationId xmlns:a16="http://schemas.microsoft.com/office/drawing/2014/main" id="{BB64C234-4A31-F5AB-5D3A-77BD69BCB88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2" name="Freeform 666">
              <a:extLst>
                <a:ext uri="{FF2B5EF4-FFF2-40B4-BE49-F238E27FC236}">
                  <a16:creationId xmlns:a16="http://schemas.microsoft.com/office/drawing/2014/main" id="{C06A4200-B52F-6040-2686-3830AF6AF3BF}"/>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3" name="Freeform 667">
              <a:extLst>
                <a:ext uri="{FF2B5EF4-FFF2-40B4-BE49-F238E27FC236}">
                  <a16:creationId xmlns:a16="http://schemas.microsoft.com/office/drawing/2014/main" id="{D128F876-2038-A73B-920F-79DDFE3B44FA}"/>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4" name="Freeform 668">
              <a:extLst>
                <a:ext uri="{FF2B5EF4-FFF2-40B4-BE49-F238E27FC236}">
                  <a16:creationId xmlns:a16="http://schemas.microsoft.com/office/drawing/2014/main" id="{3DDCFC55-D0CD-2E44-258A-3D6C914F945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5" name="Freeform 669">
              <a:extLst>
                <a:ext uri="{FF2B5EF4-FFF2-40B4-BE49-F238E27FC236}">
                  <a16:creationId xmlns:a16="http://schemas.microsoft.com/office/drawing/2014/main" id="{B46418C3-B70F-0061-F1BF-7D6A29B1E259}"/>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6" name="Freeform 670">
              <a:extLst>
                <a:ext uri="{FF2B5EF4-FFF2-40B4-BE49-F238E27FC236}">
                  <a16:creationId xmlns:a16="http://schemas.microsoft.com/office/drawing/2014/main" id="{11440664-3E1B-09A6-3256-02444D801F19}"/>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7" name="Freeform 671">
              <a:extLst>
                <a:ext uri="{FF2B5EF4-FFF2-40B4-BE49-F238E27FC236}">
                  <a16:creationId xmlns:a16="http://schemas.microsoft.com/office/drawing/2014/main" id="{41028DB3-D8F1-8EAB-15F0-01787FB9810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8" name="Freeform 672">
              <a:extLst>
                <a:ext uri="{FF2B5EF4-FFF2-40B4-BE49-F238E27FC236}">
                  <a16:creationId xmlns:a16="http://schemas.microsoft.com/office/drawing/2014/main" id="{9933812B-1A66-22A1-2CDC-58516FE40E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79" name="Freeform 673">
              <a:extLst>
                <a:ext uri="{FF2B5EF4-FFF2-40B4-BE49-F238E27FC236}">
                  <a16:creationId xmlns:a16="http://schemas.microsoft.com/office/drawing/2014/main" id="{C73240F9-D207-955E-C26B-9D3388A61BF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0" name="Freeform 674">
              <a:extLst>
                <a:ext uri="{FF2B5EF4-FFF2-40B4-BE49-F238E27FC236}">
                  <a16:creationId xmlns:a16="http://schemas.microsoft.com/office/drawing/2014/main" id="{9A88BB17-494F-3C3C-BE63-252CBDB0C3AA}"/>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1" name="Freeform 675">
              <a:extLst>
                <a:ext uri="{FF2B5EF4-FFF2-40B4-BE49-F238E27FC236}">
                  <a16:creationId xmlns:a16="http://schemas.microsoft.com/office/drawing/2014/main" id="{E34C75C2-4D09-5B53-A3F5-3F2325759B86}"/>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2" name="Freeform 676">
              <a:extLst>
                <a:ext uri="{FF2B5EF4-FFF2-40B4-BE49-F238E27FC236}">
                  <a16:creationId xmlns:a16="http://schemas.microsoft.com/office/drawing/2014/main" id="{E101D9B4-AB9F-01CB-377C-E5691B778ECF}"/>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3" name="Freeform 677">
              <a:extLst>
                <a:ext uri="{FF2B5EF4-FFF2-40B4-BE49-F238E27FC236}">
                  <a16:creationId xmlns:a16="http://schemas.microsoft.com/office/drawing/2014/main" id="{9B615CFF-AFC1-EA6E-3B29-12724D768593}"/>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4" name="Freeform 678">
              <a:extLst>
                <a:ext uri="{FF2B5EF4-FFF2-40B4-BE49-F238E27FC236}">
                  <a16:creationId xmlns:a16="http://schemas.microsoft.com/office/drawing/2014/main" id="{79B3319D-86C4-4531-7847-2E6384AB67BB}"/>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5" name="Freeform 679">
              <a:extLst>
                <a:ext uri="{FF2B5EF4-FFF2-40B4-BE49-F238E27FC236}">
                  <a16:creationId xmlns:a16="http://schemas.microsoft.com/office/drawing/2014/main" id="{71450613-79BE-A47F-AF3C-AED20F793336}"/>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6" name="Freeform 680">
              <a:extLst>
                <a:ext uri="{FF2B5EF4-FFF2-40B4-BE49-F238E27FC236}">
                  <a16:creationId xmlns:a16="http://schemas.microsoft.com/office/drawing/2014/main" id="{52968D14-E7A0-32E2-E86F-9D078245F8F6}"/>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7" name="Freeform 681">
              <a:extLst>
                <a:ext uri="{FF2B5EF4-FFF2-40B4-BE49-F238E27FC236}">
                  <a16:creationId xmlns:a16="http://schemas.microsoft.com/office/drawing/2014/main" id="{6B1E86E3-1B65-A685-4583-F045AEC16086}"/>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8" name="Freeform 682">
              <a:extLst>
                <a:ext uri="{FF2B5EF4-FFF2-40B4-BE49-F238E27FC236}">
                  <a16:creationId xmlns:a16="http://schemas.microsoft.com/office/drawing/2014/main" id="{89E6B861-238F-7D64-0FCF-82B7F8F42024}"/>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89" name="Freeform 683">
              <a:extLst>
                <a:ext uri="{FF2B5EF4-FFF2-40B4-BE49-F238E27FC236}">
                  <a16:creationId xmlns:a16="http://schemas.microsoft.com/office/drawing/2014/main" id="{C5833D5D-25D9-C25A-8767-D9A792B9344A}"/>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0" name="Freeform 684">
              <a:extLst>
                <a:ext uri="{FF2B5EF4-FFF2-40B4-BE49-F238E27FC236}">
                  <a16:creationId xmlns:a16="http://schemas.microsoft.com/office/drawing/2014/main" id="{106552D6-C061-31F7-5C07-12F40A68506A}"/>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1" name="Freeform 685">
              <a:extLst>
                <a:ext uri="{FF2B5EF4-FFF2-40B4-BE49-F238E27FC236}">
                  <a16:creationId xmlns:a16="http://schemas.microsoft.com/office/drawing/2014/main" id="{104BFFEF-E2F4-A8BF-9DDD-DF62779C571B}"/>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2" name="Freeform 686">
              <a:extLst>
                <a:ext uri="{FF2B5EF4-FFF2-40B4-BE49-F238E27FC236}">
                  <a16:creationId xmlns:a16="http://schemas.microsoft.com/office/drawing/2014/main" id="{E5C99E6B-B504-2FBA-6C86-0B71B9B8A619}"/>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3" name="Freeform 687">
              <a:extLst>
                <a:ext uri="{FF2B5EF4-FFF2-40B4-BE49-F238E27FC236}">
                  <a16:creationId xmlns:a16="http://schemas.microsoft.com/office/drawing/2014/main" id="{A9F931D6-7891-360E-AE51-A405AD51E15D}"/>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4" name="Freeform 688">
              <a:extLst>
                <a:ext uri="{FF2B5EF4-FFF2-40B4-BE49-F238E27FC236}">
                  <a16:creationId xmlns:a16="http://schemas.microsoft.com/office/drawing/2014/main" id="{37FBBA4C-9AD0-1FC3-89A3-ED8C22C9AE6F}"/>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5" name="Freeform 689">
              <a:extLst>
                <a:ext uri="{FF2B5EF4-FFF2-40B4-BE49-F238E27FC236}">
                  <a16:creationId xmlns:a16="http://schemas.microsoft.com/office/drawing/2014/main" id="{F99AF8B1-2399-7997-9781-1444DE7B2117}"/>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6" name="Freeform 690">
              <a:extLst>
                <a:ext uri="{FF2B5EF4-FFF2-40B4-BE49-F238E27FC236}">
                  <a16:creationId xmlns:a16="http://schemas.microsoft.com/office/drawing/2014/main" id="{C942FFEF-533D-0BD4-D461-95348DFFD50E}"/>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7" name="Freeform 691">
              <a:extLst>
                <a:ext uri="{FF2B5EF4-FFF2-40B4-BE49-F238E27FC236}">
                  <a16:creationId xmlns:a16="http://schemas.microsoft.com/office/drawing/2014/main" id="{A12BFD72-FF6E-EF71-1A19-6633844A405A}"/>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8" name="Freeform 692">
              <a:extLst>
                <a:ext uri="{FF2B5EF4-FFF2-40B4-BE49-F238E27FC236}">
                  <a16:creationId xmlns:a16="http://schemas.microsoft.com/office/drawing/2014/main" id="{8BA940E7-0401-966B-7369-0875B30C923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299" name="Freeform 693">
              <a:extLst>
                <a:ext uri="{FF2B5EF4-FFF2-40B4-BE49-F238E27FC236}">
                  <a16:creationId xmlns:a16="http://schemas.microsoft.com/office/drawing/2014/main" id="{2A9B4E72-5C47-F23A-0F4C-F1D69CF22A5D}"/>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0" name="Freeform 694">
              <a:extLst>
                <a:ext uri="{FF2B5EF4-FFF2-40B4-BE49-F238E27FC236}">
                  <a16:creationId xmlns:a16="http://schemas.microsoft.com/office/drawing/2014/main" id="{451A26C5-E6F2-DE4A-6A80-A7135748D9EF}"/>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1" name="Freeform 695">
              <a:extLst>
                <a:ext uri="{FF2B5EF4-FFF2-40B4-BE49-F238E27FC236}">
                  <a16:creationId xmlns:a16="http://schemas.microsoft.com/office/drawing/2014/main" id="{26936565-0DB2-4C81-8750-C5E4AD4D9E8E}"/>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2" name="Freeform 696">
              <a:extLst>
                <a:ext uri="{FF2B5EF4-FFF2-40B4-BE49-F238E27FC236}">
                  <a16:creationId xmlns:a16="http://schemas.microsoft.com/office/drawing/2014/main" id="{10B789B3-71DC-2264-582D-A956A80BF690}"/>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3" name="Freeform 697">
              <a:extLst>
                <a:ext uri="{FF2B5EF4-FFF2-40B4-BE49-F238E27FC236}">
                  <a16:creationId xmlns:a16="http://schemas.microsoft.com/office/drawing/2014/main" id="{89C152EA-87DF-E821-6DF0-8AB203680ED6}"/>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4" name="Freeform 698">
              <a:extLst>
                <a:ext uri="{FF2B5EF4-FFF2-40B4-BE49-F238E27FC236}">
                  <a16:creationId xmlns:a16="http://schemas.microsoft.com/office/drawing/2014/main" id="{57E08B58-484A-8A5B-514D-94C3F6E9DE6C}"/>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5" name="Freeform 699">
              <a:extLst>
                <a:ext uri="{FF2B5EF4-FFF2-40B4-BE49-F238E27FC236}">
                  <a16:creationId xmlns:a16="http://schemas.microsoft.com/office/drawing/2014/main" id="{958C7770-8690-A429-DEB0-2BAC0FF2AF51}"/>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6" name="Freeform 700">
              <a:extLst>
                <a:ext uri="{FF2B5EF4-FFF2-40B4-BE49-F238E27FC236}">
                  <a16:creationId xmlns:a16="http://schemas.microsoft.com/office/drawing/2014/main" id="{165ED38E-31D9-B87F-2F28-D7085F6E30AD}"/>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7" name="Freeform 701">
              <a:extLst>
                <a:ext uri="{FF2B5EF4-FFF2-40B4-BE49-F238E27FC236}">
                  <a16:creationId xmlns:a16="http://schemas.microsoft.com/office/drawing/2014/main" id="{66673B4C-DB8E-C335-DD0A-0A4749704FC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8" name="Freeform 702">
              <a:extLst>
                <a:ext uri="{FF2B5EF4-FFF2-40B4-BE49-F238E27FC236}">
                  <a16:creationId xmlns:a16="http://schemas.microsoft.com/office/drawing/2014/main" id="{06B71911-5C5C-1888-A718-8E6A1B355A07}"/>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09" name="Freeform 703">
              <a:extLst>
                <a:ext uri="{FF2B5EF4-FFF2-40B4-BE49-F238E27FC236}">
                  <a16:creationId xmlns:a16="http://schemas.microsoft.com/office/drawing/2014/main" id="{B75A20D5-C7CF-7D77-47C0-744F913E01D8}"/>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0" name="Freeform 704">
              <a:extLst>
                <a:ext uri="{FF2B5EF4-FFF2-40B4-BE49-F238E27FC236}">
                  <a16:creationId xmlns:a16="http://schemas.microsoft.com/office/drawing/2014/main" id="{06452B2D-62A4-0695-90C8-9F9EC7CF724A}"/>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1" name="Freeform 705">
              <a:extLst>
                <a:ext uri="{FF2B5EF4-FFF2-40B4-BE49-F238E27FC236}">
                  <a16:creationId xmlns:a16="http://schemas.microsoft.com/office/drawing/2014/main" id="{B93C8963-52A5-C6C5-2F62-6E8C5590FBD5}"/>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2" name="Freeform 706">
              <a:extLst>
                <a:ext uri="{FF2B5EF4-FFF2-40B4-BE49-F238E27FC236}">
                  <a16:creationId xmlns:a16="http://schemas.microsoft.com/office/drawing/2014/main" id="{CFE55234-2E5E-61E7-E068-5388FC155168}"/>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3" name="Freeform 707">
              <a:extLst>
                <a:ext uri="{FF2B5EF4-FFF2-40B4-BE49-F238E27FC236}">
                  <a16:creationId xmlns:a16="http://schemas.microsoft.com/office/drawing/2014/main" id="{B5901926-2312-6BD3-63C4-FA4497461D6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4" name="Freeform 708">
              <a:extLst>
                <a:ext uri="{FF2B5EF4-FFF2-40B4-BE49-F238E27FC236}">
                  <a16:creationId xmlns:a16="http://schemas.microsoft.com/office/drawing/2014/main" id="{44DFBBB7-109E-584F-7FC1-1B8BA318D382}"/>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5" name="Freeform 709">
              <a:extLst>
                <a:ext uri="{FF2B5EF4-FFF2-40B4-BE49-F238E27FC236}">
                  <a16:creationId xmlns:a16="http://schemas.microsoft.com/office/drawing/2014/main" id="{0A81B812-0F0C-0E07-E503-63EE304DF500}"/>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6" name="Freeform 710">
              <a:extLst>
                <a:ext uri="{FF2B5EF4-FFF2-40B4-BE49-F238E27FC236}">
                  <a16:creationId xmlns:a16="http://schemas.microsoft.com/office/drawing/2014/main" id="{93E1070C-D437-5CA8-279B-000F90E3060C}"/>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7" name="Freeform 711">
              <a:extLst>
                <a:ext uri="{FF2B5EF4-FFF2-40B4-BE49-F238E27FC236}">
                  <a16:creationId xmlns:a16="http://schemas.microsoft.com/office/drawing/2014/main" id="{903646EC-E5B4-3F94-9E2E-FC628CC43B5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8" name="Freeform 712">
              <a:extLst>
                <a:ext uri="{FF2B5EF4-FFF2-40B4-BE49-F238E27FC236}">
                  <a16:creationId xmlns:a16="http://schemas.microsoft.com/office/drawing/2014/main" id="{F80740B7-5FC8-CFA9-94E7-AD412EE3136E}"/>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19" name="Freeform 713">
              <a:extLst>
                <a:ext uri="{FF2B5EF4-FFF2-40B4-BE49-F238E27FC236}">
                  <a16:creationId xmlns:a16="http://schemas.microsoft.com/office/drawing/2014/main" id="{67D1173F-6C18-AB00-5F28-384D5C16E406}"/>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0" name="Freeform 714">
              <a:extLst>
                <a:ext uri="{FF2B5EF4-FFF2-40B4-BE49-F238E27FC236}">
                  <a16:creationId xmlns:a16="http://schemas.microsoft.com/office/drawing/2014/main" id="{1C145E1D-DA66-A2C8-88DF-E51E6E96093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1" name="Freeform 715">
              <a:extLst>
                <a:ext uri="{FF2B5EF4-FFF2-40B4-BE49-F238E27FC236}">
                  <a16:creationId xmlns:a16="http://schemas.microsoft.com/office/drawing/2014/main" id="{A559955F-4EAA-FDF0-6835-FD32115B048C}"/>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2" name="Freeform 716">
              <a:extLst>
                <a:ext uri="{FF2B5EF4-FFF2-40B4-BE49-F238E27FC236}">
                  <a16:creationId xmlns:a16="http://schemas.microsoft.com/office/drawing/2014/main" id="{9F5CD7D0-F509-AEAB-75F7-6425388AD7EE}"/>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3" name="Freeform 717">
              <a:extLst>
                <a:ext uri="{FF2B5EF4-FFF2-40B4-BE49-F238E27FC236}">
                  <a16:creationId xmlns:a16="http://schemas.microsoft.com/office/drawing/2014/main" id="{31361D04-CA0C-4DA1-561D-CB7DD9F4B29B}"/>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4" name="Freeform 718">
              <a:extLst>
                <a:ext uri="{FF2B5EF4-FFF2-40B4-BE49-F238E27FC236}">
                  <a16:creationId xmlns:a16="http://schemas.microsoft.com/office/drawing/2014/main" id="{99B294CE-FE8B-D1D1-DE1A-7DE2D99721D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5" name="Freeform 719">
              <a:extLst>
                <a:ext uri="{FF2B5EF4-FFF2-40B4-BE49-F238E27FC236}">
                  <a16:creationId xmlns:a16="http://schemas.microsoft.com/office/drawing/2014/main" id="{EAD3575C-9778-9FF7-8945-F3F30D2AD051}"/>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6" name="Freeform 720">
              <a:extLst>
                <a:ext uri="{FF2B5EF4-FFF2-40B4-BE49-F238E27FC236}">
                  <a16:creationId xmlns:a16="http://schemas.microsoft.com/office/drawing/2014/main" id="{4CECEA5B-AE06-D369-C448-76BD0CE3522A}"/>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7" name="Freeform 721">
              <a:extLst>
                <a:ext uri="{FF2B5EF4-FFF2-40B4-BE49-F238E27FC236}">
                  <a16:creationId xmlns:a16="http://schemas.microsoft.com/office/drawing/2014/main" id="{315EDC0E-2AD8-DDB9-0954-0A554D60D716}"/>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8" name="Freeform 722">
              <a:extLst>
                <a:ext uri="{FF2B5EF4-FFF2-40B4-BE49-F238E27FC236}">
                  <a16:creationId xmlns:a16="http://schemas.microsoft.com/office/drawing/2014/main" id="{DD206EC6-741B-96A8-DBD3-0054CD759225}"/>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29" name="Freeform 723">
              <a:extLst>
                <a:ext uri="{FF2B5EF4-FFF2-40B4-BE49-F238E27FC236}">
                  <a16:creationId xmlns:a16="http://schemas.microsoft.com/office/drawing/2014/main" id="{3B6F3B01-065E-CAC7-B28E-8585D78DA89B}"/>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0" name="Freeform 724">
              <a:extLst>
                <a:ext uri="{FF2B5EF4-FFF2-40B4-BE49-F238E27FC236}">
                  <a16:creationId xmlns:a16="http://schemas.microsoft.com/office/drawing/2014/main" id="{E4E3C4D6-F644-66BA-793C-B263EC4A2B1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1" name="Freeform 725">
              <a:extLst>
                <a:ext uri="{FF2B5EF4-FFF2-40B4-BE49-F238E27FC236}">
                  <a16:creationId xmlns:a16="http://schemas.microsoft.com/office/drawing/2014/main" id="{82DC20F0-EDF1-4D5B-76D3-0E760E46680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2" name="Freeform 726">
              <a:extLst>
                <a:ext uri="{FF2B5EF4-FFF2-40B4-BE49-F238E27FC236}">
                  <a16:creationId xmlns:a16="http://schemas.microsoft.com/office/drawing/2014/main" id="{B3B49531-9993-2A93-84E4-74A01F5F2C82}"/>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3" name="Freeform 727">
              <a:extLst>
                <a:ext uri="{FF2B5EF4-FFF2-40B4-BE49-F238E27FC236}">
                  <a16:creationId xmlns:a16="http://schemas.microsoft.com/office/drawing/2014/main" id="{CBCDD975-F4F0-DE8C-CF11-A532C45B7567}"/>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4" name="Freeform 728">
              <a:extLst>
                <a:ext uri="{FF2B5EF4-FFF2-40B4-BE49-F238E27FC236}">
                  <a16:creationId xmlns:a16="http://schemas.microsoft.com/office/drawing/2014/main" id="{1866E8E6-3733-12E4-3849-78D13459BCF1}"/>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5" name="Freeform 729">
              <a:extLst>
                <a:ext uri="{FF2B5EF4-FFF2-40B4-BE49-F238E27FC236}">
                  <a16:creationId xmlns:a16="http://schemas.microsoft.com/office/drawing/2014/main" id="{2965D781-3F7A-DEC3-90CE-AE5B5872D40E}"/>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6" name="Freeform 730">
              <a:extLst>
                <a:ext uri="{FF2B5EF4-FFF2-40B4-BE49-F238E27FC236}">
                  <a16:creationId xmlns:a16="http://schemas.microsoft.com/office/drawing/2014/main" id="{68E33788-CD6C-0296-DA8E-69AEBD4C5C79}"/>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7" name="Freeform 731">
              <a:extLst>
                <a:ext uri="{FF2B5EF4-FFF2-40B4-BE49-F238E27FC236}">
                  <a16:creationId xmlns:a16="http://schemas.microsoft.com/office/drawing/2014/main" id="{C98D06B0-995E-2F3E-7E9E-0280379A9BBA}"/>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8" name="Freeform 732">
              <a:extLst>
                <a:ext uri="{FF2B5EF4-FFF2-40B4-BE49-F238E27FC236}">
                  <a16:creationId xmlns:a16="http://schemas.microsoft.com/office/drawing/2014/main" id="{D324FC51-06A9-680E-1BAF-36F35D3308E2}"/>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39" name="Freeform 733">
              <a:extLst>
                <a:ext uri="{FF2B5EF4-FFF2-40B4-BE49-F238E27FC236}">
                  <a16:creationId xmlns:a16="http://schemas.microsoft.com/office/drawing/2014/main" id="{5080915A-88CB-C0DB-6C0F-D404B400AA04}"/>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0" name="Freeform 734">
              <a:extLst>
                <a:ext uri="{FF2B5EF4-FFF2-40B4-BE49-F238E27FC236}">
                  <a16:creationId xmlns:a16="http://schemas.microsoft.com/office/drawing/2014/main" id="{093F8470-773A-89AC-F7D3-3CEA4D9FDB2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1" name="Freeform 735">
              <a:extLst>
                <a:ext uri="{FF2B5EF4-FFF2-40B4-BE49-F238E27FC236}">
                  <a16:creationId xmlns:a16="http://schemas.microsoft.com/office/drawing/2014/main" id="{67050536-025E-4AF1-E7BC-01F88E55E029}"/>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2" name="Freeform 736">
              <a:extLst>
                <a:ext uri="{FF2B5EF4-FFF2-40B4-BE49-F238E27FC236}">
                  <a16:creationId xmlns:a16="http://schemas.microsoft.com/office/drawing/2014/main" id="{9ACF4690-BA4F-A05E-0876-0C2271C6211E}"/>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3" name="Freeform 737">
              <a:extLst>
                <a:ext uri="{FF2B5EF4-FFF2-40B4-BE49-F238E27FC236}">
                  <a16:creationId xmlns:a16="http://schemas.microsoft.com/office/drawing/2014/main" id="{D1475939-0357-8B7D-2062-A16991466A6B}"/>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4" name="Freeform 738">
              <a:extLst>
                <a:ext uri="{FF2B5EF4-FFF2-40B4-BE49-F238E27FC236}">
                  <a16:creationId xmlns:a16="http://schemas.microsoft.com/office/drawing/2014/main" id="{03B4FA1B-76CB-10F3-3A70-5710D59F47C8}"/>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5" name="Freeform 739">
              <a:extLst>
                <a:ext uri="{FF2B5EF4-FFF2-40B4-BE49-F238E27FC236}">
                  <a16:creationId xmlns:a16="http://schemas.microsoft.com/office/drawing/2014/main" id="{F94D3519-324A-2C73-E903-C9F0D86ABCC5}"/>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6" name="Freeform 740">
              <a:extLst>
                <a:ext uri="{FF2B5EF4-FFF2-40B4-BE49-F238E27FC236}">
                  <a16:creationId xmlns:a16="http://schemas.microsoft.com/office/drawing/2014/main" id="{BBDA03E1-F86F-985B-9F05-7EF0938965AE}"/>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7" name="Freeform 741">
              <a:extLst>
                <a:ext uri="{FF2B5EF4-FFF2-40B4-BE49-F238E27FC236}">
                  <a16:creationId xmlns:a16="http://schemas.microsoft.com/office/drawing/2014/main" id="{5A5198F6-8E2F-49E2-60BF-9E503D976CBE}"/>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8" name="Freeform 742">
              <a:extLst>
                <a:ext uri="{FF2B5EF4-FFF2-40B4-BE49-F238E27FC236}">
                  <a16:creationId xmlns:a16="http://schemas.microsoft.com/office/drawing/2014/main" id="{FF6D576A-3AAF-CCB8-88A4-0914CEF6FAAF}"/>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49" name="Freeform 743">
              <a:extLst>
                <a:ext uri="{FF2B5EF4-FFF2-40B4-BE49-F238E27FC236}">
                  <a16:creationId xmlns:a16="http://schemas.microsoft.com/office/drawing/2014/main" id="{25F4953E-7C28-A9A3-43EF-ED49830C0548}"/>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0" name="Freeform 744">
              <a:extLst>
                <a:ext uri="{FF2B5EF4-FFF2-40B4-BE49-F238E27FC236}">
                  <a16:creationId xmlns:a16="http://schemas.microsoft.com/office/drawing/2014/main" id="{5DE123DA-6EE2-E1F8-9576-A1792785C9D5}"/>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1" name="Freeform 745">
              <a:extLst>
                <a:ext uri="{FF2B5EF4-FFF2-40B4-BE49-F238E27FC236}">
                  <a16:creationId xmlns:a16="http://schemas.microsoft.com/office/drawing/2014/main" id="{D7D967B2-89AB-FCAE-48CF-611CB65B7A6F}"/>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2" name="Freeform 746">
              <a:extLst>
                <a:ext uri="{FF2B5EF4-FFF2-40B4-BE49-F238E27FC236}">
                  <a16:creationId xmlns:a16="http://schemas.microsoft.com/office/drawing/2014/main" id="{630AB04B-1F69-C1EF-7184-76AD1BF6E2EC}"/>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3" name="Freeform 747">
              <a:extLst>
                <a:ext uri="{FF2B5EF4-FFF2-40B4-BE49-F238E27FC236}">
                  <a16:creationId xmlns:a16="http://schemas.microsoft.com/office/drawing/2014/main" id="{DC913762-AAF6-6AC7-D3E2-7D0B487BCFC4}"/>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4" name="Freeform 748">
              <a:extLst>
                <a:ext uri="{FF2B5EF4-FFF2-40B4-BE49-F238E27FC236}">
                  <a16:creationId xmlns:a16="http://schemas.microsoft.com/office/drawing/2014/main" id="{1746B4A2-12CE-6DAF-C076-13133FFA2A2B}"/>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5" name="Freeform 749">
              <a:extLst>
                <a:ext uri="{FF2B5EF4-FFF2-40B4-BE49-F238E27FC236}">
                  <a16:creationId xmlns:a16="http://schemas.microsoft.com/office/drawing/2014/main" id="{65357697-BEBF-EF62-9167-891386E7364C}"/>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6" name="Freeform 750">
              <a:extLst>
                <a:ext uri="{FF2B5EF4-FFF2-40B4-BE49-F238E27FC236}">
                  <a16:creationId xmlns:a16="http://schemas.microsoft.com/office/drawing/2014/main" id="{A9CF77F6-C5FC-142C-A2C6-DC9D68756F4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7" name="Freeform 751">
              <a:extLst>
                <a:ext uri="{FF2B5EF4-FFF2-40B4-BE49-F238E27FC236}">
                  <a16:creationId xmlns:a16="http://schemas.microsoft.com/office/drawing/2014/main" id="{C5DB11A2-12A4-D4D5-EC64-855E51FD032D}"/>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8" name="Freeform 752">
              <a:extLst>
                <a:ext uri="{FF2B5EF4-FFF2-40B4-BE49-F238E27FC236}">
                  <a16:creationId xmlns:a16="http://schemas.microsoft.com/office/drawing/2014/main" id="{366A9261-4DD6-72B2-2BBD-9333BBB7E76D}"/>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59" name="Freeform 753">
              <a:extLst>
                <a:ext uri="{FF2B5EF4-FFF2-40B4-BE49-F238E27FC236}">
                  <a16:creationId xmlns:a16="http://schemas.microsoft.com/office/drawing/2014/main" id="{BAE16CE0-C6D8-35D2-AB27-5B08ECEB7C07}"/>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0" name="Freeform 754">
              <a:extLst>
                <a:ext uri="{FF2B5EF4-FFF2-40B4-BE49-F238E27FC236}">
                  <a16:creationId xmlns:a16="http://schemas.microsoft.com/office/drawing/2014/main" id="{63442DA6-52DA-98F2-F74D-C48621B2AB46}"/>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1" name="Freeform 755">
              <a:extLst>
                <a:ext uri="{FF2B5EF4-FFF2-40B4-BE49-F238E27FC236}">
                  <a16:creationId xmlns:a16="http://schemas.microsoft.com/office/drawing/2014/main" id="{BA3F8BFB-618B-73C8-8679-9C85D275525F}"/>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2" name="Freeform 756">
              <a:extLst>
                <a:ext uri="{FF2B5EF4-FFF2-40B4-BE49-F238E27FC236}">
                  <a16:creationId xmlns:a16="http://schemas.microsoft.com/office/drawing/2014/main" id="{71E3E8AE-3592-A9D4-222D-C9C51FA9BD69}"/>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3" name="Freeform 757">
              <a:extLst>
                <a:ext uri="{FF2B5EF4-FFF2-40B4-BE49-F238E27FC236}">
                  <a16:creationId xmlns:a16="http://schemas.microsoft.com/office/drawing/2014/main" id="{FF5CDE12-C76E-A0A8-CD8A-B34FEBB9EE21}"/>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4" name="Freeform 758">
              <a:extLst>
                <a:ext uri="{FF2B5EF4-FFF2-40B4-BE49-F238E27FC236}">
                  <a16:creationId xmlns:a16="http://schemas.microsoft.com/office/drawing/2014/main" id="{A5FBC009-22D4-CE83-E300-8C63A1D9358A}"/>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5" name="Freeform 759">
              <a:extLst>
                <a:ext uri="{FF2B5EF4-FFF2-40B4-BE49-F238E27FC236}">
                  <a16:creationId xmlns:a16="http://schemas.microsoft.com/office/drawing/2014/main" id="{302E0F6F-D4A1-CE29-1CA3-4CD869698C25}"/>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6" name="Freeform 760">
              <a:extLst>
                <a:ext uri="{FF2B5EF4-FFF2-40B4-BE49-F238E27FC236}">
                  <a16:creationId xmlns:a16="http://schemas.microsoft.com/office/drawing/2014/main" id="{FD06E21B-B9F0-24E6-61F0-59C3108DCCF9}"/>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7" name="Freeform 761">
              <a:extLst>
                <a:ext uri="{FF2B5EF4-FFF2-40B4-BE49-F238E27FC236}">
                  <a16:creationId xmlns:a16="http://schemas.microsoft.com/office/drawing/2014/main" id="{95B023A8-09EE-A1AA-73E4-12AFE150721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8" name="Freeform 762">
              <a:extLst>
                <a:ext uri="{FF2B5EF4-FFF2-40B4-BE49-F238E27FC236}">
                  <a16:creationId xmlns:a16="http://schemas.microsoft.com/office/drawing/2014/main" id="{F26F9879-AE5C-CF23-A526-68D1BBD46E2C}"/>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69" name="Freeform 763">
              <a:extLst>
                <a:ext uri="{FF2B5EF4-FFF2-40B4-BE49-F238E27FC236}">
                  <a16:creationId xmlns:a16="http://schemas.microsoft.com/office/drawing/2014/main" id="{47CA5348-93FF-464A-1F1B-7182553B83F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0" name="Freeform 764">
              <a:extLst>
                <a:ext uri="{FF2B5EF4-FFF2-40B4-BE49-F238E27FC236}">
                  <a16:creationId xmlns:a16="http://schemas.microsoft.com/office/drawing/2014/main" id="{DA24C972-6760-C4A4-0D90-E07E3472466D}"/>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1" name="Freeform 765">
              <a:extLst>
                <a:ext uri="{FF2B5EF4-FFF2-40B4-BE49-F238E27FC236}">
                  <a16:creationId xmlns:a16="http://schemas.microsoft.com/office/drawing/2014/main" id="{1B505139-35E9-BBA4-CD9A-B6C0BE2399F6}"/>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2" name="Freeform 766">
              <a:extLst>
                <a:ext uri="{FF2B5EF4-FFF2-40B4-BE49-F238E27FC236}">
                  <a16:creationId xmlns:a16="http://schemas.microsoft.com/office/drawing/2014/main" id="{B1C3C924-6387-D585-4DCE-9C941C663541}"/>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3" name="Freeform 767">
              <a:extLst>
                <a:ext uri="{FF2B5EF4-FFF2-40B4-BE49-F238E27FC236}">
                  <a16:creationId xmlns:a16="http://schemas.microsoft.com/office/drawing/2014/main" id="{42E25C53-1603-3206-2CD3-828462005AFE}"/>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4" name="Freeform 768">
              <a:extLst>
                <a:ext uri="{FF2B5EF4-FFF2-40B4-BE49-F238E27FC236}">
                  <a16:creationId xmlns:a16="http://schemas.microsoft.com/office/drawing/2014/main" id="{BED4E3E5-75AF-84C9-BA23-EC3879039952}"/>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5" name="Freeform 769">
              <a:extLst>
                <a:ext uri="{FF2B5EF4-FFF2-40B4-BE49-F238E27FC236}">
                  <a16:creationId xmlns:a16="http://schemas.microsoft.com/office/drawing/2014/main" id="{4B8A6D0B-5010-7F85-4C73-C40760B52A32}"/>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6" name="Freeform 770">
              <a:extLst>
                <a:ext uri="{FF2B5EF4-FFF2-40B4-BE49-F238E27FC236}">
                  <a16:creationId xmlns:a16="http://schemas.microsoft.com/office/drawing/2014/main" id="{F410B285-0877-DCB0-7F01-FC4119487591}"/>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7" name="Freeform 771">
              <a:extLst>
                <a:ext uri="{FF2B5EF4-FFF2-40B4-BE49-F238E27FC236}">
                  <a16:creationId xmlns:a16="http://schemas.microsoft.com/office/drawing/2014/main" id="{E456745E-F83E-33DA-D4BE-54CF92069DE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8" name="Freeform 772">
              <a:extLst>
                <a:ext uri="{FF2B5EF4-FFF2-40B4-BE49-F238E27FC236}">
                  <a16:creationId xmlns:a16="http://schemas.microsoft.com/office/drawing/2014/main" id="{1F963E20-32FD-D397-4D3C-9B85EB7560DA}"/>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79" name="Freeform 773">
              <a:extLst>
                <a:ext uri="{FF2B5EF4-FFF2-40B4-BE49-F238E27FC236}">
                  <a16:creationId xmlns:a16="http://schemas.microsoft.com/office/drawing/2014/main" id="{3DBE976A-575F-4A1C-5111-3D2354DB7928}"/>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0" name="Freeform 774">
              <a:extLst>
                <a:ext uri="{FF2B5EF4-FFF2-40B4-BE49-F238E27FC236}">
                  <a16:creationId xmlns:a16="http://schemas.microsoft.com/office/drawing/2014/main" id="{0FCAFD4E-807B-9356-0152-9FBFBBD8AD47}"/>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1" name="Freeform 775">
              <a:extLst>
                <a:ext uri="{FF2B5EF4-FFF2-40B4-BE49-F238E27FC236}">
                  <a16:creationId xmlns:a16="http://schemas.microsoft.com/office/drawing/2014/main" id="{20F0884E-0FF5-C86C-E1DC-E70D6D628206}"/>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2" name="Freeform 776">
              <a:extLst>
                <a:ext uri="{FF2B5EF4-FFF2-40B4-BE49-F238E27FC236}">
                  <a16:creationId xmlns:a16="http://schemas.microsoft.com/office/drawing/2014/main" id="{8373A2AA-1CCE-45E0-5805-91B8AD8517B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3" name="Freeform 777">
              <a:extLst>
                <a:ext uri="{FF2B5EF4-FFF2-40B4-BE49-F238E27FC236}">
                  <a16:creationId xmlns:a16="http://schemas.microsoft.com/office/drawing/2014/main" id="{5FE8AF2E-A21A-75A5-4E8F-6074FA1CD8B2}"/>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4" name="Freeform 778">
              <a:extLst>
                <a:ext uri="{FF2B5EF4-FFF2-40B4-BE49-F238E27FC236}">
                  <a16:creationId xmlns:a16="http://schemas.microsoft.com/office/drawing/2014/main" id="{9A850A62-D099-9A5E-88FD-7A207DB189C4}"/>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5" name="Freeform 779">
              <a:extLst>
                <a:ext uri="{FF2B5EF4-FFF2-40B4-BE49-F238E27FC236}">
                  <a16:creationId xmlns:a16="http://schemas.microsoft.com/office/drawing/2014/main" id="{45BED549-7EBB-D347-F68B-CA60EA2CBD22}"/>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6" name="Freeform 780">
              <a:extLst>
                <a:ext uri="{FF2B5EF4-FFF2-40B4-BE49-F238E27FC236}">
                  <a16:creationId xmlns:a16="http://schemas.microsoft.com/office/drawing/2014/main" id="{C321E66A-0D11-DE87-871C-987981D2DD44}"/>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7" name="Freeform 782">
              <a:extLst>
                <a:ext uri="{FF2B5EF4-FFF2-40B4-BE49-F238E27FC236}">
                  <a16:creationId xmlns:a16="http://schemas.microsoft.com/office/drawing/2014/main" id="{EB9DC835-E9F6-CD7D-FD1B-5386B5CDCA71}"/>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8" name="Freeform 783">
              <a:extLst>
                <a:ext uri="{FF2B5EF4-FFF2-40B4-BE49-F238E27FC236}">
                  <a16:creationId xmlns:a16="http://schemas.microsoft.com/office/drawing/2014/main" id="{E5B1C62D-2ABB-2F6F-0DE5-DD300F9F8D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89" name="Freeform 784">
              <a:extLst>
                <a:ext uri="{FF2B5EF4-FFF2-40B4-BE49-F238E27FC236}">
                  <a16:creationId xmlns:a16="http://schemas.microsoft.com/office/drawing/2014/main" id="{B8A87A09-7EB3-298E-5B11-63EADAACB47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0" name="Freeform 785">
              <a:extLst>
                <a:ext uri="{FF2B5EF4-FFF2-40B4-BE49-F238E27FC236}">
                  <a16:creationId xmlns:a16="http://schemas.microsoft.com/office/drawing/2014/main" id="{41DEBC4D-7BB5-D1B2-27A4-1AAE2FCAA5A0}"/>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1" name="Freeform 786">
              <a:extLst>
                <a:ext uri="{FF2B5EF4-FFF2-40B4-BE49-F238E27FC236}">
                  <a16:creationId xmlns:a16="http://schemas.microsoft.com/office/drawing/2014/main" id="{6FE62D74-46A8-6826-65B9-F8B3F0412A7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2" name="Freeform 787">
              <a:extLst>
                <a:ext uri="{FF2B5EF4-FFF2-40B4-BE49-F238E27FC236}">
                  <a16:creationId xmlns:a16="http://schemas.microsoft.com/office/drawing/2014/main" id="{456E6F03-F69E-46B8-C7B6-F2D28B005C18}"/>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3" name="Freeform 788">
              <a:extLst>
                <a:ext uri="{FF2B5EF4-FFF2-40B4-BE49-F238E27FC236}">
                  <a16:creationId xmlns:a16="http://schemas.microsoft.com/office/drawing/2014/main" id="{632C601E-ABDD-D2F7-D669-3C8CA1948288}"/>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4" name="Freeform 789">
              <a:extLst>
                <a:ext uri="{FF2B5EF4-FFF2-40B4-BE49-F238E27FC236}">
                  <a16:creationId xmlns:a16="http://schemas.microsoft.com/office/drawing/2014/main" id="{F38D1D3F-B792-58C0-2674-D7ED192122A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5" name="Freeform 790">
              <a:extLst>
                <a:ext uri="{FF2B5EF4-FFF2-40B4-BE49-F238E27FC236}">
                  <a16:creationId xmlns:a16="http://schemas.microsoft.com/office/drawing/2014/main" id="{50F0F0FF-0D1D-F4DC-AF7E-70438D1D6CA9}"/>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6" name="Freeform 791">
              <a:extLst>
                <a:ext uri="{FF2B5EF4-FFF2-40B4-BE49-F238E27FC236}">
                  <a16:creationId xmlns:a16="http://schemas.microsoft.com/office/drawing/2014/main" id="{1B7CD378-82DC-878E-248F-C4C1646B5FAB}"/>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7" name="Freeform 792">
              <a:extLst>
                <a:ext uri="{FF2B5EF4-FFF2-40B4-BE49-F238E27FC236}">
                  <a16:creationId xmlns:a16="http://schemas.microsoft.com/office/drawing/2014/main" id="{BF926A77-4CF1-328E-352F-64534D454972}"/>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8" name="Freeform 793">
              <a:extLst>
                <a:ext uri="{FF2B5EF4-FFF2-40B4-BE49-F238E27FC236}">
                  <a16:creationId xmlns:a16="http://schemas.microsoft.com/office/drawing/2014/main" id="{53B4D79E-D8AE-E127-B218-011BA4C13B1E}"/>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399" name="Freeform 794">
              <a:extLst>
                <a:ext uri="{FF2B5EF4-FFF2-40B4-BE49-F238E27FC236}">
                  <a16:creationId xmlns:a16="http://schemas.microsoft.com/office/drawing/2014/main" id="{AD8DD909-DAE6-428B-B6FD-FE27611564F7}"/>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0" name="Freeform 795">
              <a:extLst>
                <a:ext uri="{FF2B5EF4-FFF2-40B4-BE49-F238E27FC236}">
                  <a16:creationId xmlns:a16="http://schemas.microsoft.com/office/drawing/2014/main" id="{FEF1616A-A94F-C6EF-8C1F-4FD364E12D7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1" name="Freeform 796">
              <a:extLst>
                <a:ext uri="{FF2B5EF4-FFF2-40B4-BE49-F238E27FC236}">
                  <a16:creationId xmlns:a16="http://schemas.microsoft.com/office/drawing/2014/main" id="{36587C3C-6D8B-6E0C-C9F2-2392198E0463}"/>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sp>
          <p:nvSpPr>
            <p:cNvPr id="402" name="Freeform 797">
              <a:extLst>
                <a:ext uri="{FF2B5EF4-FFF2-40B4-BE49-F238E27FC236}">
                  <a16:creationId xmlns:a16="http://schemas.microsoft.com/office/drawing/2014/main" id="{177EC0AF-C13B-3E6A-2D64-0148F30CDAD8}"/>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dirty="0">
                <a:latin typeface="Josefin Sans" pitchFamily="2" charset="77"/>
              </a:endParaRPr>
            </a:p>
          </p:txBody>
        </p:sp>
      </p:grpSp>
      <p:sp>
        <p:nvSpPr>
          <p:cNvPr id="405" name="Freeform 86">
            <a:extLst>
              <a:ext uri="{FF2B5EF4-FFF2-40B4-BE49-F238E27FC236}">
                <a16:creationId xmlns:a16="http://schemas.microsoft.com/office/drawing/2014/main" id="{72CBB354-173D-8D9C-C06D-F4E2264E4A8C}"/>
              </a:ext>
            </a:extLst>
          </p:cNvPr>
          <p:cNvSpPr>
            <a:spLocks noChangeAspect="1" noChangeArrowheads="1"/>
          </p:cNvSpPr>
          <p:nvPr/>
        </p:nvSpPr>
        <p:spPr bwMode="auto">
          <a:xfrm>
            <a:off x="1145076" y="250309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06" name="Pie 831">
            <a:extLst>
              <a:ext uri="{FF2B5EF4-FFF2-40B4-BE49-F238E27FC236}">
                <a16:creationId xmlns:a16="http://schemas.microsoft.com/office/drawing/2014/main" id="{1857EBCA-DDE6-043B-9F49-761A4812D588}"/>
              </a:ext>
            </a:extLst>
          </p:cNvPr>
          <p:cNvSpPr>
            <a:spLocks/>
          </p:cNvSpPr>
          <p:nvPr/>
        </p:nvSpPr>
        <p:spPr>
          <a:xfrm>
            <a:off x="1146930" y="2503055"/>
            <a:ext cx="530519" cy="532408"/>
          </a:xfrm>
          <a:prstGeom prst="pie">
            <a:avLst>
              <a:gd name="adj1" fmla="val 16144891"/>
              <a:gd name="adj2" fmla="val 1879692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7" name="Freeform 86">
            <a:extLst>
              <a:ext uri="{FF2B5EF4-FFF2-40B4-BE49-F238E27FC236}">
                <a16:creationId xmlns:a16="http://schemas.microsoft.com/office/drawing/2014/main" id="{37EAB32B-B538-FCB3-D611-F313C5D9D78C}"/>
              </a:ext>
            </a:extLst>
          </p:cNvPr>
          <p:cNvSpPr>
            <a:spLocks noChangeAspect="1" noChangeArrowheads="1"/>
          </p:cNvSpPr>
          <p:nvPr/>
        </p:nvSpPr>
        <p:spPr bwMode="auto">
          <a:xfrm>
            <a:off x="6080540" y="3645509"/>
            <a:ext cx="532374" cy="532409"/>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08" name="Pie 833">
            <a:extLst>
              <a:ext uri="{FF2B5EF4-FFF2-40B4-BE49-F238E27FC236}">
                <a16:creationId xmlns:a16="http://schemas.microsoft.com/office/drawing/2014/main" id="{AA5DBB49-E778-8785-9060-AA9757666C9B}"/>
              </a:ext>
            </a:extLst>
          </p:cNvPr>
          <p:cNvSpPr>
            <a:spLocks/>
          </p:cNvSpPr>
          <p:nvPr/>
        </p:nvSpPr>
        <p:spPr>
          <a:xfrm>
            <a:off x="6082394" y="3645475"/>
            <a:ext cx="530519" cy="532408"/>
          </a:xfrm>
          <a:prstGeom prst="pie">
            <a:avLst>
              <a:gd name="adj1" fmla="val 18174612"/>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09" name="Freeform 86">
            <a:extLst>
              <a:ext uri="{FF2B5EF4-FFF2-40B4-BE49-F238E27FC236}">
                <a16:creationId xmlns:a16="http://schemas.microsoft.com/office/drawing/2014/main" id="{FFF2A373-8721-E814-FB9C-F796A0DFF1C0}"/>
              </a:ext>
            </a:extLst>
          </p:cNvPr>
          <p:cNvSpPr>
            <a:spLocks noChangeAspect="1" noChangeArrowheads="1"/>
          </p:cNvSpPr>
          <p:nvPr/>
        </p:nvSpPr>
        <p:spPr bwMode="auto">
          <a:xfrm>
            <a:off x="4113639" y="3846892"/>
            <a:ext cx="532374" cy="532409"/>
          </a:xfrm>
          <a:prstGeom prst="ellipse">
            <a:avLst/>
          </a:prstGeom>
          <a:solidFill>
            <a:schemeClr val="accent3"/>
          </a:solidFill>
          <a:ln w="57150">
            <a:noFill/>
          </a:ln>
          <a:effectLst/>
        </p:spPr>
        <p:txBody>
          <a:bodyPr wrap="none" anchor="ctr"/>
          <a:lstStyle/>
          <a:p>
            <a:endParaRPr lang="en-US" sz="9950" b="1" dirty="0">
              <a:latin typeface="Roboto Bold" charset="0"/>
            </a:endParaRPr>
          </a:p>
        </p:txBody>
      </p:sp>
      <p:sp>
        <p:nvSpPr>
          <p:cNvPr id="410" name="Pie 835">
            <a:extLst>
              <a:ext uri="{FF2B5EF4-FFF2-40B4-BE49-F238E27FC236}">
                <a16:creationId xmlns:a16="http://schemas.microsoft.com/office/drawing/2014/main" id="{FB4353AC-71C7-9ABF-8E25-6E5A619E9F40}"/>
              </a:ext>
            </a:extLst>
          </p:cNvPr>
          <p:cNvSpPr>
            <a:spLocks/>
          </p:cNvSpPr>
          <p:nvPr/>
        </p:nvSpPr>
        <p:spPr>
          <a:xfrm>
            <a:off x="4115492" y="3846857"/>
            <a:ext cx="530519" cy="532408"/>
          </a:xfrm>
          <a:prstGeom prst="pie">
            <a:avLst>
              <a:gd name="adj1" fmla="val 9134016"/>
              <a:gd name="adj2" fmla="val 16173805"/>
            </a:avLst>
          </a:prstGeom>
          <a:pattFill prst="zigZag">
            <a:fgClr>
              <a:schemeClr val="accent3"/>
            </a:fgClr>
            <a:bgClr>
              <a:schemeClr val="accent3">
                <a:lumMod val="9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1" name="Freeform 86">
            <a:extLst>
              <a:ext uri="{FF2B5EF4-FFF2-40B4-BE49-F238E27FC236}">
                <a16:creationId xmlns:a16="http://schemas.microsoft.com/office/drawing/2014/main" id="{A87B853E-0147-5046-7AD4-A6A1A93233C6}"/>
              </a:ext>
            </a:extLst>
          </p:cNvPr>
          <p:cNvSpPr>
            <a:spLocks noChangeAspect="1" noChangeArrowheads="1"/>
          </p:cNvSpPr>
          <p:nvPr/>
        </p:nvSpPr>
        <p:spPr bwMode="auto">
          <a:xfrm>
            <a:off x="2711536" y="5200823"/>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12" name="Pie 837">
            <a:extLst>
              <a:ext uri="{FF2B5EF4-FFF2-40B4-BE49-F238E27FC236}">
                <a16:creationId xmlns:a16="http://schemas.microsoft.com/office/drawing/2014/main" id="{AA3CEF0D-1736-BBAC-6344-2329506917C0}"/>
              </a:ext>
            </a:extLst>
          </p:cNvPr>
          <p:cNvSpPr>
            <a:spLocks/>
          </p:cNvSpPr>
          <p:nvPr/>
        </p:nvSpPr>
        <p:spPr>
          <a:xfrm>
            <a:off x="2713390" y="5200788"/>
            <a:ext cx="530519" cy="532408"/>
          </a:xfrm>
          <a:prstGeom prst="pie">
            <a:avLst>
              <a:gd name="adj1" fmla="val 16245108"/>
              <a:gd name="adj2" fmla="val 2271406"/>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3" name="Freeform 86">
            <a:extLst>
              <a:ext uri="{FF2B5EF4-FFF2-40B4-BE49-F238E27FC236}">
                <a16:creationId xmlns:a16="http://schemas.microsoft.com/office/drawing/2014/main" id="{A13CEDCE-E69E-89C5-5665-978BD0247BFE}"/>
              </a:ext>
            </a:extLst>
          </p:cNvPr>
          <p:cNvSpPr>
            <a:spLocks noChangeAspect="1" noChangeArrowheads="1"/>
          </p:cNvSpPr>
          <p:nvPr/>
        </p:nvSpPr>
        <p:spPr bwMode="auto">
          <a:xfrm>
            <a:off x="2179162" y="391174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4" name="Pie 839">
            <a:extLst>
              <a:ext uri="{FF2B5EF4-FFF2-40B4-BE49-F238E27FC236}">
                <a16:creationId xmlns:a16="http://schemas.microsoft.com/office/drawing/2014/main" id="{98342883-9414-7917-5D7F-B353EF3136C6}"/>
              </a:ext>
            </a:extLst>
          </p:cNvPr>
          <p:cNvSpPr>
            <a:spLocks/>
          </p:cNvSpPr>
          <p:nvPr/>
        </p:nvSpPr>
        <p:spPr>
          <a:xfrm>
            <a:off x="2181016" y="3911714"/>
            <a:ext cx="530519" cy="532408"/>
          </a:xfrm>
          <a:prstGeom prst="pie">
            <a:avLst>
              <a:gd name="adj1" fmla="val 5406099"/>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5" name="Freeform 86">
            <a:extLst>
              <a:ext uri="{FF2B5EF4-FFF2-40B4-BE49-F238E27FC236}">
                <a16:creationId xmlns:a16="http://schemas.microsoft.com/office/drawing/2014/main" id="{86DB6392-39F1-8DCD-7C66-FB795FE4FD20}"/>
              </a:ext>
            </a:extLst>
          </p:cNvPr>
          <p:cNvSpPr>
            <a:spLocks noChangeAspect="1" noChangeArrowheads="1"/>
          </p:cNvSpPr>
          <p:nvPr/>
        </p:nvSpPr>
        <p:spPr bwMode="auto">
          <a:xfrm>
            <a:off x="5251722" y="2703150"/>
            <a:ext cx="532374" cy="532409"/>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16" name="Pie 842">
            <a:extLst>
              <a:ext uri="{FF2B5EF4-FFF2-40B4-BE49-F238E27FC236}">
                <a16:creationId xmlns:a16="http://schemas.microsoft.com/office/drawing/2014/main" id="{84A17690-0062-D55C-5383-28F06A705D9A}"/>
              </a:ext>
            </a:extLst>
          </p:cNvPr>
          <p:cNvSpPr>
            <a:spLocks/>
          </p:cNvSpPr>
          <p:nvPr/>
        </p:nvSpPr>
        <p:spPr>
          <a:xfrm>
            <a:off x="5253576" y="2703116"/>
            <a:ext cx="530519" cy="532408"/>
          </a:xfrm>
          <a:prstGeom prst="pie">
            <a:avLst>
              <a:gd name="adj1" fmla="val 16166837"/>
              <a:gd name="adj2" fmla="val 5295224"/>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7" name="Freeform 86">
            <a:extLst>
              <a:ext uri="{FF2B5EF4-FFF2-40B4-BE49-F238E27FC236}">
                <a16:creationId xmlns:a16="http://schemas.microsoft.com/office/drawing/2014/main" id="{0BE45CBD-F973-35E0-2E31-796416B79B01}"/>
              </a:ext>
            </a:extLst>
          </p:cNvPr>
          <p:cNvSpPr>
            <a:spLocks noChangeAspect="1" noChangeArrowheads="1"/>
          </p:cNvSpPr>
          <p:nvPr/>
        </p:nvSpPr>
        <p:spPr bwMode="auto">
          <a:xfrm>
            <a:off x="6905968" y="2643098"/>
            <a:ext cx="532374" cy="532409"/>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18" name="Pie 844">
            <a:extLst>
              <a:ext uri="{FF2B5EF4-FFF2-40B4-BE49-F238E27FC236}">
                <a16:creationId xmlns:a16="http://schemas.microsoft.com/office/drawing/2014/main" id="{F945C801-9E7A-6840-45E2-DDEE5E0C7318}"/>
              </a:ext>
            </a:extLst>
          </p:cNvPr>
          <p:cNvSpPr>
            <a:spLocks/>
          </p:cNvSpPr>
          <p:nvPr/>
        </p:nvSpPr>
        <p:spPr>
          <a:xfrm>
            <a:off x="6907821" y="2643064"/>
            <a:ext cx="530519" cy="532408"/>
          </a:xfrm>
          <a:prstGeom prst="pie">
            <a:avLst>
              <a:gd name="adj1" fmla="val 13818606"/>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19" name="Freeform 86">
            <a:extLst>
              <a:ext uri="{FF2B5EF4-FFF2-40B4-BE49-F238E27FC236}">
                <a16:creationId xmlns:a16="http://schemas.microsoft.com/office/drawing/2014/main" id="{9718075C-7073-E0A1-9C6E-C97E52631D24}"/>
              </a:ext>
            </a:extLst>
          </p:cNvPr>
          <p:cNvSpPr>
            <a:spLocks noChangeAspect="1" noChangeArrowheads="1"/>
          </p:cNvSpPr>
          <p:nvPr/>
        </p:nvSpPr>
        <p:spPr bwMode="auto">
          <a:xfrm>
            <a:off x="7640656" y="4832978"/>
            <a:ext cx="532374" cy="532409"/>
          </a:xfrm>
          <a:prstGeom prst="ellipse">
            <a:avLst/>
          </a:prstGeom>
          <a:solidFill>
            <a:schemeClr val="accent4"/>
          </a:solidFill>
          <a:ln w="57150">
            <a:noFill/>
          </a:ln>
          <a:effectLst/>
        </p:spPr>
        <p:txBody>
          <a:bodyPr wrap="none" anchor="ctr"/>
          <a:lstStyle/>
          <a:p>
            <a:endParaRPr lang="en-US" sz="9950" b="1" dirty="0">
              <a:latin typeface="Roboto Bold" charset="0"/>
            </a:endParaRPr>
          </a:p>
        </p:txBody>
      </p:sp>
      <p:sp>
        <p:nvSpPr>
          <p:cNvPr id="420" name="Pie 846">
            <a:extLst>
              <a:ext uri="{FF2B5EF4-FFF2-40B4-BE49-F238E27FC236}">
                <a16:creationId xmlns:a16="http://schemas.microsoft.com/office/drawing/2014/main" id="{F8F4B1F0-80EF-A091-9AF8-17E975868BE8}"/>
              </a:ext>
            </a:extLst>
          </p:cNvPr>
          <p:cNvSpPr>
            <a:spLocks/>
          </p:cNvSpPr>
          <p:nvPr/>
        </p:nvSpPr>
        <p:spPr>
          <a:xfrm>
            <a:off x="7642510" y="4832943"/>
            <a:ext cx="530519" cy="532408"/>
          </a:xfrm>
          <a:prstGeom prst="pie">
            <a:avLst>
              <a:gd name="adj1" fmla="val 16245108"/>
              <a:gd name="adj2" fmla="val 13314601"/>
            </a:avLst>
          </a:prstGeom>
          <a:pattFill prst="zigZag">
            <a:fgClr>
              <a:schemeClr val="accent4"/>
            </a:fgClr>
            <a:bgClr>
              <a:schemeClr val="accent4">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1" name="TextBox 848">
            <a:extLst>
              <a:ext uri="{FF2B5EF4-FFF2-40B4-BE49-F238E27FC236}">
                <a16:creationId xmlns:a16="http://schemas.microsoft.com/office/drawing/2014/main" id="{0F7F28D5-3124-DAF9-1AB8-9E27B14DF873}"/>
              </a:ext>
            </a:extLst>
          </p:cNvPr>
          <p:cNvSpPr txBox="1"/>
          <p:nvPr/>
        </p:nvSpPr>
        <p:spPr>
          <a:xfrm>
            <a:off x="10013896" y="2432434"/>
            <a:ext cx="1649448" cy="369332"/>
          </a:xfrm>
          <a:prstGeom prst="rect">
            <a:avLst/>
          </a:prstGeom>
          <a:noFill/>
        </p:spPr>
        <p:txBody>
          <a:bodyPr wrap="square" lIns="0" tIns="0" rIns="0" bIns="0" rtlCol="0">
            <a:spAutoFit/>
          </a:bodyPr>
          <a:lstStyle>
            <a:defPPr>
              <a:defRPr lang="en-US"/>
            </a:defPPr>
            <a:lvl1pPr>
              <a:defRPr sz="1400">
                <a:latin typeface="Verdana" panose="020B0604030504040204" pitchFamily="34" charset="0"/>
                <a:ea typeface="Verdana" panose="020B0604030504040204" pitchFamily="34" charset="0"/>
                <a:cs typeface="Verdana" panose="020B0604030504040204" pitchFamily="34" charset="0"/>
              </a:defRPr>
            </a:lvl1pPr>
          </a:lstStyle>
          <a:p>
            <a:r>
              <a:rPr lang="en-US" sz="1200" dirty="0"/>
              <a:t>Lorem ipsum dolor sit </a:t>
            </a:r>
            <a:r>
              <a:rPr lang="en-US" sz="1200" dirty="0" err="1"/>
              <a:t>amet</a:t>
            </a:r>
            <a:r>
              <a:rPr lang="en-US" sz="1200" dirty="0"/>
              <a:t>, </a:t>
            </a:r>
            <a:r>
              <a:rPr lang="en-US" sz="1200" dirty="0" err="1"/>
              <a:t>consectetur</a:t>
            </a:r>
            <a:endParaRPr lang="en-US" sz="1200" dirty="0"/>
          </a:p>
        </p:txBody>
      </p:sp>
      <p:sp>
        <p:nvSpPr>
          <p:cNvPr id="422" name="TextBox 849">
            <a:extLst>
              <a:ext uri="{FF2B5EF4-FFF2-40B4-BE49-F238E27FC236}">
                <a16:creationId xmlns:a16="http://schemas.microsoft.com/office/drawing/2014/main" id="{072E9E79-1421-0E20-71A7-6F8F91BF8033}"/>
              </a:ext>
            </a:extLst>
          </p:cNvPr>
          <p:cNvSpPr txBox="1"/>
          <p:nvPr/>
        </p:nvSpPr>
        <p:spPr>
          <a:xfrm>
            <a:off x="10013895" y="2004364"/>
            <a:ext cx="1446230" cy="369332"/>
          </a:xfrm>
          <a:prstGeom prst="rect">
            <a:avLst/>
          </a:prstGeom>
          <a:noFill/>
        </p:spPr>
        <p:txBody>
          <a:bodyPr wrap="square" lIns="0" tIns="0" rIns="0" bIns="0" rtlCol="0" anchor="b">
            <a:noAutofit/>
          </a:bodyPr>
          <a:lstStyle>
            <a:defPPr>
              <a:defRPr lang="en-US"/>
            </a:defPPr>
            <a:lvl1pP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sz="1400" dirty="0"/>
              <a:t>Your Title</a:t>
            </a:r>
          </a:p>
        </p:txBody>
      </p:sp>
      <p:sp>
        <p:nvSpPr>
          <p:cNvPr id="423" name="Freeform 86">
            <a:extLst>
              <a:ext uri="{FF2B5EF4-FFF2-40B4-BE49-F238E27FC236}">
                <a16:creationId xmlns:a16="http://schemas.microsoft.com/office/drawing/2014/main" id="{0D04A119-414B-CD2E-C453-BC86481957F9}"/>
              </a:ext>
            </a:extLst>
          </p:cNvPr>
          <p:cNvSpPr>
            <a:spLocks noChangeAspect="1" noChangeArrowheads="1"/>
          </p:cNvSpPr>
          <p:nvPr/>
        </p:nvSpPr>
        <p:spPr bwMode="auto">
          <a:xfrm>
            <a:off x="9337528" y="2130966"/>
            <a:ext cx="530519" cy="530554"/>
          </a:xfrm>
          <a:prstGeom prst="ellipse">
            <a:avLst/>
          </a:prstGeom>
          <a:solidFill>
            <a:schemeClr val="accent1"/>
          </a:solidFill>
          <a:ln w="57150">
            <a:noFill/>
          </a:ln>
          <a:effectLst/>
        </p:spPr>
        <p:txBody>
          <a:bodyPr wrap="none" anchor="ctr"/>
          <a:lstStyle/>
          <a:p>
            <a:endParaRPr lang="en-US" sz="9950" b="1" dirty="0">
              <a:latin typeface="Roboto Bold" charset="0"/>
            </a:endParaRPr>
          </a:p>
        </p:txBody>
      </p:sp>
      <p:sp>
        <p:nvSpPr>
          <p:cNvPr id="424" name="Pie 851">
            <a:extLst>
              <a:ext uri="{FF2B5EF4-FFF2-40B4-BE49-F238E27FC236}">
                <a16:creationId xmlns:a16="http://schemas.microsoft.com/office/drawing/2014/main" id="{3B65DEC6-F97B-D79D-F379-4E8E1D366817}"/>
              </a:ext>
            </a:extLst>
          </p:cNvPr>
          <p:cNvSpPr>
            <a:spLocks/>
          </p:cNvSpPr>
          <p:nvPr/>
        </p:nvSpPr>
        <p:spPr>
          <a:xfrm>
            <a:off x="9339375" y="2130932"/>
            <a:ext cx="528671" cy="530553"/>
          </a:xfrm>
          <a:prstGeom prst="pie">
            <a:avLst>
              <a:gd name="adj1" fmla="val 10821908"/>
              <a:gd name="adj2" fmla="val 16173805"/>
            </a:avLst>
          </a:prstGeom>
          <a:pattFill prst="zigZag">
            <a:fgClr>
              <a:schemeClr val="accent1"/>
            </a:fgClr>
            <a:bgClr>
              <a:schemeClr val="accent1">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5" name="TextBox 853">
            <a:extLst>
              <a:ext uri="{FF2B5EF4-FFF2-40B4-BE49-F238E27FC236}">
                <a16:creationId xmlns:a16="http://schemas.microsoft.com/office/drawing/2014/main" id="{2668182C-E1FC-71F9-0B2C-14CACD97DA37}"/>
              </a:ext>
            </a:extLst>
          </p:cNvPr>
          <p:cNvSpPr txBox="1"/>
          <p:nvPr/>
        </p:nvSpPr>
        <p:spPr>
          <a:xfrm>
            <a:off x="10006708" y="3879591"/>
            <a:ext cx="1631999"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26" name="TextBox 854">
            <a:extLst>
              <a:ext uri="{FF2B5EF4-FFF2-40B4-BE49-F238E27FC236}">
                <a16:creationId xmlns:a16="http://schemas.microsoft.com/office/drawing/2014/main" id="{F34AD066-830B-5F1C-62CF-EB30CEBFCF0F}"/>
              </a:ext>
            </a:extLst>
          </p:cNvPr>
          <p:cNvSpPr txBox="1"/>
          <p:nvPr/>
        </p:nvSpPr>
        <p:spPr>
          <a:xfrm>
            <a:off x="10006707" y="3499146"/>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27" name="Freeform 86">
            <a:extLst>
              <a:ext uri="{FF2B5EF4-FFF2-40B4-BE49-F238E27FC236}">
                <a16:creationId xmlns:a16="http://schemas.microsoft.com/office/drawing/2014/main" id="{8726E497-600B-E5ED-668F-3A29BED2CB5E}"/>
              </a:ext>
            </a:extLst>
          </p:cNvPr>
          <p:cNvSpPr>
            <a:spLocks noChangeAspect="1" noChangeArrowheads="1"/>
          </p:cNvSpPr>
          <p:nvPr/>
        </p:nvSpPr>
        <p:spPr bwMode="auto">
          <a:xfrm>
            <a:off x="9330340" y="3578123"/>
            <a:ext cx="530519" cy="530554"/>
          </a:xfrm>
          <a:prstGeom prst="ellipse">
            <a:avLst/>
          </a:prstGeom>
          <a:solidFill>
            <a:schemeClr val="accent2"/>
          </a:solidFill>
          <a:ln w="57150">
            <a:noFill/>
          </a:ln>
          <a:effectLst/>
        </p:spPr>
        <p:txBody>
          <a:bodyPr wrap="none" anchor="ctr"/>
          <a:lstStyle/>
          <a:p>
            <a:endParaRPr lang="en-US" sz="9950" b="1" dirty="0">
              <a:latin typeface="Roboto Bold" charset="0"/>
            </a:endParaRPr>
          </a:p>
        </p:txBody>
      </p:sp>
      <p:sp>
        <p:nvSpPr>
          <p:cNvPr id="428" name="Pie 857">
            <a:extLst>
              <a:ext uri="{FF2B5EF4-FFF2-40B4-BE49-F238E27FC236}">
                <a16:creationId xmlns:a16="http://schemas.microsoft.com/office/drawing/2014/main" id="{ECABAE1A-6CE8-4FC9-687F-C828FA05B1FA}"/>
              </a:ext>
            </a:extLst>
          </p:cNvPr>
          <p:cNvSpPr>
            <a:spLocks/>
          </p:cNvSpPr>
          <p:nvPr/>
        </p:nvSpPr>
        <p:spPr>
          <a:xfrm>
            <a:off x="9332188" y="3578089"/>
            <a:ext cx="528671" cy="530553"/>
          </a:xfrm>
          <a:prstGeom prst="pie">
            <a:avLst>
              <a:gd name="adj1" fmla="val 10821908"/>
              <a:gd name="adj2" fmla="val 16173805"/>
            </a:avLst>
          </a:prstGeom>
          <a:pattFill prst="zigZag">
            <a:fgClr>
              <a:schemeClr val="accent2"/>
            </a:fgClr>
            <a:bgClr>
              <a:schemeClr val="accent2">
                <a:lumMod val="60000"/>
                <a:lumOff val="40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429" name="TextBox 858">
            <a:extLst>
              <a:ext uri="{FF2B5EF4-FFF2-40B4-BE49-F238E27FC236}">
                <a16:creationId xmlns:a16="http://schemas.microsoft.com/office/drawing/2014/main" id="{927E00CC-6326-0E67-7C38-470EEE31F06A}"/>
              </a:ext>
            </a:extLst>
          </p:cNvPr>
          <p:cNvSpPr txBox="1"/>
          <p:nvPr/>
        </p:nvSpPr>
        <p:spPr>
          <a:xfrm>
            <a:off x="10001639" y="5287405"/>
            <a:ext cx="1649448"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30" name="TextBox 859">
            <a:extLst>
              <a:ext uri="{FF2B5EF4-FFF2-40B4-BE49-F238E27FC236}">
                <a16:creationId xmlns:a16="http://schemas.microsoft.com/office/drawing/2014/main" id="{F5F0A4F1-1C08-0959-FFDD-9EA89078CAD4}"/>
              </a:ext>
            </a:extLst>
          </p:cNvPr>
          <p:cNvSpPr txBox="1"/>
          <p:nvPr/>
        </p:nvSpPr>
        <p:spPr>
          <a:xfrm>
            <a:off x="10001638" y="4906960"/>
            <a:ext cx="1164101"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431" name="Freeform 86">
            <a:extLst>
              <a:ext uri="{FF2B5EF4-FFF2-40B4-BE49-F238E27FC236}">
                <a16:creationId xmlns:a16="http://schemas.microsoft.com/office/drawing/2014/main" id="{B6BEE8BB-D4FD-7108-2D9F-971B3FAEB95D}"/>
              </a:ext>
            </a:extLst>
          </p:cNvPr>
          <p:cNvSpPr>
            <a:spLocks noChangeAspect="1" noChangeArrowheads="1"/>
          </p:cNvSpPr>
          <p:nvPr/>
        </p:nvSpPr>
        <p:spPr bwMode="auto">
          <a:xfrm>
            <a:off x="9325271" y="4985937"/>
            <a:ext cx="530519" cy="530554"/>
          </a:xfrm>
          <a:prstGeom prst="ellipse">
            <a:avLst/>
          </a:prstGeom>
          <a:solidFill>
            <a:schemeClr val="accent5"/>
          </a:solidFill>
          <a:ln w="57150">
            <a:noFill/>
          </a:ln>
          <a:effectLst/>
        </p:spPr>
        <p:txBody>
          <a:bodyPr wrap="none" anchor="ctr"/>
          <a:lstStyle/>
          <a:p>
            <a:endParaRPr lang="en-US" sz="9950" b="1" dirty="0">
              <a:latin typeface="Roboto Bold" charset="0"/>
            </a:endParaRPr>
          </a:p>
        </p:txBody>
      </p:sp>
      <p:sp>
        <p:nvSpPr>
          <p:cNvPr id="432" name="Pie 862">
            <a:extLst>
              <a:ext uri="{FF2B5EF4-FFF2-40B4-BE49-F238E27FC236}">
                <a16:creationId xmlns:a16="http://schemas.microsoft.com/office/drawing/2014/main" id="{B7D3F76F-4133-24D5-137B-928AE96FA17B}"/>
              </a:ext>
            </a:extLst>
          </p:cNvPr>
          <p:cNvSpPr>
            <a:spLocks/>
          </p:cNvSpPr>
          <p:nvPr/>
        </p:nvSpPr>
        <p:spPr>
          <a:xfrm>
            <a:off x="9327119" y="4985903"/>
            <a:ext cx="528671" cy="530553"/>
          </a:xfrm>
          <a:prstGeom prst="pie">
            <a:avLst>
              <a:gd name="adj1" fmla="val 10821908"/>
              <a:gd name="adj2" fmla="val 16173805"/>
            </a:avLst>
          </a:prstGeom>
          <a:pattFill prst="zigZag">
            <a:fgClr>
              <a:schemeClr val="accent5"/>
            </a:fgClr>
            <a:bgClr>
              <a:schemeClr val="accent5">
                <a:lumMod val="75000"/>
              </a:schemeClr>
            </a:bgClr>
          </a:patt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grpSp>
        <p:nvGrpSpPr>
          <p:cNvPr id="438" name="Grupo 437">
            <a:extLst>
              <a:ext uri="{FF2B5EF4-FFF2-40B4-BE49-F238E27FC236}">
                <a16:creationId xmlns:a16="http://schemas.microsoft.com/office/drawing/2014/main" id="{8A23DAD0-00C8-3B76-4F98-7AC88A0828BA}"/>
              </a:ext>
            </a:extLst>
          </p:cNvPr>
          <p:cNvGrpSpPr/>
          <p:nvPr/>
        </p:nvGrpSpPr>
        <p:grpSpPr>
          <a:xfrm>
            <a:off x="9339375" y="3205978"/>
            <a:ext cx="2275088" cy="1511246"/>
            <a:chOff x="9339375" y="3205978"/>
            <a:chExt cx="2035629" cy="1511246"/>
          </a:xfrm>
        </p:grpSpPr>
        <p:cxnSp>
          <p:nvCxnSpPr>
            <p:cNvPr id="436" name="Straight Connector 31">
              <a:extLst>
                <a:ext uri="{FF2B5EF4-FFF2-40B4-BE49-F238E27FC236}">
                  <a16:creationId xmlns:a16="http://schemas.microsoft.com/office/drawing/2014/main" id="{53925023-C0C2-EAC3-2206-3E6A425C66AE}"/>
                </a:ext>
              </a:extLst>
            </p:cNvPr>
            <p:cNvCxnSpPr>
              <a:cxnSpLocks/>
            </p:cNvCxnSpPr>
            <p:nvPr/>
          </p:nvCxnSpPr>
          <p:spPr>
            <a:xfrm>
              <a:off x="9339375" y="3205978"/>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31">
              <a:extLst>
                <a:ext uri="{FF2B5EF4-FFF2-40B4-BE49-F238E27FC236}">
                  <a16:creationId xmlns:a16="http://schemas.microsoft.com/office/drawing/2014/main" id="{456F15DC-648C-3219-317E-E860EB5B6F26}"/>
                </a:ext>
              </a:extLst>
            </p:cNvPr>
            <p:cNvCxnSpPr>
              <a:cxnSpLocks/>
            </p:cNvCxnSpPr>
            <p:nvPr/>
          </p:nvCxnSpPr>
          <p:spPr>
            <a:xfrm>
              <a:off x="9339375" y="471722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B6046B7F-2504-172C-C293-EC27A918D8F0}"/>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931436E8-E15A-1D5A-09CD-C45DCCB33D5D}"/>
              </a:ext>
            </a:extLst>
          </p:cNvPr>
          <p:cNvSpPr>
            <a:spLocks noGrp="1"/>
          </p:cNvSpPr>
          <p:nvPr>
            <p:ph type="title"/>
          </p:nvPr>
        </p:nvSpPr>
        <p:spPr/>
        <p:txBody>
          <a:bodyPr vert="horz"/>
          <a:lstStyle/>
          <a:p>
            <a:r>
              <a:rPr lang="en-US" dirty="0"/>
              <a:t>Template - Harvey Ball Map Slide</a:t>
            </a:r>
          </a:p>
        </p:txBody>
      </p:sp>
    </p:spTree>
    <p:extLst>
      <p:ext uri="{BB962C8B-B14F-4D97-AF65-F5344CB8AC3E}">
        <p14:creationId xmlns:p14="http://schemas.microsoft.com/office/powerpoint/2010/main" val="10758690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23B752E-CB0E-C116-58C1-F7CDF2F5D4CE}"/>
              </a:ext>
            </a:extLst>
          </p:cNvPr>
          <p:cNvGraphicFramePr>
            <a:graphicFrameLocks noChangeAspect="1"/>
          </p:cNvGraphicFramePr>
          <p:nvPr>
            <p:custDataLst>
              <p:tags r:id="rId1"/>
            </p:custDataLst>
            <p:extLst>
              <p:ext uri="{D42A27DB-BD31-4B8C-83A1-F6EECF244321}">
                <p14:modId xmlns:p14="http://schemas.microsoft.com/office/powerpoint/2010/main" val="8683106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423B752E-CB0E-C116-58C1-F7CDF2F5D4C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4593F624-0CE8-0FF7-D794-186709906851}"/>
              </a:ext>
            </a:extLst>
          </p:cNvPr>
          <p:cNvSpPr>
            <a:spLocks noGrp="1"/>
          </p:cNvSpPr>
          <p:nvPr>
            <p:ph type="body" sz="quarter" idx="14"/>
          </p:nvPr>
        </p:nvSpPr>
        <p:spPr/>
        <p:txBody>
          <a:bodyPr/>
          <a:lstStyle/>
          <a:p>
            <a:r>
              <a:rPr lang="en-US" dirty="0"/>
              <a:t>Subtitle</a:t>
            </a:r>
          </a:p>
        </p:txBody>
      </p:sp>
      <p:sp>
        <p:nvSpPr>
          <p:cNvPr id="10" name="Freeform 86">
            <a:extLst>
              <a:ext uri="{FF2B5EF4-FFF2-40B4-BE49-F238E27FC236}">
                <a16:creationId xmlns:a16="http://schemas.microsoft.com/office/drawing/2014/main" id="{F34A79E7-10AE-F9E5-D4FF-19895748AA02}"/>
              </a:ext>
            </a:extLst>
          </p:cNvPr>
          <p:cNvSpPr>
            <a:spLocks noChangeAspect="1" noChangeArrowheads="1"/>
          </p:cNvSpPr>
          <p:nvPr/>
        </p:nvSpPr>
        <p:spPr bwMode="auto">
          <a:xfrm>
            <a:off x="4798016" y="2475262"/>
            <a:ext cx="2442466" cy="244262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1" name="Pie 4">
            <a:extLst>
              <a:ext uri="{FF2B5EF4-FFF2-40B4-BE49-F238E27FC236}">
                <a16:creationId xmlns:a16="http://schemas.microsoft.com/office/drawing/2014/main" id="{49632853-D343-950B-50CC-49B2AF8AF0B1}"/>
              </a:ext>
            </a:extLst>
          </p:cNvPr>
          <p:cNvSpPr>
            <a:spLocks/>
          </p:cNvSpPr>
          <p:nvPr/>
        </p:nvSpPr>
        <p:spPr>
          <a:xfrm>
            <a:off x="4794762" y="2475104"/>
            <a:ext cx="2445718" cy="2442624"/>
          </a:xfrm>
          <a:prstGeom prst="pie">
            <a:avLst>
              <a:gd name="adj1" fmla="val 16193829"/>
              <a:gd name="adj2" fmla="val 332092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2" name="Freeform 86">
            <a:extLst>
              <a:ext uri="{FF2B5EF4-FFF2-40B4-BE49-F238E27FC236}">
                <a16:creationId xmlns:a16="http://schemas.microsoft.com/office/drawing/2014/main" id="{FA89766A-5F8D-226D-5808-AFE0F97CE6E3}"/>
              </a:ext>
            </a:extLst>
          </p:cNvPr>
          <p:cNvSpPr>
            <a:spLocks noChangeAspect="1" noChangeArrowheads="1"/>
          </p:cNvSpPr>
          <p:nvPr/>
        </p:nvSpPr>
        <p:spPr bwMode="auto">
          <a:xfrm>
            <a:off x="6795785" y="4360113"/>
            <a:ext cx="1805438" cy="180555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3" name="Pie 8">
            <a:extLst>
              <a:ext uri="{FF2B5EF4-FFF2-40B4-BE49-F238E27FC236}">
                <a16:creationId xmlns:a16="http://schemas.microsoft.com/office/drawing/2014/main" id="{C4EE1873-0A29-00D7-8FA9-28ED555E71CD}"/>
              </a:ext>
            </a:extLst>
          </p:cNvPr>
          <p:cNvSpPr>
            <a:spLocks/>
          </p:cNvSpPr>
          <p:nvPr/>
        </p:nvSpPr>
        <p:spPr>
          <a:xfrm>
            <a:off x="6793380" y="4359996"/>
            <a:ext cx="1807842" cy="1805554"/>
          </a:xfrm>
          <a:prstGeom prst="pie">
            <a:avLst>
              <a:gd name="adj1" fmla="val 16193829"/>
              <a:gd name="adj2" fmla="val 14143275"/>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4" name="Freeform 86">
            <a:extLst>
              <a:ext uri="{FF2B5EF4-FFF2-40B4-BE49-F238E27FC236}">
                <a16:creationId xmlns:a16="http://schemas.microsoft.com/office/drawing/2014/main" id="{7BFBB520-BE28-F97B-B782-AA0A9C310491}"/>
              </a:ext>
            </a:extLst>
          </p:cNvPr>
          <p:cNvSpPr>
            <a:spLocks noChangeAspect="1" noChangeArrowheads="1"/>
          </p:cNvSpPr>
          <p:nvPr/>
        </p:nvSpPr>
        <p:spPr bwMode="auto">
          <a:xfrm>
            <a:off x="3608895" y="1624853"/>
            <a:ext cx="1470948" cy="1471044"/>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5" name="Pie 11">
            <a:extLst>
              <a:ext uri="{FF2B5EF4-FFF2-40B4-BE49-F238E27FC236}">
                <a16:creationId xmlns:a16="http://schemas.microsoft.com/office/drawing/2014/main" id="{19CB9FFE-5171-8A3B-4AB3-87331B354F63}"/>
              </a:ext>
            </a:extLst>
          </p:cNvPr>
          <p:cNvSpPr>
            <a:spLocks/>
          </p:cNvSpPr>
          <p:nvPr/>
        </p:nvSpPr>
        <p:spPr>
          <a:xfrm>
            <a:off x="3606935" y="1624758"/>
            <a:ext cx="1472907" cy="1471043"/>
          </a:xfrm>
          <a:prstGeom prst="pie">
            <a:avLst>
              <a:gd name="adj1" fmla="val 16193829"/>
              <a:gd name="adj2" fmla="val 18631802"/>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6" name="Freeform 86">
            <a:extLst>
              <a:ext uri="{FF2B5EF4-FFF2-40B4-BE49-F238E27FC236}">
                <a16:creationId xmlns:a16="http://schemas.microsoft.com/office/drawing/2014/main" id="{D2133A5C-E8D6-DADF-D416-2E897463428B}"/>
              </a:ext>
            </a:extLst>
          </p:cNvPr>
          <p:cNvSpPr>
            <a:spLocks noChangeAspect="1" noChangeArrowheads="1"/>
          </p:cNvSpPr>
          <p:nvPr/>
        </p:nvSpPr>
        <p:spPr bwMode="auto">
          <a:xfrm>
            <a:off x="6899804" y="1742401"/>
            <a:ext cx="1183602" cy="1183679"/>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7" name="Pie 14">
            <a:extLst>
              <a:ext uri="{FF2B5EF4-FFF2-40B4-BE49-F238E27FC236}">
                <a16:creationId xmlns:a16="http://schemas.microsoft.com/office/drawing/2014/main" id="{1CF491DD-D49C-372B-6541-13E8CF7E3A8A}"/>
              </a:ext>
            </a:extLst>
          </p:cNvPr>
          <p:cNvSpPr>
            <a:spLocks/>
          </p:cNvSpPr>
          <p:nvPr/>
        </p:nvSpPr>
        <p:spPr>
          <a:xfrm>
            <a:off x="6898227" y="1742325"/>
            <a:ext cx="1185178" cy="1183678"/>
          </a:xfrm>
          <a:prstGeom prst="pie">
            <a:avLst>
              <a:gd name="adj1" fmla="val 16193829"/>
              <a:gd name="adj2" fmla="val 9111790"/>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18" name="Freeform 86">
            <a:extLst>
              <a:ext uri="{FF2B5EF4-FFF2-40B4-BE49-F238E27FC236}">
                <a16:creationId xmlns:a16="http://schemas.microsoft.com/office/drawing/2014/main" id="{1384E3B0-B70E-60CA-D5B1-F9BB80F2F6B0}"/>
              </a:ext>
            </a:extLst>
          </p:cNvPr>
          <p:cNvSpPr>
            <a:spLocks noChangeAspect="1" noChangeArrowheads="1"/>
          </p:cNvSpPr>
          <p:nvPr/>
        </p:nvSpPr>
        <p:spPr bwMode="auto">
          <a:xfrm>
            <a:off x="4059433" y="4230472"/>
            <a:ext cx="883728" cy="883785"/>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19" name="Pie 17">
            <a:extLst>
              <a:ext uri="{FF2B5EF4-FFF2-40B4-BE49-F238E27FC236}">
                <a16:creationId xmlns:a16="http://schemas.microsoft.com/office/drawing/2014/main" id="{95B0A28B-20A6-A63E-EF27-50DCE71A5144}"/>
              </a:ext>
            </a:extLst>
          </p:cNvPr>
          <p:cNvSpPr>
            <a:spLocks/>
          </p:cNvSpPr>
          <p:nvPr/>
        </p:nvSpPr>
        <p:spPr>
          <a:xfrm>
            <a:off x="4058256" y="4230415"/>
            <a:ext cx="884904" cy="883784"/>
          </a:xfrm>
          <a:prstGeom prst="pie">
            <a:avLst>
              <a:gd name="adj1" fmla="val 16193829"/>
              <a:gd name="adj2" fmla="val 7315556"/>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CD071F44-682B-B6E8-28DA-307DB8C99355}"/>
              </a:ext>
            </a:extLst>
          </p:cNvPr>
          <p:cNvSpPr>
            <a:spLocks noChangeAspect="1" noChangeArrowheads="1"/>
          </p:cNvSpPr>
          <p:nvPr/>
        </p:nvSpPr>
        <p:spPr bwMode="auto">
          <a:xfrm>
            <a:off x="6018452" y="5367067"/>
            <a:ext cx="622881" cy="622921"/>
          </a:xfrm>
          <a:prstGeom prst="ellipse">
            <a:avLst/>
          </a:prstGeom>
          <a:solidFill>
            <a:schemeClr val="bg1">
              <a:lumMod val="85000"/>
            </a:schemeClr>
          </a:solidFill>
          <a:effectLst/>
        </p:spPr>
        <p:txBody>
          <a:bodyPr lIns="108000" tIns="72000" rIns="72000" bIns="72000" anchor="ctr"/>
          <a:lstStyle/>
          <a:p>
            <a:pPr defTabSz="1087636"/>
            <a:endParaRPr lang="en-US" sz="1200" dirty="0"/>
          </a:p>
        </p:txBody>
      </p:sp>
      <p:sp>
        <p:nvSpPr>
          <p:cNvPr id="21" name="Pie 20">
            <a:extLst>
              <a:ext uri="{FF2B5EF4-FFF2-40B4-BE49-F238E27FC236}">
                <a16:creationId xmlns:a16="http://schemas.microsoft.com/office/drawing/2014/main" id="{F31F3B08-9C9A-346D-C11F-3621C0C12701}"/>
              </a:ext>
            </a:extLst>
          </p:cNvPr>
          <p:cNvSpPr>
            <a:spLocks/>
          </p:cNvSpPr>
          <p:nvPr/>
        </p:nvSpPr>
        <p:spPr>
          <a:xfrm>
            <a:off x="6017622" y="5367027"/>
            <a:ext cx="623710" cy="622921"/>
          </a:xfrm>
          <a:prstGeom prst="pie">
            <a:avLst>
              <a:gd name="adj1" fmla="val 16193829"/>
              <a:gd name="adj2" fmla="val 540473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Roboto Light" panose="02000000000000000000" pitchFamily="2" charset="0"/>
            </a:endParaRPr>
          </a:p>
        </p:txBody>
      </p:sp>
      <p:sp>
        <p:nvSpPr>
          <p:cNvPr id="28" name="TextBox 29">
            <a:extLst>
              <a:ext uri="{FF2B5EF4-FFF2-40B4-BE49-F238E27FC236}">
                <a16:creationId xmlns:a16="http://schemas.microsoft.com/office/drawing/2014/main" id="{AAB0E93D-206D-53CB-04B4-EBB194432608}"/>
              </a:ext>
            </a:extLst>
          </p:cNvPr>
          <p:cNvSpPr txBox="1"/>
          <p:nvPr/>
        </p:nvSpPr>
        <p:spPr>
          <a:xfrm>
            <a:off x="9215593" y="2162120"/>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29" name="TextBox 30">
            <a:extLst>
              <a:ext uri="{FF2B5EF4-FFF2-40B4-BE49-F238E27FC236}">
                <a16:creationId xmlns:a16="http://schemas.microsoft.com/office/drawing/2014/main" id="{98334B0C-6F83-7C5D-5FF4-AFAC82A97BA0}"/>
              </a:ext>
            </a:extLst>
          </p:cNvPr>
          <p:cNvSpPr txBox="1"/>
          <p:nvPr/>
        </p:nvSpPr>
        <p:spPr>
          <a:xfrm>
            <a:off x="9671968" y="5136077"/>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0" name="TextBox 31">
            <a:extLst>
              <a:ext uri="{FF2B5EF4-FFF2-40B4-BE49-F238E27FC236}">
                <a16:creationId xmlns:a16="http://schemas.microsoft.com/office/drawing/2014/main" id="{9751AE54-B568-4B37-5FAA-33A3A4634B91}"/>
              </a:ext>
            </a:extLst>
          </p:cNvPr>
          <p:cNvSpPr txBox="1"/>
          <p:nvPr/>
        </p:nvSpPr>
        <p:spPr>
          <a:xfrm>
            <a:off x="8308435" y="3589255"/>
            <a:ext cx="2102724" cy="553998"/>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1" name="TextBox 32">
            <a:extLst>
              <a:ext uri="{FF2B5EF4-FFF2-40B4-BE49-F238E27FC236}">
                <a16:creationId xmlns:a16="http://schemas.microsoft.com/office/drawing/2014/main" id="{ADD3821A-3FFC-A26E-E684-21A00EA20B43}"/>
              </a:ext>
            </a:extLst>
          </p:cNvPr>
          <p:cNvSpPr txBox="1"/>
          <p:nvPr/>
        </p:nvSpPr>
        <p:spPr>
          <a:xfrm>
            <a:off x="2818697" y="5583313"/>
            <a:ext cx="2102724"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a:p>
            <a:pPr algn="r"/>
            <a:r>
              <a:rPr lang="en-US" dirty="0"/>
              <a:t>.</a:t>
            </a:r>
          </a:p>
        </p:txBody>
      </p:sp>
      <p:sp>
        <p:nvSpPr>
          <p:cNvPr id="32" name="TextBox 33">
            <a:extLst>
              <a:ext uri="{FF2B5EF4-FFF2-40B4-BE49-F238E27FC236}">
                <a16:creationId xmlns:a16="http://schemas.microsoft.com/office/drawing/2014/main" id="{5C0E80D0-6F38-3E5E-00F0-D472F7A7D786}"/>
              </a:ext>
            </a:extLst>
          </p:cNvPr>
          <p:cNvSpPr txBox="1"/>
          <p:nvPr/>
        </p:nvSpPr>
        <p:spPr>
          <a:xfrm>
            <a:off x="890092" y="4587606"/>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3" name="TextBox 34">
            <a:extLst>
              <a:ext uri="{FF2B5EF4-FFF2-40B4-BE49-F238E27FC236}">
                <a16:creationId xmlns:a16="http://schemas.microsoft.com/office/drawing/2014/main" id="{25C89B24-BBEE-C462-C666-46E08C6430C1}"/>
              </a:ext>
            </a:extLst>
          </p:cNvPr>
          <p:cNvSpPr txBox="1"/>
          <p:nvPr/>
        </p:nvSpPr>
        <p:spPr>
          <a:xfrm>
            <a:off x="397167" y="2181209"/>
            <a:ext cx="2102724"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grpSp>
        <p:nvGrpSpPr>
          <p:cNvPr id="34" name="Grupo 42">
            <a:extLst>
              <a:ext uri="{FF2B5EF4-FFF2-40B4-BE49-F238E27FC236}">
                <a16:creationId xmlns:a16="http://schemas.microsoft.com/office/drawing/2014/main" id="{2DDC6802-94C1-BFD5-A598-B102C0B1B6A1}"/>
              </a:ext>
            </a:extLst>
          </p:cNvPr>
          <p:cNvGrpSpPr/>
          <p:nvPr/>
        </p:nvGrpSpPr>
        <p:grpSpPr>
          <a:xfrm>
            <a:off x="7404501" y="3327412"/>
            <a:ext cx="739910" cy="874955"/>
            <a:chOff x="3657318" y="2960019"/>
            <a:chExt cx="428407" cy="506598"/>
          </a:xfrm>
        </p:grpSpPr>
        <p:grpSp>
          <p:nvGrpSpPr>
            <p:cNvPr id="35" name="Grupo 43">
              <a:extLst>
                <a:ext uri="{FF2B5EF4-FFF2-40B4-BE49-F238E27FC236}">
                  <a16:creationId xmlns:a16="http://schemas.microsoft.com/office/drawing/2014/main" id="{B747F321-79E3-71F1-9DBA-61CEB1665E9D}"/>
                </a:ext>
              </a:extLst>
            </p:cNvPr>
            <p:cNvGrpSpPr/>
            <p:nvPr/>
          </p:nvGrpSpPr>
          <p:grpSpPr>
            <a:xfrm>
              <a:off x="3828604" y="2960019"/>
              <a:ext cx="257121" cy="506598"/>
              <a:chOff x="2468880" y="3319199"/>
              <a:chExt cx="257121" cy="506598"/>
            </a:xfrm>
          </p:grpSpPr>
          <p:cxnSp>
            <p:nvCxnSpPr>
              <p:cNvPr id="37" name="Conector recto 45">
                <a:extLst>
                  <a:ext uri="{FF2B5EF4-FFF2-40B4-BE49-F238E27FC236}">
                    <a16:creationId xmlns:a16="http://schemas.microsoft.com/office/drawing/2014/main" id="{CBA5FDA2-9FCD-CE03-009B-B4E61AE5627E}"/>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ector recto 46">
                <a:extLst>
                  <a:ext uri="{FF2B5EF4-FFF2-40B4-BE49-F238E27FC236}">
                    <a16:creationId xmlns:a16="http://schemas.microsoft.com/office/drawing/2014/main" id="{4999C855-CD94-20C7-4C76-1B53DAC8692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6" name="Conector recto 44">
              <a:extLst>
                <a:ext uri="{FF2B5EF4-FFF2-40B4-BE49-F238E27FC236}">
                  <a16:creationId xmlns:a16="http://schemas.microsoft.com/office/drawing/2014/main" id="{84180F20-F60D-041E-CF45-A1A877AD480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upo 42">
            <a:extLst>
              <a:ext uri="{FF2B5EF4-FFF2-40B4-BE49-F238E27FC236}">
                <a16:creationId xmlns:a16="http://schemas.microsoft.com/office/drawing/2014/main" id="{DDCAF919-82E7-B310-49C3-759FA36CEA2E}"/>
              </a:ext>
            </a:extLst>
          </p:cNvPr>
          <p:cNvGrpSpPr/>
          <p:nvPr/>
        </p:nvGrpSpPr>
        <p:grpSpPr>
          <a:xfrm>
            <a:off x="8279543" y="1896686"/>
            <a:ext cx="739910" cy="874955"/>
            <a:chOff x="3657318" y="2960019"/>
            <a:chExt cx="428407" cy="506598"/>
          </a:xfrm>
        </p:grpSpPr>
        <p:grpSp>
          <p:nvGrpSpPr>
            <p:cNvPr id="40" name="Grupo 43">
              <a:extLst>
                <a:ext uri="{FF2B5EF4-FFF2-40B4-BE49-F238E27FC236}">
                  <a16:creationId xmlns:a16="http://schemas.microsoft.com/office/drawing/2014/main" id="{CED81B6C-132E-2B21-F6DB-F28E08C10B05}"/>
                </a:ext>
              </a:extLst>
            </p:cNvPr>
            <p:cNvGrpSpPr/>
            <p:nvPr/>
          </p:nvGrpSpPr>
          <p:grpSpPr>
            <a:xfrm>
              <a:off x="3828604" y="2960019"/>
              <a:ext cx="257121" cy="506598"/>
              <a:chOff x="2468880" y="3319199"/>
              <a:chExt cx="257121" cy="506598"/>
            </a:xfrm>
          </p:grpSpPr>
          <p:cxnSp>
            <p:nvCxnSpPr>
              <p:cNvPr id="42" name="Conector recto 45">
                <a:extLst>
                  <a:ext uri="{FF2B5EF4-FFF2-40B4-BE49-F238E27FC236}">
                    <a16:creationId xmlns:a16="http://schemas.microsoft.com/office/drawing/2014/main" id="{47CB80BB-CFF5-162D-3E5E-5A38629606A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ector recto 46">
                <a:extLst>
                  <a:ext uri="{FF2B5EF4-FFF2-40B4-BE49-F238E27FC236}">
                    <a16:creationId xmlns:a16="http://schemas.microsoft.com/office/drawing/2014/main" id="{16D774B0-612E-A9CF-2EF1-81BEC6CF0D0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 name="Conector recto 44">
              <a:extLst>
                <a:ext uri="{FF2B5EF4-FFF2-40B4-BE49-F238E27FC236}">
                  <a16:creationId xmlns:a16="http://schemas.microsoft.com/office/drawing/2014/main" id="{D758EA2B-8EB0-126B-E54C-44DEB2338543}"/>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upo 42">
            <a:extLst>
              <a:ext uri="{FF2B5EF4-FFF2-40B4-BE49-F238E27FC236}">
                <a16:creationId xmlns:a16="http://schemas.microsoft.com/office/drawing/2014/main" id="{EBA968AB-B797-F175-583E-06AAAA6521C7}"/>
              </a:ext>
            </a:extLst>
          </p:cNvPr>
          <p:cNvGrpSpPr/>
          <p:nvPr/>
        </p:nvGrpSpPr>
        <p:grpSpPr>
          <a:xfrm>
            <a:off x="8778952" y="4883265"/>
            <a:ext cx="739910" cy="874955"/>
            <a:chOff x="3657318" y="2960019"/>
            <a:chExt cx="428407" cy="506598"/>
          </a:xfrm>
        </p:grpSpPr>
        <p:grpSp>
          <p:nvGrpSpPr>
            <p:cNvPr id="45" name="Grupo 43">
              <a:extLst>
                <a:ext uri="{FF2B5EF4-FFF2-40B4-BE49-F238E27FC236}">
                  <a16:creationId xmlns:a16="http://schemas.microsoft.com/office/drawing/2014/main" id="{649320AB-DE0D-8D9F-B0DC-07ECFC07E3C2}"/>
                </a:ext>
              </a:extLst>
            </p:cNvPr>
            <p:cNvGrpSpPr/>
            <p:nvPr/>
          </p:nvGrpSpPr>
          <p:grpSpPr>
            <a:xfrm>
              <a:off x="3828604" y="2960019"/>
              <a:ext cx="257121" cy="506598"/>
              <a:chOff x="2468880" y="3319199"/>
              <a:chExt cx="257121" cy="506598"/>
            </a:xfrm>
          </p:grpSpPr>
          <p:cxnSp>
            <p:nvCxnSpPr>
              <p:cNvPr id="47" name="Conector recto 45">
                <a:extLst>
                  <a:ext uri="{FF2B5EF4-FFF2-40B4-BE49-F238E27FC236}">
                    <a16:creationId xmlns:a16="http://schemas.microsoft.com/office/drawing/2014/main" id="{7D702BA4-B0D9-AC1F-80C1-5CFDEB0D1456}"/>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ector recto 46">
                <a:extLst>
                  <a:ext uri="{FF2B5EF4-FFF2-40B4-BE49-F238E27FC236}">
                    <a16:creationId xmlns:a16="http://schemas.microsoft.com/office/drawing/2014/main" id="{1A8FE634-9505-2D4E-97B5-1EB3B6C4BE9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 name="Conector recto 44">
              <a:extLst>
                <a:ext uri="{FF2B5EF4-FFF2-40B4-BE49-F238E27FC236}">
                  <a16:creationId xmlns:a16="http://schemas.microsoft.com/office/drawing/2014/main" id="{FD80BA6D-6BDA-68EF-64C1-406C755A3D5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upo 42">
            <a:extLst>
              <a:ext uri="{FF2B5EF4-FFF2-40B4-BE49-F238E27FC236}">
                <a16:creationId xmlns:a16="http://schemas.microsoft.com/office/drawing/2014/main" id="{542ADD29-DFA2-5B46-B16B-AC13511AE049}"/>
              </a:ext>
            </a:extLst>
          </p:cNvPr>
          <p:cNvGrpSpPr/>
          <p:nvPr/>
        </p:nvGrpSpPr>
        <p:grpSpPr>
          <a:xfrm flipH="1">
            <a:off x="5124606" y="5290595"/>
            <a:ext cx="739910" cy="874955"/>
            <a:chOff x="3657318" y="2960019"/>
            <a:chExt cx="428407" cy="506598"/>
          </a:xfrm>
        </p:grpSpPr>
        <p:grpSp>
          <p:nvGrpSpPr>
            <p:cNvPr id="50" name="Grupo 43">
              <a:extLst>
                <a:ext uri="{FF2B5EF4-FFF2-40B4-BE49-F238E27FC236}">
                  <a16:creationId xmlns:a16="http://schemas.microsoft.com/office/drawing/2014/main" id="{286BBFFD-B406-C618-5819-593B156488A8}"/>
                </a:ext>
              </a:extLst>
            </p:cNvPr>
            <p:cNvGrpSpPr/>
            <p:nvPr/>
          </p:nvGrpSpPr>
          <p:grpSpPr>
            <a:xfrm>
              <a:off x="3828604" y="2960019"/>
              <a:ext cx="257121" cy="506598"/>
              <a:chOff x="2468880" y="3319199"/>
              <a:chExt cx="257121" cy="506598"/>
            </a:xfrm>
          </p:grpSpPr>
          <p:cxnSp>
            <p:nvCxnSpPr>
              <p:cNvPr id="52" name="Conector recto 45">
                <a:extLst>
                  <a:ext uri="{FF2B5EF4-FFF2-40B4-BE49-F238E27FC236}">
                    <a16:creationId xmlns:a16="http://schemas.microsoft.com/office/drawing/2014/main" id="{16ED03B0-5878-3444-43AD-A08F6C95241F}"/>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Conector recto 46">
                <a:extLst>
                  <a:ext uri="{FF2B5EF4-FFF2-40B4-BE49-F238E27FC236}">
                    <a16:creationId xmlns:a16="http://schemas.microsoft.com/office/drawing/2014/main" id="{2B0DD9FC-6D99-F428-C169-4B767A893CBE}"/>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Conector recto 44">
              <a:extLst>
                <a:ext uri="{FF2B5EF4-FFF2-40B4-BE49-F238E27FC236}">
                  <a16:creationId xmlns:a16="http://schemas.microsoft.com/office/drawing/2014/main" id="{A40B6002-58D8-A1E6-CA0E-612F4FC848C2}"/>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upo 42">
            <a:extLst>
              <a:ext uri="{FF2B5EF4-FFF2-40B4-BE49-F238E27FC236}">
                <a16:creationId xmlns:a16="http://schemas.microsoft.com/office/drawing/2014/main" id="{326D6199-58E1-CEFD-2E6D-BE30789B8AC5}"/>
              </a:ext>
            </a:extLst>
          </p:cNvPr>
          <p:cNvGrpSpPr/>
          <p:nvPr/>
        </p:nvGrpSpPr>
        <p:grpSpPr>
          <a:xfrm flipH="1">
            <a:off x="3130149" y="4334794"/>
            <a:ext cx="739910" cy="874955"/>
            <a:chOff x="3657318" y="2960019"/>
            <a:chExt cx="428407" cy="506598"/>
          </a:xfrm>
        </p:grpSpPr>
        <p:grpSp>
          <p:nvGrpSpPr>
            <p:cNvPr id="55" name="Grupo 43">
              <a:extLst>
                <a:ext uri="{FF2B5EF4-FFF2-40B4-BE49-F238E27FC236}">
                  <a16:creationId xmlns:a16="http://schemas.microsoft.com/office/drawing/2014/main" id="{64534A16-D17F-AF94-BBA7-EB5A39ADEB1F}"/>
                </a:ext>
              </a:extLst>
            </p:cNvPr>
            <p:cNvGrpSpPr/>
            <p:nvPr/>
          </p:nvGrpSpPr>
          <p:grpSpPr>
            <a:xfrm>
              <a:off x="3828604" y="2960019"/>
              <a:ext cx="257121" cy="506598"/>
              <a:chOff x="2468880" y="3319199"/>
              <a:chExt cx="257121" cy="506598"/>
            </a:xfrm>
          </p:grpSpPr>
          <p:cxnSp>
            <p:nvCxnSpPr>
              <p:cNvPr id="57" name="Conector recto 45">
                <a:extLst>
                  <a:ext uri="{FF2B5EF4-FFF2-40B4-BE49-F238E27FC236}">
                    <a16:creationId xmlns:a16="http://schemas.microsoft.com/office/drawing/2014/main" id="{01C14542-DB5F-63CA-52A0-DD0B7E36F58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Conector recto 46">
                <a:extLst>
                  <a:ext uri="{FF2B5EF4-FFF2-40B4-BE49-F238E27FC236}">
                    <a16:creationId xmlns:a16="http://schemas.microsoft.com/office/drawing/2014/main" id="{F1B47045-51C5-C588-5CD8-97311DEA68A1}"/>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6" name="Conector recto 44">
              <a:extLst>
                <a:ext uri="{FF2B5EF4-FFF2-40B4-BE49-F238E27FC236}">
                  <a16:creationId xmlns:a16="http://schemas.microsoft.com/office/drawing/2014/main" id="{16BB0563-369A-0B73-DF0D-62499A632110}"/>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upo 42">
            <a:extLst>
              <a:ext uri="{FF2B5EF4-FFF2-40B4-BE49-F238E27FC236}">
                <a16:creationId xmlns:a16="http://schemas.microsoft.com/office/drawing/2014/main" id="{FDEE2836-76CF-22C5-1A8F-F80F5D09D5E6}"/>
              </a:ext>
            </a:extLst>
          </p:cNvPr>
          <p:cNvGrpSpPr/>
          <p:nvPr/>
        </p:nvGrpSpPr>
        <p:grpSpPr>
          <a:xfrm flipH="1">
            <a:off x="2664673" y="1925953"/>
            <a:ext cx="739910" cy="874955"/>
            <a:chOff x="3657318" y="2960019"/>
            <a:chExt cx="428407" cy="506598"/>
          </a:xfrm>
        </p:grpSpPr>
        <p:grpSp>
          <p:nvGrpSpPr>
            <p:cNvPr id="60" name="Grupo 43">
              <a:extLst>
                <a:ext uri="{FF2B5EF4-FFF2-40B4-BE49-F238E27FC236}">
                  <a16:creationId xmlns:a16="http://schemas.microsoft.com/office/drawing/2014/main" id="{5F01AE2E-0228-EE28-A169-8F3BA31E547A}"/>
                </a:ext>
              </a:extLst>
            </p:cNvPr>
            <p:cNvGrpSpPr/>
            <p:nvPr/>
          </p:nvGrpSpPr>
          <p:grpSpPr>
            <a:xfrm>
              <a:off x="3828604" y="2960019"/>
              <a:ext cx="257121" cy="506598"/>
              <a:chOff x="2468880" y="3319199"/>
              <a:chExt cx="257121" cy="506598"/>
            </a:xfrm>
          </p:grpSpPr>
          <p:cxnSp>
            <p:nvCxnSpPr>
              <p:cNvPr id="62" name="Conector recto 45">
                <a:extLst>
                  <a:ext uri="{FF2B5EF4-FFF2-40B4-BE49-F238E27FC236}">
                    <a16:creationId xmlns:a16="http://schemas.microsoft.com/office/drawing/2014/main" id="{BADC0A34-7BB7-E891-33A2-AEA68C57E658}"/>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1E6D97CE-D735-DCC2-0516-82E35BA747F6}"/>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1" name="Conector recto 44">
              <a:extLst>
                <a:ext uri="{FF2B5EF4-FFF2-40B4-BE49-F238E27FC236}">
                  <a16:creationId xmlns:a16="http://schemas.microsoft.com/office/drawing/2014/main" id="{15F2CC12-9DAC-1340-D6FA-32B785EBDC7A}"/>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3C7314F7-7434-B983-ED30-AC9363CF245A}"/>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B31AFF45-6590-D314-6C40-CE653035D2D3}"/>
              </a:ext>
            </a:extLst>
          </p:cNvPr>
          <p:cNvSpPr>
            <a:spLocks noGrp="1"/>
          </p:cNvSpPr>
          <p:nvPr>
            <p:ph type="title"/>
          </p:nvPr>
        </p:nvSpPr>
        <p:spPr/>
        <p:txBody>
          <a:bodyPr vert="horz"/>
          <a:lstStyle/>
          <a:p>
            <a:r>
              <a:rPr lang="en-US" dirty="0"/>
              <a:t>Template - Harvey Ball Slide</a:t>
            </a:r>
          </a:p>
        </p:txBody>
      </p:sp>
    </p:spTree>
    <p:extLst>
      <p:ext uri="{BB962C8B-B14F-4D97-AF65-F5344CB8AC3E}">
        <p14:creationId xmlns:p14="http://schemas.microsoft.com/office/powerpoint/2010/main" val="15442556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C25F3BE-8D57-3307-A668-A71373F7408A}"/>
              </a:ext>
            </a:extLst>
          </p:cNvPr>
          <p:cNvGraphicFramePr>
            <a:graphicFrameLocks noChangeAspect="1"/>
          </p:cNvGraphicFramePr>
          <p:nvPr>
            <p:custDataLst>
              <p:tags r:id="rId1"/>
            </p:custDataLst>
            <p:extLst>
              <p:ext uri="{D42A27DB-BD31-4B8C-83A1-F6EECF244321}">
                <p14:modId xmlns:p14="http://schemas.microsoft.com/office/powerpoint/2010/main" val="12083765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8C25F3BE-8D57-3307-A668-A71373F7408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5" name="Rectángulo 44">
            <a:extLst>
              <a:ext uri="{FF2B5EF4-FFF2-40B4-BE49-F238E27FC236}">
                <a16:creationId xmlns:a16="http://schemas.microsoft.com/office/drawing/2014/main" id="{0B4244EB-FCFC-8A66-46E8-D838DE281A21}"/>
              </a:ext>
            </a:extLst>
          </p:cNvPr>
          <p:cNvSpPr/>
          <p:nvPr/>
        </p:nvSpPr>
        <p:spPr>
          <a:xfrm>
            <a:off x="2473336" y="1523195"/>
            <a:ext cx="7245328" cy="19423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2" name="Freeform 190">
            <a:extLst>
              <a:ext uri="{FF2B5EF4-FFF2-40B4-BE49-F238E27FC236}">
                <a16:creationId xmlns:a16="http://schemas.microsoft.com/office/drawing/2014/main" id="{9E391EF6-B169-9DA3-97E6-D165B7F9E77A}"/>
              </a:ext>
            </a:extLst>
          </p:cNvPr>
          <p:cNvSpPr>
            <a:spLocks noChangeArrowheads="1"/>
          </p:cNvSpPr>
          <p:nvPr/>
        </p:nvSpPr>
        <p:spPr bwMode="auto">
          <a:xfrm>
            <a:off x="1852621" y="1923157"/>
            <a:ext cx="1205723" cy="1205723"/>
          </a:xfrm>
          <a:custGeom>
            <a:avLst/>
            <a:gdLst>
              <a:gd name="T0" fmla="*/ 1936 w 1937"/>
              <a:gd name="T1" fmla="*/ 968 h 1936"/>
              <a:gd name="T2" fmla="*/ 1936 w 1937"/>
              <a:gd name="T3" fmla="*/ 968 h 1936"/>
              <a:gd name="T4" fmla="*/ 968 w 1937"/>
              <a:gd name="T5" fmla="*/ 1935 h 1936"/>
              <a:gd name="T6" fmla="*/ 968 w 1937"/>
              <a:gd name="T7" fmla="*/ 1935 h 1936"/>
              <a:gd name="T8" fmla="*/ 0 w 1937"/>
              <a:gd name="T9" fmla="*/ 968 h 1936"/>
              <a:gd name="T10" fmla="*/ 0 w 1937"/>
              <a:gd name="T11" fmla="*/ 968 h 1936"/>
              <a:gd name="T12" fmla="*/ 968 w 1937"/>
              <a:gd name="T13" fmla="*/ 0 h 1936"/>
              <a:gd name="T14" fmla="*/ 968 w 1937"/>
              <a:gd name="T15" fmla="*/ 0 h 1936"/>
              <a:gd name="T16" fmla="*/ 1936 w 1937"/>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7" h="1936">
                <a:moveTo>
                  <a:pt x="1936" y="968"/>
                </a:moveTo>
                <a:lnTo>
                  <a:pt x="1936" y="968"/>
                </a:lnTo>
                <a:cubicBezTo>
                  <a:pt x="1936" y="1503"/>
                  <a:pt x="1503" y="1935"/>
                  <a:pt x="968" y="1935"/>
                </a:cubicBezTo>
                <a:lnTo>
                  <a:pt x="968" y="1935"/>
                </a:lnTo>
                <a:cubicBezTo>
                  <a:pt x="434" y="1935"/>
                  <a:pt x="0" y="1503"/>
                  <a:pt x="0" y="968"/>
                </a:cubicBezTo>
                <a:lnTo>
                  <a:pt x="0" y="968"/>
                </a:lnTo>
                <a:cubicBezTo>
                  <a:pt x="0" y="434"/>
                  <a:pt x="434" y="0"/>
                  <a:pt x="968" y="0"/>
                </a:cubicBezTo>
                <a:lnTo>
                  <a:pt x="968" y="0"/>
                </a:lnTo>
                <a:cubicBezTo>
                  <a:pt x="1503" y="0"/>
                  <a:pt x="1936" y="434"/>
                  <a:pt x="1936"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7">
            <a:extLst>
              <a:ext uri="{FF2B5EF4-FFF2-40B4-BE49-F238E27FC236}">
                <a16:creationId xmlns:a16="http://schemas.microsoft.com/office/drawing/2014/main" id="{BC44C530-2394-538B-BECD-941946741480}"/>
              </a:ext>
            </a:extLst>
          </p:cNvPr>
          <p:cNvSpPr>
            <a:spLocks noChangeArrowheads="1"/>
          </p:cNvSpPr>
          <p:nvPr/>
        </p:nvSpPr>
        <p:spPr bwMode="auto">
          <a:xfrm>
            <a:off x="9139147" y="1923157"/>
            <a:ext cx="1205725" cy="1205723"/>
          </a:xfrm>
          <a:custGeom>
            <a:avLst/>
            <a:gdLst>
              <a:gd name="T0" fmla="*/ 1935 w 1936"/>
              <a:gd name="T1" fmla="*/ 968 h 1936"/>
              <a:gd name="T2" fmla="*/ 1935 w 1936"/>
              <a:gd name="T3" fmla="*/ 968 h 1936"/>
              <a:gd name="T4" fmla="*/ 967 w 1936"/>
              <a:gd name="T5" fmla="*/ 1935 h 1936"/>
              <a:gd name="T6" fmla="*/ 967 w 1936"/>
              <a:gd name="T7" fmla="*/ 1935 h 1936"/>
              <a:gd name="T8" fmla="*/ 0 w 1936"/>
              <a:gd name="T9" fmla="*/ 968 h 1936"/>
              <a:gd name="T10" fmla="*/ 0 w 1936"/>
              <a:gd name="T11" fmla="*/ 968 h 1936"/>
              <a:gd name="T12" fmla="*/ 967 w 1936"/>
              <a:gd name="T13" fmla="*/ 0 h 1936"/>
              <a:gd name="T14" fmla="*/ 967 w 1936"/>
              <a:gd name="T15" fmla="*/ 0 h 1936"/>
              <a:gd name="T16" fmla="*/ 1935 w 1936"/>
              <a:gd name="T17" fmla="*/ 968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6" h="1936">
                <a:moveTo>
                  <a:pt x="1935" y="968"/>
                </a:moveTo>
                <a:lnTo>
                  <a:pt x="1935" y="968"/>
                </a:lnTo>
                <a:cubicBezTo>
                  <a:pt x="1935" y="1503"/>
                  <a:pt x="1502" y="1935"/>
                  <a:pt x="967" y="1935"/>
                </a:cubicBezTo>
                <a:lnTo>
                  <a:pt x="967" y="1935"/>
                </a:lnTo>
                <a:cubicBezTo>
                  <a:pt x="433" y="1935"/>
                  <a:pt x="0" y="1503"/>
                  <a:pt x="0" y="968"/>
                </a:cubicBezTo>
                <a:lnTo>
                  <a:pt x="0" y="968"/>
                </a:lnTo>
                <a:cubicBezTo>
                  <a:pt x="0" y="434"/>
                  <a:pt x="433" y="0"/>
                  <a:pt x="967" y="0"/>
                </a:cubicBezTo>
                <a:lnTo>
                  <a:pt x="967" y="0"/>
                </a:lnTo>
                <a:cubicBezTo>
                  <a:pt x="1502" y="0"/>
                  <a:pt x="1935" y="434"/>
                  <a:pt x="1935" y="968"/>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0" name="Line 201">
            <a:extLst>
              <a:ext uri="{FF2B5EF4-FFF2-40B4-BE49-F238E27FC236}">
                <a16:creationId xmlns:a16="http://schemas.microsoft.com/office/drawing/2014/main" id="{E488A8DA-9DF7-CDB3-93B8-F2F76304F0A7}"/>
              </a:ext>
            </a:extLst>
          </p:cNvPr>
          <p:cNvSpPr>
            <a:spLocks noChangeShapeType="1"/>
          </p:cNvSpPr>
          <p:nvPr/>
        </p:nvSpPr>
        <p:spPr bwMode="auto">
          <a:xfrm flipV="1">
            <a:off x="6096000" y="3465513"/>
            <a:ext cx="0" cy="310356"/>
          </a:xfrm>
          <a:prstGeom prst="line">
            <a:avLst/>
          </a:prstGeom>
          <a:noFill/>
          <a:ln w="12700" cap="flat">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Freeform 20">
            <a:extLst>
              <a:ext uri="{FF2B5EF4-FFF2-40B4-BE49-F238E27FC236}">
                <a16:creationId xmlns:a16="http://schemas.microsoft.com/office/drawing/2014/main" id="{5963E86C-EC47-80DD-207A-012EE3AF5528}"/>
              </a:ext>
            </a:extLst>
          </p:cNvPr>
          <p:cNvSpPr>
            <a:spLocks noChangeArrowheads="1"/>
          </p:cNvSpPr>
          <p:nvPr/>
        </p:nvSpPr>
        <p:spPr bwMode="auto">
          <a:xfrm>
            <a:off x="2220656" y="2292183"/>
            <a:ext cx="468068" cy="468039"/>
          </a:xfrm>
          <a:custGeom>
            <a:avLst/>
            <a:gdLst>
              <a:gd name="connsiteX0" fmla="*/ 436098 w 936135"/>
              <a:gd name="connsiteY0" fmla="*/ 810988 h 936078"/>
              <a:gd name="connsiteX1" fmla="*/ 449234 w 936135"/>
              <a:gd name="connsiteY1" fmla="*/ 823726 h 936078"/>
              <a:gd name="connsiteX2" fmla="*/ 449234 w 936135"/>
              <a:gd name="connsiteY2" fmla="*/ 883592 h 936078"/>
              <a:gd name="connsiteX3" fmla="*/ 436098 w 936135"/>
              <a:gd name="connsiteY3" fmla="*/ 897603 h 936078"/>
              <a:gd name="connsiteX4" fmla="*/ 422962 w 936135"/>
              <a:gd name="connsiteY4" fmla="*/ 883592 h 936078"/>
              <a:gd name="connsiteX5" fmla="*/ 422962 w 936135"/>
              <a:gd name="connsiteY5" fmla="*/ 823726 h 936078"/>
              <a:gd name="connsiteX6" fmla="*/ 436098 w 936135"/>
              <a:gd name="connsiteY6" fmla="*/ 810988 h 936078"/>
              <a:gd name="connsiteX7" fmla="*/ 806366 w 936135"/>
              <a:gd name="connsiteY7" fmla="*/ 556861 h 936078"/>
              <a:gd name="connsiteX8" fmla="*/ 785243 w 936135"/>
              <a:gd name="connsiteY8" fmla="*/ 570583 h 936078"/>
              <a:gd name="connsiteX9" fmla="*/ 784001 w 936135"/>
              <a:gd name="connsiteY9" fmla="*/ 571830 h 936078"/>
              <a:gd name="connsiteX10" fmla="*/ 782759 w 936135"/>
              <a:gd name="connsiteY10" fmla="*/ 573078 h 936078"/>
              <a:gd name="connsiteX11" fmla="*/ 781516 w 936135"/>
              <a:gd name="connsiteY11" fmla="*/ 579315 h 936078"/>
              <a:gd name="connsiteX12" fmla="*/ 782759 w 936135"/>
              <a:gd name="connsiteY12" fmla="*/ 583057 h 936078"/>
              <a:gd name="connsiteX13" fmla="*/ 801396 w 936135"/>
              <a:gd name="connsiteY13" fmla="*/ 605511 h 936078"/>
              <a:gd name="connsiteX14" fmla="*/ 877187 w 936135"/>
              <a:gd name="connsiteY14" fmla="*/ 620480 h 936078"/>
              <a:gd name="connsiteX15" fmla="*/ 870974 w 936135"/>
              <a:gd name="connsiteY15" fmla="*/ 610501 h 936078"/>
              <a:gd name="connsiteX16" fmla="*/ 878429 w 936135"/>
              <a:gd name="connsiteY16" fmla="*/ 578068 h 936078"/>
              <a:gd name="connsiteX17" fmla="*/ 887126 w 936135"/>
              <a:gd name="connsiteY17" fmla="*/ 571830 h 936078"/>
              <a:gd name="connsiteX18" fmla="*/ 811335 w 936135"/>
              <a:gd name="connsiteY18" fmla="*/ 556861 h 936078"/>
              <a:gd name="connsiteX19" fmla="*/ 806366 w 936135"/>
              <a:gd name="connsiteY19" fmla="*/ 556861 h 936078"/>
              <a:gd name="connsiteX20" fmla="*/ 526809 w 936135"/>
              <a:gd name="connsiteY20" fmla="*/ 428377 h 936078"/>
              <a:gd name="connsiteX21" fmla="*/ 468413 w 936135"/>
              <a:gd name="connsiteY21" fmla="*/ 485758 h 936078"/>
              <a:gd name="connsiteX22" fmla="*/ 472140 w 936135"/>
              <a:gd name="connsiteY22" fmla="*/ 494490 h 936078"/>
              <a:gd name="connsiteX23" fmla="*/ 550416 w 936135"/>
              <a:gd name="connsiteY23" fmla="*/ 511954 h 936078"/>
              <a:gd name="connsiteX24" fmla="*/ 551658 w 936135"/>
              <a:gd name="connsiteY24" fmla="*/ 500727 h 936078"/>
              <a:gd name="connsiteX25" fmla="*/ 526809 w 936135"/>
              <a:gd name="connsiteY25" fmla="*/ 428377 h 936078"/>
              <a:gd name="connsiteX26" fmla="*/ 434866 w 936135"/>
              <a:gd name="connsiteY26" fmla="*/ 383470 h 936078"/>
              <a:gd name="connsiteX27" fmla="*/ 316831 w 936135"/>
              <a:gd name="connsiteY27" fmla="*/ 500727 h 936078"/>
              <a:gd name="connsiteX28" fmla="*/ 434866 w 936135"/>
              <a:gd name="connsiteY28" fmla="*/ 619233 h 936078"/>
              <a:gd name="connsiteX29" fmla="*/ 545446 w 936135"/>
              <a:gd name="connsiteY29" fmla="*/ 539398 h 936078"/>
              <a:gd name="connsiteX30" fmla="*/ 465928 w 936135"/>
              <a:gd name="connsiteY30" fmla="*/ 521934 h 936078"/>
              <a:gd name="connsiteX31" fmla="*/ 434866 w 936135"/>
              <a:gd name="connsiteY31" fmla="*/ 539398 h 936078"/>
              <a:gd name="connsiteX32" fmla="*/ 396349 w 936135"/>
              <a:gd name="connsiteY32" fmla="*/ 500727 h 936078"/>
              <a:gd name="connsiteX33" fmla="*/ 434866 w 936135"/>
              <a:gd name="connsiteY33" fmla="*/ 463305 h 936078"/>
              <a:gd name="connsiteX34" fmla="*/ 449776 w 936135"/>
              <a:gd name="connsiteY34" fmla="*/ 465800 h 936078"/>
              <a:gd name="connsiteX35" fmla="*/ 506929 w 936135"/>
              <a:gd name="connsiteY35" fmla="*/ 408418 h 936078"/>
              <a:gd name="connsiteX36" fmla="*/ 488292 w 936135"/>
              <a:gd name="connsiteY36" fmla="*/ 395944 h 936078"/>
              <a:gd name="connsiteX37" fmla="*/ 434866 w 936135"/>
              <a:gd name="connsiteY37" fmla="*/ 383470 h 936078"/>
              <a:gd name="connsiteX38" fmla="*/ 629934 w 936135"/>
              <a:gd name="connsiteY38" fmla="*/ 324841 h 936078"/>
              <a:gd name="connsiteX39" fmla="*/ 546689 w 936135"/>
              <a:gd name="connsiteY39" fmla="*/ 408418 h 936078"/>
              <a:gd name="connsiteX40" fmla="*/ 578993 w 936135"/>
              <a:gd name="connsiteY40" fmla="*/ 500727 h 936078"/>
              <a:gd name="connsiteX41" fmla="*/ 577750 w 936135"/>
              <a:gd name="connsiteY41" fmla="*/ 518191 h 936078"/>
              <a:gd name="connsiteX42" fmla="*/ 693300 w 936135"/>
              <a:gd name="connsiteY42" fmla="*/ 541892 h 936078"/>
              <a:gd name="connsiteX43" fmla="*/ 697028 w 936135"/>
              <a:gd name="connsiteY43" fmla="*/ 500727 h 936078"/>
              <a:gd name="connsiteX44" fmla="*/ 629934 w 936135"/>
              <a:gd name="connsiteY44" fmla="*/ 324841 h 936078"/>
              <a:gd name="connsiteX45" fmla="*/ 434866 w 936135"/>
              <a:gd name="connsiteY45" fmla="*/ 237521 h 936078"/>
              <a:gd name="connsiteX46" fmla="*/ 171462 w 936135"/>
              <a:gd name="connsiteY46" fmla="*/ 500727 h 936078"/>
              <a:gd name="connsiteX47" fmla="*/ 434866 w 936135"/>
              <a:gd name="connsiteY47" fmla="*/ 763934 h 936078"/>
              <a:gd name="connsiteX48" fmla="*/ 688331 w 936135"/>
              <a:gd name="connsiteY48" fmla="*/ 569336 h 936078"/>
              <a:gd name="connsiteX49" fmla="*/ 571538 w 936135"/>
              <a:gd name="connsiteY49" fmla="*/ 544387 h 936078"/>
              <a:gd name="connsiteX50" fmla="*/ 434866 w 936135"/>
              <a:gd name="connsiteY50" fmla="*/ 646676 h 936078"/>
              <a:gd name="connsiteX51" fmla="*/ 289497 w 936135"/>
              <a:gd name="connsiteY51" fmla="*/ 500727 h 936078"/>
              <a:gd name="connsiteX52" fmla="*/ 434866 w 936135"/>
              <a:gd name="connsiteY52" fmla="*/ 356026 h 936078"/>
              <a:gd name="connsiteX53" fmla="*/ 500717 w 936135"/>
              <a:gd name="connsiteY53" fmla="*/ 370996 h 936078"/>
              <a:gd name="connsiteX54" fmla="*/ 526809 w 936135"/>
              <a:gd name="connsiteY54" fmla="*/ 389707 h 936078"/>
              <a:gd name="connsiteX55" fmla="*/ 610055 w 936135"/>
              <a:gd name="connsiteY55" fmla="*/ 304882 h 936078"/>
              <a:gd name="connsiteX56" fmla="*/ 434866 w 936135"/>
              <a:gd name="connsiteY56" fmla="*/ 237521 h 936078"/>
              <a:gd name="connsiteX57" fmla="*/ 730575 w 936135"/>
              <a:gd name="connsiteY57" fmla="*/ 222552 h 936078"/>
              <a:gd name="connsiteX58" fmla="*/ 648571 w 936135"/>
              <a:gd name="connsiteY58" fmla="*/ 304882 h 936078"/>
              <a:gd name="connsiteX59" fmla="*/ 724362 w 936135"/>
              <a:gd name="connsiteY59" fmla="*/ 500727 h 936078"/>
              <a:gd name="connsiteX60" fmla="*/ 720635 w 936135"/>
              <a:gd name="connsiteY60" fmla="*/ 548129 h 936078"/>
              <a:gd name="connsiteX61" fmla="*/ 760394 w 936135"/>
              <a:gd name="connsiteY61" fmla="*/ 556861 h 936078"/>
              <a:gd name="connsiteX62" fmla="*/ 816305 w 936135"/>
              <a:gd name="connsiteY62" fmla="*/ 529418 h 936078"/>
              <a:gd name="connsiteX63" fmla="*/ 839912 w 936135"/>
              <a:gd name="connsiteY63" fmla="*/ 534408 h 936078"/>
              <a:gd name="connsiteX64" fmla="*/ 841155 w 936135"/>
              <a:gd name="connsiteY64" fmla="*/ 500727 h 936078"/>
              <a:gd name="connsiteX65" fmla="*/ 730575 w 936135"/>
              <a:gd name="connsiteY65" fmla="*/ 222552 h 936078"/>
              <a:gd name="connsiteX66" fmla="*/ 436098 w 936135"/>
              <a:gd name="connsiteY66" fmla="*/ 107877 h 936078"/>
              <a:gd name="connsiteX67" fmla="*/ 449234 w 936135"/>
              <a:gd name="connsiteY67" fmla="*/ 121889 h 936078"/>
              <a:gd name="connsiteX68" fmla="*/ 449234 w 936135"/>
              <a:gd name="connsiteY68" fmla="*/ 180481 h 936078"/>
              <a:gd name="connsiteX69" fmla="*/ 436098 w 936135"/>
              <a:gd name="connsiteY69" fmla="*/ 194492 h 936078"/>
              <a:gd name="connsiteX70" fmla="*/ 422962 w 936135"/>
              <a:gd name="connsiteY70" fmla="*/ 180481 h 936078"/>
              <a:gd name="connsiteX71" fmla="*/ 422962 w 936135"/>
              <a:gd name="connsiteY71" fmla="*/ 121889 h 936078"/>
              <a:gd name="connsiteX72" fmla="*/ 436098 w 936135"/>
              <a:gd name="connsiteY72" fmla="*/ 107877 h 936078"/>
              <a:gd name="connsiteX73" fmla="*/ 434866 w 936135"/>
              <a:gd name="connsiteY73" fmla="*/ 92820 h 936078"/>
              <a:gd name="connsiteX74" fmla="*/ 27335 w 936135"/>
              <a:gd name="connsiteY74" fmla="*/ 500727 h 936078"/>
              <a:gd name="connsiteX75" fmla="*/ 434866 w 936135"/>
              <a:gd name="connsiteY75" fmla="*/ 908635 h 936078"/>
              <a:gd name="connsiteX76" fmla="*/ 817548 w 936135"/>
              <a:gd name="connsiteY76" fmla="*/ 636696 h 936078"/>
              <a:gd name="connsiteX77" fmla="*/ 796426 w 936135"/>
              <a:gd name="connsiteY77" fmla="*/ 631707 h 936078"/>
              <a:gd name="connsiteX78" fmla="*/ 755424 w 936135"/>
              <a:gd name="connsiteY78" fmla="*/ 584305 h 936078"/>
              <a:gd name="connsiteX79" fmla="*/ 714423 w 936135"/>
              <a:gd name="connsiteY79" fmla="*/ 575573 h 936078"/>
              <a:gd name="connsiteX80" fmla="*/ 434866 w 936135"/>
              <a:gd name="connsiteY80" fmla="*/ 792624 h 936078"/>
              <a:gd name="connsiteX81" fmla="*/ 144127 w 936135"/>
              <a:gd name="connsiteY81" fmla="*/ 500727 h 936078"/>
              <a:gd name="connsiteX82" fmla="*/ 434866 w 936135"/>
              <a:gd name="connsiteY82" fmla="*/ 210078 h 936078"/>
              <a:gd name="connsiteX83" fmla="*/ 629934 w 936135"/>
              <a:gd name="connsiteY83" fmla="*/ 284923 h 936078"/>
              <a:gd name="connsiteX84" fmla="*/ 711938 w 936135"/>
              <a:gd name="connsiteY84" fmla="*/ 203841 h 936078"/>
              <a:gd name="connsiteX85" fmla="*/ 434866 w 936135"/>
              <a:gd name="connsiteY85" fmla="*/ 92820 h 936078"/>
              <a:gd name="connsiteX86" fmla="*/ 862277 w 936135"/>
              <a:gd name="connsiteY86" fmla="*/ 40429 h 936078"/>
              <a:gd name="connsiteX87" fmla="*/ 807608 w 936135"/>
              <a:gd name="connsiteY87" fmla="*/ 95315 h 936078"/>
              <a:gd name="connsiteX88" fmla="*/ 803881 w 936135"/>
              <a:gd name="connsiteY88" fmla="*/ 125253 h 936078"/>
              <a:gd name="connsiteX89" fmla="*/ 803881 w 936135"/>
              <a:gd name="connsiteY89" fmla="*/ 126501 h 936078"/>
              <a:gd name="connsiteX90" fmla="*/ 805123 w 936135"/>
              <a:gd name="connsiteY90" fmla="*/ 127748 h 936078"/>
              <a:gd name="connsiteX91" fmla="*/ 808850 w 936135"/>
              <a:gd name="connsiteY91" fmla="*/ 131490 h 936078"/>
              <a:gd name="connsiteX92" fmla="*/ 810093 w 936135"/>
              <a:gd name="connsiteY92" fmla="*/ 132738 h 936078"/>
              <a:gd name="connsiteX93" fmla="*/ 811335 w 936135"/>
              <a:gd name="connsiteY93" fmla="*/ 133985 h 936078"/>
              <a:gd name="connsiteX94" fmla="*/ 841155 w 936135"/>
              <a:gd name="connsiteY94" fmla="*/ 130243 h 936078"/>
              <a:gd name="connsiteX95" fmla="*/ 895824 w 936135"/>
              <a:gd name="connsiteY95" fmla="*/ 75356 h 936078"/>
              <a:gd name="connsiteX96" fmla="*/ 884641 w 936135"/>
              <a:gd name="connsiteY96" fmla="*/ 75356 h 936078"/>
              <a:gd name="connsiteX97" fmla="*/ 862277 w 936135"/>
              <a:gd name="connsiteY97" fmla="*/ 51655 h 936078"/>
              <a:gd name="connsiteX98" fmla="*/ 866781 w 936135"/>
              <a:gd name="connsiteY98" fmla="*/ 511 h 936078"/>
              <a:gd name="connsiteX99" fmla="*/ 877187 w 936135"/>
              <a:gd name="connsiteY99" fmla="*/ 1759 h 936078"/>
              <a:gd name="connsiteX100" fmla="*/ 888369 w 936135"/>
              <a:gd name="connsiteY100" fmla="*/ 19222 h 936078"/>
              <a:gd name="connsiteX101" fmla="*/ 888369 w 936135"/>
              <a:gd name="connsiteY101" fmla="*/ 47913 h 936078"/>
              <a:gd name="connsiteX102" fmla="*/ 916946 w 936135"/>
              <a:gd name="connsiteY102" fmla="*/ 47913 h 936078"/>
              <a:gd name="connsiteX103" fmla="*/ 934340 w 936135"/>
              <a:gd name="connsiteY103" fmla="*/ 59140 h 936078"/>
              <a:gd name="connsiteX104" fmla="*/ 930613 w 936135"/>
              <a:gd name="connsiteY104" fmla="*/ 79099 h 936078"/>
              <a:gd name="connsiteX105" fmla="*/ 861034 w 936135"/>
              <a:gd name="connsiteY105" fmla="*/ 148954 h 936078"/>
              <a:gd name="connsiteX106" fmla="*/ 825003 w 936135"/>
              <a:gd name="connsiteY106" fmla="*/ 163923 h 936078"/>
              <a:gd name="connsiteX107" fmla="*/ 798911 w 936135"/>
              <a:gd name="connsiteY107" fmla="*/ 157686 h 936078"/>
              <a:gd name="connsiteX108" fmla="*/ 796426 w 936135"/>
              <a:gd name="connsiteY108" fmla="*/ 155191 h 936078"/>
              <a:gd name="connsiteX109" fmla="*/ 750454 w 936135"/>
              <a:gd name="connsiteY109" fmla="*/ 203841 h 936078"/>
              <a:gd name="connsiteX110" fmla="*/ 868489 w 936135"/>
              <a:gd name="connsiteY110" fmla="*/ 500727 h 936078"/>
              <a:gd name="connsiteX111" fmla="*/ 866004 w 936135"/>
              <a:gd name="connsiteY111" fmla="*/ 539398 h 936078"/>
              <a:gd name="connsiteX112" fmla="*/ 911976 w 936135"/>
              <a:gd name="connsiteY112" fmla="*/ 548129 h 936078"/>
              <a:gd name="connsiteX113" fmla="*/ 928128 w 936135"/>
              <a:gd name="connsiteY113" fmla="*/ 564346 h 936078"/>
              <a:gd name="connsiteX114" fmla="*/ 919431 w 936135"/>
              <a:gd name="connsiteY114" fmla="*/ 583057 h 936078"/>
              <a:gd name="connsiteX115" fmla="*/ 895824 w 936135"/>
              <a:gd name="connsiteY115" fmla="*/ 599274 h 936078"/>
              <a:gd name="connsiteX116" fmla="*/ 911976 w 936135"/>
              <a:gd name="connsiteY116" fmla="*/ 621727 h 936078"/>
              <a:gd name="connsiteX117" fmla="*/ 911976 w 936135"/>
              <a:gd name="connsiteY117" fmla="*/ 642934 h 936078"/>
              <a:gd name="connsiteX118" fmla="*/ 895824 w 936135"/>
              <a:gd name="connsiteY118" fmla="*/ 651666 h 936078"/>
              <a:gd name="connsiteX119" fmla="*/ 893339 w 936135"/>
              <a:gd name="connsiteY119" fmla="*/ 650418 h 936078"/>
              <a:gd name="connsiteX120" fmla="*/ 844882 w 936135"/>
              <a:gd name="connsiteY120" fmla="*/ 641686 h 936078"/>
              <a:gd name="connsiteX121" fmla="*/ 434866 w 936135"/>
              <a:gd name="connsiteY121" fmla="*/ 936078 h 936078"/>
              <a:gd name="connsiteX122" fmla="*/ 0 w 936135"/>
              <a:gd name="connsiteY122" fmla="*/ 500727 h 936078"/>
              <a:gd name="connsiteX123" fmla="*/ 434866 w 936135"/>
              <a:gd name="connsiteY123" fmla="*/ 65377 h 936078"/>
              <a:gd name="connsiteX124" fmla="*/ 730575 w 936135"/>
              <a:gd name="connsiteY124" fmla="*/ 183882 h 936078"/>
              <a:gd name="connsiteX125" fmla="*/ 779031 w 936135"/>
              <a:gd name="connsiteY125" fmla="*/ 136480 h 936078"/>
              <a:gd name="connsiteX126" fmla="*/ 787728 w 936135"/>
              <a:gd name="connsiteY126" fmla="*/ 75356 h 936078"/>
              <a:gd name="connsiteX127" fmla="*/ 857307 w 936135"/>
              <a:gd name="connsiteY127" fmla="*/ 6748 h 936078"/>
              <a:gd name="connsiteX128" fmla="*/ 866781 w 936135"/>
              <a:gd name="connsiteY128" fmla="*/ 511 h 9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936135" h="936078">
                <a:moveTo>
                  <a:pt x="436098" y="810988"/>
                </a:moveTo>
                <a:cubicBezTo>
                  <a:pt x="443263" y="810988"/>
                  <a:pt x="449234" y="817357"/>
                  <a:pt x="449234" y="823726"/>
                </a:cubicBezTo>
                <a:lnTo>
                  <a:pt x="449234" y="883592"/>
                </a:lnTo>
                <a:cubicBezTo>
                  <a:pt x="449234" y="892508"/>
                  <a:pt x="443263" y="897603"/>
                  <a:pt x="436098" y="897603"/>
                </a:cubicBezTo>
                <a:cubicBezTo>
                  <a:pt x="427739" y="897603"/>
                  <a:pt x="422962" y="892508"/>
                  <a:pt x="422962" y="883592"/>
                </a:cubicBezTo>
                <a:lnTo>
                  <a:pt x="422962" y="823726"/>
                </a:lnTo>
                <a:cubicBezTo>
                  <a:pt x="422962" y="817357"/>
                  <a:pt x="427739" y="810988"/>
                  <a:pt x="436098" y="810988"/>
                </a:cubicBezTo>
                <a:close/>
                <a:moveTo>
                  <a:pt x="806366" y="556861"/>
                </a:moveTo>
                <a:cubicBezTo>
                  <a:pt x="797668" y="556861"/>
                  <a:pt x="788971" y="561851"/>
                  <a:pt x="785243" y="570583"/>
                </a:cubicBezTo>
                <a:lnTo>
                  <a:pt x="784001" y="571830"/>
                </a:lnTo>
                <a:cubicBezTo>
                  <a:pt x="782759" y="571830"/>
                  <a:pt x="782759" y="571830"/>
                  <a:pt x="782759" y="573078"/>
                </a:cubicBezTo>
                <a:lnTo>
                  <a:pt x="781516" y="579315"/>
                </a:lnTo>
                <a:lnTo>
                  <a:pt x="782759" y="583057"/>
                </a:lnTo>
                <a:cubicBezTo>
                  <a:pt x="782759" y="593037"/>
                  <a:pt x="790213" y="603016"/>
                  <a:pt x="801396" y="605511"/>
                </a:cubicBezTo>
                <a:lnTo>
                  <a:pt x="877187" y="620480"/>
                </a:lnTo>
                <a:lnTo>
                  <a:pt x="870974" y="610501"/>
                </a:lnTo>
                <a:cubicBezTo>
                  <a:pt x="864762" y="599274"/>
                  <a:pt x="867247" y="585552"/>
                  <a:pt x="878429" y="578068"/>
                </a:cubicBezTo>
                <a:lnTo>
                  <a:pt x="887126" y="571830"/>
                </a:lnTo>
                <a:lnTo>
                  <a:pt x="811335" y="556861"/>
                </a:lnTo>
                <a:cubicBezTo>
                  <a:pt x="810093" y="556861"/>
                  <a:pt x="808850" y="556861"/>
                  <a:pt x="806366" y="556861"/>
                </a:cubicBezTo>
                <a:close/>
                <a:moveTo>
                  <a:pt x="526809" y="428377"/>
                </a:moveTo>
                <a:lnTo>
                  <a:pt x="468413" y="485758"/>
                </a:lnTo>
                <a:cubicBezTo>
                  <a:pt x="469655" y="488253"/>
                  <a:pt x="470898" y="491995"/>
                  <a:pt x="472140" y="494490"/>
                </a:cubicBezTo>
                <a:lnTo>
                  <a:pt x="550416" y="511954"/>
                </a:lnTo>
                <a:cubicBezTo>
                  <a:pt x="551658" y="508212"/>
                  <a:pt x="551658" y="504470"/>
                  <a:pt x="551658" y="500727"/>
                </a:cubicBezTo>
                <a:cubicBezTo>
                  <a:pt x="551658" y="474532"/>
                  <a:pt x="542961" y="448336"/>
                  <a:pt x="526809" y="428377"/>
                </a:cubicBezTo>
                <a:close/>
                <a:moveTo>
                  <a:pt x="434866" y="383470"/>
                </a:moveTo>
                <a:cubicBezTo>
                  <a:pt x="370257" y="383470"/>
                  <a:pt x="316831" y="435861"/>
                  <a:pt x="316831" y="500727"/>
                </a:cubicBezTo>
                <a:cubicBezTo>
                  <a:pt x="316831" y="565593"/>
                  <a:pt x="370257" y="619233"/>
                  <a:pt x="434866" y="619233"/>
                </a:cubicBezTo>
                <a:cubicBezTo>
                  <a:pt x="485807" y="619233"/>
                  <a:pt x="529294" y="585552"/>
                  <a:pt x="545446" y="539398"/>
                </a:cubicBezTo>
                <a:lnTo>
                  <a:pt x="465928" y="521934"/>
                </a:lnTo>
                <a:cubicBezTo>
                  <a:pt x="458473" y="531913"/>
                  <a:pt x="447291" y="539398"/>
                  <a:pt x="434866" y="539398"/>
                </a:cubicBezTo>
                <a:cubicBezTo>
                  <a:pt x="412501" y="539398"/>
                  <a:pt x="396349" y="521934"/>
                  <a:pt x="396349" y="500727"/>
                </a:cubicBezTo>
                <a:cubicBezTo>
                  <a:pt x="396349" y="479521"/>
                  <a:pt x="412501" y="463305"/>
                  <a:pt x="434866" y="463305"/>
                </a:cubicBezTo>
                <a:cubicBezTo>
                  <a:pt x="439836" y="463305"/>
                  <a:pt x="444806" y="463305"/>
                  <a:pt x="449776" y="465800"/>
                </a:cubicBezTo>
                <a:lnTo>
                  <a:pt x="506929" y="408418"/>
                </a:lnTo>
                <a:cubicBezTo>
                  <a:pt x="501960" y="403428"/>
                  <a:pt x="495747" y="399686"/>
                  <a:pt x="488292" y="395944"/>
                </a:cubicBezTo>
                <a:cubicBezTo>
                  <a:pt x="472140" y="387212"/>
                  <a:pt x="453503" y="383470"/>
                  <a:pt x="434866" y="383470"/>
                </a:cubicBezTo>
                <a:close/>
                <a:moveTo>
                  <a:pt x="629934" y="324841"/>
                </a:moveTo>
                <a:lnTo>
                  <a:pt x="546689" y="408418"/>
                </a:lnTo>
                <a:cubicBezTo>
                  <a:pt x="566568" y="434614"/>
                  <a:pt x="578993" y="465800"/>
                  <a:pt x="578993" y="500727"/>
                </a:cubicBezTo>
                <a:cubicBezTo>
                  <a:pt x="578993" y="506965"/>
                  <a:pt x="578993" y="511954"/>
                  <a:pt x="577750" y="518191"/>
                </a:cubicBezTo>
                <a:lnTo>
                  <a:pt x="693300" y="541892"/>
                </a:lnTo>
                <a:cubicBezTo>
                  <a:pt x="695785" y="528171"/>
                  <a:pt x="697028" y="514449"/>
                  <a:pt x="697028" y="500727"/>
                </a:cubicBezTo>
                <a:cubicBezTo>
                  <a:pt x="697028" y="433367"/>
                  <a:pt x="672178" y="370996"/>
                  <a:pt x="629934" y="324841"/>
                </a:cubicBezTo>
                <a:close/>
                <a:moveTo>
                  <a:pt x="434866" y="237521"/>
                </a:moveTo>
                <a:cubicBezTo>
                  <a:pt x="289497" y="237521"/>
                  <a:pt x="171462" y="356026"/>
                  <a:pt x="171462" y="500727"/>
                </a:cubicBezTo>
                <a:cubicBezTo>
                  <a:pt x="171462" y="646676"/>
                  <a:pt x="289497" y="763934"/>
                  <a:pt x="434866" y="763934"/>
                </a:cubicBezTo>
                <a:cubicBezTo>
                  <a:pt x="555386" y="763934"/>
                  <a:pt x="658511" y="681604"/>
                  <a:pt x="688331" y="569336"/>
                </a:cubicBezTo>
                <a:lnTo>
                  <a:pt x="571538" y="544387"/>
                </a:lnTo>
                <a:cubicBezTo>
                  <a:pt x="554143" y="604263"/>
                  <a:pt x="499475" y="646676"/>
                  <a:pt x="434866" y="646676"/>
                </a:cubicBezTo>
                <a:cubicBezTo>
                  <a:pt x="354105" y="646676"/>
                  <a:pt x="289497" y="580562"/>
                  <a:pt x="289497" y="500727"/>
                </a:cubicBezTo>
                <a:cubicBezTo>
                  <a:pt x="289497" y="420892"/>
                  <a:pt x="354105" y="356026"/>
                  <a:pt x="434866" y="356026"/>
                </a:cubicBezTo>
                <a:cubicBezTo>
                  <a:pt x="457230" y="356026"/>
                  <a:pt x="479595" y="361016"/>
                  <a:pt x="500717" y="370996"/>
                </a:cubicBezTo>
                <a:cubicBezTo>
                  <a:pt x="509414" y="377233"/>
                  <a:pt x="518112" y="382222"/>
                  <a:pt x="526809" y="389707"/>
                </a:cubicBezTo>
                <a:lnTo>
                  <a:pt x="610055" y="304882"/>
                </a:lnTo>
                <a:cubicBezTo>
                  <a:pt x="564083" y="262470"/>
                  <a:pt x="501960" y="237521"/>
                  <a:pt x="434866" y="237521"/>
                </a:cubicBezTo>
                <a:close/>
                <a:moveTo>
                  <a:pt x="730575" y="222552"/>
                </a:moveTo>
                <a:lnTo>
                  <a:pt x="648571" y="304882"/>
                </a:lnTo>
                <a:cubicBezTo>
                  <a:pt x="695785" y="356026"/>
                  <a:pt x="724362" y="425882"/>
                  <a:pt x="724362" y="500727"/>
                </a:cubicBezTo>
                <a:cubicBezTo>
                  <a:pt x="724362" y="518191"/>
                  <a:pt x="723120" y="533160"/>
                  <a:pt x="720635" y="548129"/>
                </a:cubicBezTo>
                <a:lnTo>
                  <a:pt x="760394" y="556861"/>
                </a:lnTo>
                <a:cubicBezTo>
                  <a:pt x="771576" y="536903"/>
                  <a:pt x="793941" y="525676"/>
                  <a:pt x="816305" y="529418"/>
                </a:cubicBezTo>
                <a:lnTo>
                  <a:pt x="839912" y="534408"/>
                </a:lnTo>
                <a:cubicBezTo>
                  <a:pt x="839912" y="523181"/>
                  <a:pt x="841155" y="511954"/>
                  <a:pt x="841155" y="500727"/>
                </a:cubicBezTo>
                <a:cubicBezTo>
                  <a:pt x="841155" y="393449"/>
                  <a:pt x="798911" y="296150"/>
                  <a:pt x="730575" y="222552"/>
                </a:cubicBezTo>
                <a:close/>
                <a:moveTo>
                  <a:pt x="436098" y="107877"/>
                </a:moveTo>
                <a:cubicBezTo>
                  <a:pt x="443263" y="107877"/>
                  <a:pt x="449234" y="114246"/>
                  <a:pt x="449234" y="121889"/>
                </a:cubicBezTo>
                <a:lnTo>
                  <a:pt x="449234" y="180481"/>
                </a:lnTo>
                <a:cubicBezTo>
                  <a:pt x="449234" y="189397"/>
                  <a:pt x="443263" y="194492"/>
                  <a:pt x="436098" y="194492"/>
                </a:cubicBezTo>
                <a:cubicBezTo>
                  <a:pt x="427739" y="194492"/>
                  <a:pt x="422962" y="189397"/>
                  <a:pt x="422962" y="180481"/>
                </a:cubicBezTo>
                <a:lnTo>
                  <a:pt x="422962" y="121889"/>
                </a:lnTo>
                <a:cubicBezTo>
                  <a:pt x="422962" y="114246"/>
                  <a:pt x="427739" y="107877"/>
                  <a:pt x="436098" y="107877"/>
                </a:cubicBezTo>
                <a:close/>
                <a:moveTo>
                  <a:pt x="434866" y="92820"/>
                </a:moveTo>
                <a:cubicBezTo>
                  <a:pt x="209978" y="92820"/>
                  <a:pt x="27335" y="276191"/>
                  <a:pt x="27335" y="500727"/>
                </a:cubicBezTo>
                <a:cubicBezTo>
                  <a:pt x="27335" y="725263"/>
                  <a:pt x="209978" y="908635"/>
                  <a:pt x="434866" y="908635"/>
                </a:cubicBezTo>
                <a:cubicBezTo>
                  <a:pt x="607570" y="908635"/>
                  <a:pt x="760394" y="800109"/>
                  <a:pt x="817548" y="636696"/>
                </a:cubicBezTo>
                <a:lnTo>
                  <a:pt x="796426" y="631707"/>
                </a:lnTo>
                <a:cubicBezTo>
                  <a:pt x="774061" y="626717"/>
                  <a:pt x="756667" y="608006"/>
                  <a:pt x="755424" y="584305"/>
                </a:cubicBezTo>
                <a:lnTo>
                  <a:pt x="714423" y="575573"/>
                </a:lnTo>
                <a:cubicBezTo>
                  <a:pt x="682118" y="699068"/>
                  <a:pt x="569053" y="792624"/>
                  <a:pt x="434866" y="792624"/>
                </a:cubicBezTo>
                <a:cubicBezTo>
                  <a:pt x="274587" y="792624"/>
                  <a:pt x="144127" y="661645"/>
                  <a:pt x="144127" y="500727"/>
                </a:cubicBezTo>
                <a:cubicBezTo>
                  <a:pt x="144127" y="341057"/>
                  <a:pt x="274587" y="210078"/>
                  <a:pt x="434866" y="210078"/>
                </a:cubicBezTo>
                <a:cubicBezTo>
                  <a:pt x="509414" y="210078"/>
                  <a:pt x="577750" y="238769"/>
                  <a:pt x="629934" y="284923"/>
                </a:cubicBezTo>
                <a:lnTo>
                  <a:pt x="711938" y="203841"/>
                </a:lnTo>
                <a:cubicBezTo>
                  <a:pt x="638632" y="133985"/>
                  <a:pt x="541719" y="92820"/>
                  <a:pt x="434866" y="92820"/>
                </a:cubicBezTo>
                <a:close/>
                <a:moveTo>
                  <a:pt x="862277" y="40429"/>
                </a:moveTo>
                <a:lnTo>
                  <a:pt x="807608" y="95315"/>
                </a:lnTo>
                <a:cubicBezTo>
                  <a:pt x="798911" y="102800"/>
                  <a:pt x="797668" y="114027"/>
                  <a:pt x="803881" y="125253"/>
                </a:cubicBezTo>
                <a:lnTo>
                  <a:pt x="803881" y="126501"/>
                </a:lnTo>
                <a:cubicBezTo>
                  <a:pt x="803881" y="126501"/>
                  <a:pt x="803881" y="126501"/>
                  <a:pt x="805123" y="127748"/>
                </a:cubicBezTo>
                <a:lnTo>
                  <a:pt x="808850" y="131490"/>
                </a:lnTo>
                <a:cubicBezTo>
                  <a:pt x="810093" y="132738"/>
                  <a:pt x="810093" y="132738"/>
                  <a:pt x="810093" y="132738"/>
                </a:cubicBezTo>
                <a:lnTo>
                  <a:pt x="811335" y="133985"/>
                </a:lnTo>
                <a:cubicBezTo>
                  <a:pt x="822518" y="138975"/>
                  <a:pt x="833700" y="137728"/>
                  <a:pt x="841155" y="130243"/>
                </a:cubicBezTo>
                <a:lnTo>
                  <a:pt x="895824" y="75356"/>
                </a:lnTo>
                <a:lnTo>
                  <a:pt x="884641" y="75356"/>
                </a:lnTo>
                <a:cubicBezTo>
                  <a:pt x="872217" y="75356"/>
                  <a:pt x="862277" y="64130"/>
                  <a:pt x="862277" y="51655"/>
                </a:cubicBezTo>
                <a:close/>
                <a:moveTo>
                  <a:pt x="866781" y="511"/>
                </a:moveTo>
                <a:cubicBezTo>
                  <a:pt x="870353" y="-424"/>
                  <a:pt x="874081" y="-112"/>
                  <a:pt x="877187" y="1759"/>
                </a:cubicBezTo>
                <a:cubicBezTo>
                  <a:pt x="884641" y="4253"/>
                  <a:pt x="888369" y="11738"/>
                  <a:pt x="888369" y="19222"/>
                </a:cubicBezTo>
                <a:lnTo>
                  <a:pt x="888369" y="47913"/>
                </a:lnTo>
                <a:lnTo>
                  <a:pt x="916946" y="47913"/>
                </a:lnTo>
                <a:cubicBezTo>
                  <a:pt x="924401" y="47913"/>
                  <a:pt x="931855" y="51655"/>
                  <a:pt x="934340" y="59140"/>
                </a:cubicBezTo>
                <a:cubicBezTo>
                  <a:pt x="938068" y="65377"/>
                  <a:pt x="935583" y="74109"/>
                  <a:pt x="930613" y="79099"/>
                </a:cubicBezTo>
                <a:lnTo>
                  <a:pt x="861034" y="148954"/>
                </a:lnTo>
                <a:cubicBezTo>
                  <a:pt x="851095" y="158934"/>
                  <a:pt x="837427" y="163923"/>
                  <a:pt x="825003" y="163923"/>
                </a:cubicBezTo>
                <a:cubicBezTo>
                  <a:pt x="816305" y="163923"/>
                  <a:pt x="807608" y="161429"/>
                  <a:pt x="798911" y="157686"/>
                </a:cubicBezTo>
                <a:cubicBezTo>
                  <a:pt x="798911" y="157686"/>
                  <a:pt x="797668" y="156439"/>
                  <a:pt x="796426" y="155191"/>
                </a:cubicBezTo>
                <a:lnTo>
                  <a:pt x="750454" y="203841"/>
                </a:lnTo>
                <a:cubicBezTo>
                  <a:pt x="823760" y="281181"/>
                  <a:pt x="868489" y="384717"/>
                  <a:pt x="868489" y="500727"/>
                </a:cubicBezTo>
                <a:cubicBezTo>
                  <a:pt x="868489" y="513202"/>
                  <a:pt x="867247" y="526923"/>
                  <a:pt x="866004" y="539398"/>
                </a:cubicBezTo>
                <a:lnTo>
                  <a:pt x="911976" y="548129"/>
                </a:lnTo>
                <a:cubicBezTo>
                  <a:pt x="919431" y="550624"/>
                  <a:pt x="925643" y="556861"/>
                  <a:pt x="928128" y="564346"/>
                </a:cubicBezTo>
                <a:cubicBezTo>
                  <a:pt x="929370" y="571830"/>
                  <a:pt x="925643" y="579315"/>
                  <a:pt x="919431" y="583057"/>
                </a:cubicBezTo>
                <a:lnTo>
                  <a:pt x="895824" y="599274"/>
                </a:lnTo>
                <a:lnTo>
                  <a:pt x="911976" y="621727"/>
                </a:lnTo>
                <a:cubicBezTo>
                  <a:pt x="915703" y="629212"/>
                  <a:pt x="915703" y="636696"/>
                  <a:pt x="911976" y="642934"/>
                </a:cubicBezTo>
                <a:cubicBezTo>
                  <a:pt x="908248" y="649171"/>
                  <a:pt x="902036" y="651666"/>
                  <a:pt x="895824" y="651666"/>
                </a:cubicBezTo>
                <a:cubicBezTo>
                  <a:pt x="894581" y="651666"/>
                  <a:pt x="893339" y="651666"/>
                  <a:pt x="893339" y="650418"/>
                </a:cubicBezTo>
                <a:lnTo>
                  <a:pt x="844882" y="641686"/>
                </a:lnTo>
                <a:cubicBezTo>
                  <a:pt x="785243" y="817573"/>
                  <a:pt x="619995" y="936078"/>
                  <a:pt x="434866" y="936078"/>
                </a:cubicBezTo>
                <a:cubicBezTo>
                  <a:pt x="195069" y="936078"/>
                  <a:pt x="0" y="741480"/>
                  <a:pt x="0" y="500727"/>
                </a:cubicBezTo>
                <a:cubicBezTo>
                  <a:pt x="0" y="261222"/>
                  <a:pt x="195069" y="65377"/>
                  <a:pt x="434866" y="65377"/>
                </a:cubicBezTo>
                <a:cubicBezTo>
                  <a:pt x="549174" y="65377"/>
                  <a:pt x="653541" y="110284"/>
                  <a:pt x="730575" y="183882"/>
                </a:cubicBezTo>
                <a:lnTo>
                  <a:pt x="779031" y="136480"/>
                </a:lnTo>
                <a:cubicBezTo>
                  <a:pt x="769091" y="116521"/>
                  <a:pt x="771576" y="90325"/>
                  <a:pt x="787728" y="75356"/>
                </a:cubicBezTo>
                <a:lnTo>
                  <a:pt x="857307" y="6748"/>
                </a:lnTo>
                <a:cubicBezTo>
                  <a:pt x="859792" y="3630"/>
                  <a:pt x="863209" y="1447"/>
                  <a:pt x="866781" y="511"/>
                </a:cubicBezTo>
                <a:close/>
              </a:path>
            </a:pathLst>
          </a:custGeom>
          <a:solidFill>
            <a:schemeClr val="tx2"/>
          </a:solidFill>
          <a:ln>
            <a:noFill/>
          </a:ln>
          <a:effectLst/>
        </p:spPr>
        <p:txBody>
          <a:bodyPr wrap="square" anchor="ctr">
            <a:noAutofit/>
          </a:bodyPr>
          <a:lstStyle/>
          <a:p>
            <a:endParaRPr lang="en-US" dirty="0"/>
          </a:p>
        </p:txBody>
      </p:sp>
      <p:sp>
        <p:nvSpPr>
          <p:cNvPr id="15" name="Freeform 24">
            <a:extLst>
              <a:ext uri="{FF2B5EF4-FFF2-40B4-BE49-F238E27FC236}">
                <a16:creationId xmlns:a16="http://schemas.microsoft.com/office/drawing/2014/main" id="{2B5D828B-F1C8-1E35-4C89-F5EA761FF21C}"/>
              </a:ext>
            </a:extLst>
          </p:cNvPr>
          <p:cNvSpPr>
            <a:spLocks noChangeArrowheads="1"/>
          </p:cNvSpPr>
          <p:nvPr/>
        </p:nvSpPr>
        <p:spPr bwMode="auto">
          <a:xfrm>
            <a:off x="9493450" y="2280205"/>
            <a:ext cx="491004" cy="491005"/>
          </a:xfrm>
          <a:custGeom>
            <a:avLst/>
            <a:gdLst>
              <a:gd name="connsiteX0" fmla="*/ 213804 w 982008"/>
              <a:gd name="connsiteY0" fmla="*/ 788094 h 982010"/>
              <a:gd name="connsiteX1" fmla="*/ 174026 w 982008"/>
              <a:gd name="connsiteY1" fmla="*/ 827872 h 982010"/>
              <a:gd name="connsiteX2" fmla="*/ 491004 w 982008"/>
              <a:gd name="connsiteY2" fmla="*/ 954663 h 982010"/>
              <a:gd name="connsiteX3" fmla="*/ 809224 w 982008"/>
              <a:gd name="connsiteY3" fmla="*/ 827872 h 982010"/>
              <a:gd name="connsiteX4" fmla="*/ 769448 w 982008"/>
              <a:gd name="connsiteY4" fmla="*/ 788094 h 982010"/>
              <a:gd name="connsiteX5" fmla="*/ 491004 w 982008"/>
              <a:gd name="connsiteY5" fmla="*/ 898726 h 982010"/>
              <a:gd name="connsiteX6" fmla="*/ 213804 w 982008"/>
              <a:gd name="connsiteY6" fmla="*/ 788094 h 982010"/>
              <a:gd name="connsiteX7" fmla="*/ 575544 w 982008"/>
              <a:gd name="connsiteY7" fmla="*/ 548995 h 982010"/>
              <a:gd name="connsiteX8" fmla="*/ 548690 w 982008"/>
              <a:gd name="connsiteY8" fmla="*/ 576152 h 982010"/>
              <a:gd name="connsiteX9" fmla="*/ 575544 w 982008"/>
              <a:gd name="connsiteY9" fmla="*/ 603308 h 982010"/>
              <a:gd name="connsiteX10" fmla="*/ 603620 w 982008"/>
              <a:gd name="connsiteY10" fmla="*/ 576152 h 982010"/>
              <a:gd name="connsiteX11" fmla="*/ 575544 w 982008"/>
              <a:gd name="connsiteY11" fmla="*/ 548995 h 982010"/>
              <a:gd name="connsiteX12" fmla="*/ 575544 w 982008"/>
              <a:gd name="connsiteY12" fmla="*/ 521838 h 982010"/>
              <a:gd name="connsiteX13" fmla="*/ 630476 w 982008"/>
              <a:gd name="connsiteY13" fmla="*/ 576152 h 982010"/>
              <a:gd name="connsiteX14" fmla="*/ 575544 w 982008"/>
              <a:gd name="connsiteY14" fmla="*/ 630465 h 982010"/>
              <a:gd name="connsiteX15" fmla="*/ 521836 w 982008"/>
              <a:gd name="connsiteY15" fmla="*/ 576152 h 982010"/>
              <a:gd name="connsiteX16" fmla="*/ 575544 w 982008"/>
              <a:gd name="connsiteY16" fmla="*/ 521838 h 982010"/>
              <a:gd name="connsiteX17" fmla="*/ 410122 w 982008"/>
              <a:gd name="connsiteY17" fmla="*/ 384204 h 982010"/>
              <a:gd name="connsiteX18" fmla="*/ 384200 w 982008"/>
              <a:gd name="connsiteY18" fmla="*/ 411361 h 982010"/>
              <a:gd name="connsiteX19" fmla="*/ 410122 w 982008"/>
              <a:gd name="connsiteY19" fmla="*/ 438517 h 982010"/>
              <a:gd name="connsiteX20" fmla="*/ 437280 w 982008"/>
              <a:gd name="connsiteY20" fmla="*/ 411361 h 982010"/>
              <a:gd name="connsiteX21" fmla="*/ 410122 w 982008"/>
              <a:gd name="connsiteY21" fmla="*/ 384204 h 982010"/>
              <a:gd name="connsiteX22" fmla="*/ 561858 w 982008"/>
              <a:gd name="connsiteY22" fmla="*/ 359524 h 982010"/>
              <a:gd name="connsiteX23" fmla="*/ 572218 w 982008"/>
              <a:gd name="connsiteY23" fmla="*/ 360761 h 982010"/>
              <a:gd name="connsiteX24" fmla="*/ 577240 w 982008"/>
              <a:gd name="connsiteY24" fmla="*/ 379318 h 982010"/>
              <a:gd name="connsiteX25" fmla="*/ 434106 w 982008"/>
              <a:gd name="connsiteY25" fmla="*/ 623041 h 982010"/>
              <a:gd name="connsiteX26" fmla="*/ 422806 w 982008"/>
              <a:gd name="connsiteY26" fmla="*/ 630464 h 982010"/>
              <a:gd name="connsiteX27" fmla="*/ 415272 w 982008"/>
              <a:gd name="connsiteY27" fmla="*/ 627990 h 982010"/>
              <a:gd name="connsiteX28" fmla="*/ 410250 w 982008"/>
              <a:gd name="connsiteY28" fmla="*/ 609432 h 982010"/>
              <a:gd name="connsiteX29" fmla="*/ 553384 w 982008"/>
              <a:gd name="connsiteY29" fmla="*/ 365709 h 982010"/>
              <a:gd name="connsiteX30" fmla="*/ 561858 w 982008"/>
              <a:gd name="connsiteY30" fmla="*/ 359524 h 982010"/>
              <a:gd name="connsiteX31" fmla="*/ 410122 w 982008"/>
              <a:gd name="connsiteY31" fmla="*/ 357047 h 982010"/>
              <a:gd name="connsiteX32" fmla="*/ 465670 w 982008"/>
              <a:gd name="connsiteY32" fmla="*/ 411361 h 982010"/>
              <a:gd name="connsiteX33" fmla="*/ 410122 w 982008"/>
              <a:gd name="connsiteY33" fmla="*/ 465674 h 982010"/>
              <a:gd name="connsiteX34" fmla="*/ 357044 w 982008"/>
              <a:gd name="connsiteY34" fmla="*/ 411361 h 982010"/>
              <a:gd name="connsiteX35" fmla="*/ 410122 w 982008"/>
              <a:gd name="connsiteY35" fmla="*/ 357047 h 982010"/>
              <a:gd name="connsiteX36" fmla="*/ 491004 w 982008"/>
              <a:gd name="connsiteY36" fmla="*/ 110632 h 982010"/>
              <a:gd name="connsiteX37" fmla="*/ 111874 w 982008"/>
              <a:gd name="connsiteY37" fmla="*/ 491005 h 982010"/>
              <a:gd name="connsiteX38" fmla="*/ 491004 w 982008"/>
              <a:gd name="connsiteY38" fmla="*/ 871379 h 982010"/>
              <a:gd name="connsiteX39" fmla="*/ 871378 w 982008"/>
              <a:gd name="connsiteY39" fmla="*/ 491005 h 982010"/>
              <a:gd name="connsiteX40" fmla="*/ 491004 w 982008"/>
              <a:gd name="connsiteY40" fmla="*/ 110632 h 982010"/>
              <a:gd name="connsiteX41" fmla="*/ 504678 w 982008"/>
              <a:gd name="connsiteY41" fmla="*/ 27347 h 982010"/>
              <a:gd name="connsiteX42" fmla="*/ 504678 w 982008"/>
              <a:gd name="connsiteY42" fmla="*/ 84528 h 982010"/>
              <a:gd name="connsiteX43" fmla="*/ 898724 w 982008"/>
              <a:gd name="connsiteY43" fmla="*/ 491005 h 982010"/>
              <a:gd name="connsiteX44" fmla="*/ 788094 w 982008"/>
              <a:gd name="connsiteY44" fmla="*/ 769449 h 982010"/>
              <a:gd name="connsiteX45" fmla="*/ 829114 w 982008"/>
              <a:gd name="connsiteY45" fmla="*/ 809226 h 982010"/>
              <a:gd name="connsiteX46" fmla="*/ 955904 w 982008"/>
              <a:gd name="connsiteY46" fmla="*/ 491005 h 982010"/>
              <a:gd name="connsiteX47" fmla="*/ 504678 w 982008"/>
              <a:gd name="connsiteY47" fmla="*/ 27347 h 982010"/>
              <a:gd name="connsiteX48" fmla="*/ 478574 w 982008"/>
              <a:gd name="connsiteY48" fmla="*/ 27347 h 982010"/>
              <a:gd name="connsiteX49" fmla="*/ 27346 w 982008"/>
              <a:gd name="connsiteY49" fmla="*/ 491005 h 982010"/>
              <a:gd name="connsiteX50" fmla="*/ 154138 w 982008"/>
              <a:gd name="connsiteY50" fmla="*/ 809226 h 982010"/>
              <a:gd name="connsiteX51" fmla="*/ 193914 w 982008"/>
              <a:gd name="connsiteY51" fmla="*/ 769449 h 982010"/>
              <a:gd name="connsiteX52" fmla="*/ 84526 w 982008"/>
              <a:gd name="connsiteY52" fmla="*/ 491005 h 982010"/>
              <a:gd name="connsiteX53" fmla="*/ 478574 w 982008"/>
              <a:gd name="connsiteY53" fmla="*/ 84528 h 982010"/>
              <a:gd name="connsiteX54" fmla="*/ 491004 w 982008"/>
              <a:gd name="connsiteY54" fmla="*/ 0 h 982010"/>
              <a:gd name="connsiteX55" fmla="*/ 982008 w 982008"/>
              <a:gd name="connsiteY55" fmla="*/ 491005 h 982010"/>
              <a:gd name="connsiteX56" fmla="*/ 839058 w 982008"/>
              <a:gd name="connsiteY56" fmla="*/ 836573 h 982010"/>
              <a:gd name="connsiteX57" fmla="*/ 839058 w 982008"/>
              <a:gd name="connsiteY57" fmla="*/ 837816 h 982010"/>
              <a:gd name="connsiteX58" fmla="*/ 837816 w 982008"/>
              <a:gd name="connsiteY58" fmla="*/ 839059 h 982010"/>
              <a:gd name="connsiteX59" fmla="*/ 491004 w 982008"/>
              <a:gd name="connsiteY59" fmla="*/ 982010 h 982010"/>
              <a:gd name="connsiteX60" fmla="*/ 145436 w 982008"/>
              <a:gd name="connsiteY60" fmla="*/ 839059 h 982010"/>
              <a:gd name="connsiteX61" fmla="*/ 144192 w 982008"/>
              <a:gd name="connsiteY61" fmla="*/ 837816 h 982010"/>
              <a:gd name="connsiteX62" fmla="*/ 142950 w 982008"/>
              <a:gd name="connsiteY62" fmla="*/ 836573 h 982010"/>
              <a:gd name="connsiteX63" fmla="*/ 0 w 982008"/>
              <a:gd name="connsiteY63" fmla="*/ 491005 h 982010"/>
              <a:gd name="connsiteX64" fmla="*/ 491004 w 982008"/>
              <a:gd name="connsiteY64" fmla="*/ 0 h 9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82008" h="982010">
                <a:moveTo>
                  <a:pt x="213804" y="788094"/>
                </a:moveTo>
                <a:lnTo>
                  <a:pt x="174026" y="827872"/>
                </a:lnTo>
                <a:cubicBezTo>
                  <a:pt x="257310" y="906184"/>
                  <a:pt x="367942" y="954663"/>
                  <a:pt x="491004" y="954663"/>
                </a:cubicBezTo>
                <a:cubicBezTo>
                  <a:pt x="615310" y="954663"/>
                  <a:pt x="725940" y="906184"/>
                  <a:pt x="809224" y="827872"/>
                </a:cubicBezTo>
                <a:lnTo>
                  <a:pt x="769448" y="788094"/>
                </a:lnTo>
                <a:cubicBezTo>
                  <a:pt x="696108" y="856462"/>
                  <a:pt x="599150" y="898726"/>
                  <a:pt x="491004" y="898726"/>
                </a:cubicBezTo>
                <a:cubicBezTo>
                  <a:pt x="384102" y="898726"/>
                  <a:pt x="285900" y="856462"/>
                  <a:pt x="213804" y="788094"/>
                </a:cubicBezTo>
                <a:close/>
                <a:moveTo>
                  <a:pt x="575544" y="548995"/>
                </a:moveTo>
                <a:cubicBezTo>
                  <a:pt x="560896" y="548995"/>
                  <a:pt x="548690" y="561339"/>
                  <a:pt x="548690" y="576152"/>
                </a:cubicBezTo>
                <a:cubicBezTo>
                  <a:pt x="548690" y="590964"/>
                  <a:pt x="560896" y="603308"/>
                  <a:pt x="575544" y="603308"/>
                </a:cubicBezTo>
                <a:cubicBezTo>
                  <a:pt x="591414" y="603308"/>
                  <a:pt x="603620" y="590964"/>
                  <a:pt x="603620" y="576152"/>
                </a:cubicBezTo>
                <a:cubicBezTo>
                  <a:pt x="603620" y="561339"/>
                  <a:pt x="591414" y="548995"/>
                  <a:pt x="575544" y="548995"/>
                </a:cubicBezTo>
                <a:close/>
                <a:moveTo>
                  <a:pt x="575544" y="521838"/>
                </a:moveTo>
                <a:cubicBezTo>
                  <a:pt x="604842" y="521838"/>
                  <a:pt x="630476" y="546526"/>
                  <a:pt x="630476" y="576152"/>
                </a:cubicBezTo>
                <a:cubicBezTo>
                  <a:pt x="630476" y="605777"/>
                  <a:pt x="604842" y="630465"/>
                  <a:pt x="575544" y="630465"/>
                </a:cubicBezTo>
                <a:cubicBezTo>
                  <a:pt x="546248" y="630465"/>
                  <a:pt x="521836" y="605777"/>
                  <a:pt x="521836" y="576152"/>
                </a:cubicBezTo>
                <a:cubicBezTo>
                  <a:pt x="521836" y="546526"/>
                  <a:pt x="546248" y="521838"/>
                  <a:pt x="575544" y="521838"/>
                </a:cubicBezTo>
                <a:close/>
                <a:moveTo>
                  <a:pt x="410122" y="384204"/>
                </a:moveTo>
                <a:cubicBezTo>
                  <a:pt x="396544" y="384204"/>
                  <a:pt x="384200" y="396548"/>
                  <a:pt x="384200" y="411361"/>
                </a:cubicBezTo>
                <a:cubicBezTo>
                  <a:pt x="384200" y="426173"/>
                  <a:pt x="396544" y="438517"/>
                  <a:pt x="410122" y="438517"/>
                </a:cubicBezTo>
                <a:cubicBezTo>
                  <a:pt x="426170" y="438517"/>
                  <a:pt x="437280" y="426173"/>
                  <a:pt x="437280" y="411361"/>
                </a:cubicBezTo>
                <a:cubicBezTo>
                  <a:pt x="437280" y="396548"/>
                  <a:pt x="426170" y="384204"/>
                  <a:pt x="410122" y="384204"/>
                </a:cubicBezTo>
                <a:close/>
                <a:moveTo>
                  <a:pt x="561858" y="359524"/>
                </a:moveTo>
                <a:cubicBezTo>
                  <a:pt x="565312" y="358596"/>
                  <a:pt x="569078" y="358905"/>
                  <a:pt x="572218" y="360761"/>
                </a:cubicBezTo>
                <a:cubicBezTo>
                  <a:pt x="578496" y="364472"/>
                  <a:pt x="581006" y="373132"/>
                  <a:pt x="577240" y="379318"/>
                </a:cubicBezTo>
                <a:lnTo>
                  <a:pt x="434106" y="623041"/>
                </a:lnTo>
                <a:cubicBezTo>
                  <a:pt x="431596" y="627990"/>
                  <a:pt x="426572" y="630464"/>
                  <a:pt x="422806" y="630464"/>
                </a:cubicBezTo>
                <a:cubicBezTo>
                  <a:pt x="420296" y="630464"/>
                  <a:pt x="417784" y="629227"/>
                  <a:pt x="415272" y="627990"/>
                </a:cubicBezTo>
                <a:cubicBezTo>
                  <a:pt x="408996" y="624278"/>
                  <a:pt x="406484" y="616855"/>
                  <a:pt x="410250" y="609432"/>
                </a:cubicBezTo>
                <a:lnTo>
                  <a:pt x="553384" y="365709"/>
                </a:lnTo>
                <a:cubicBezTo>
                  <a:pt x="555266" y="362617"/>
                  <a:pt x="558406" y="360452"/>
                  <a:pt x="561858" y="359524"/>
                </a:cubicBezTo>
                <a:close/>
                <a:moveTo>
                  <a:pt x="410122" y="357047"/>
                </a:moveTo>
                <a:cubicBezTo>
                  <a:pt x="440982" y="357047"/>
                  <a:pt x="465670" y="381735"/>
                  <a:pt x="465670" y="411361"/>
                </a:cubicBezTo>
                <a:cubicBezTo>
                  <a:pt x="465670" y="442220"/>
                  <a:pt x="440982" y="465674"/>
                  <a:pt x="410122" y="465674"/>
                </a:cubicBezTo>
                <a:cubicBezTo>
                  <a:pt x="381732" y="465674"/>
                  <a:pt x="357044" y="442220"/>
                  <a:pt x="357044" y="411361"/>
                </a:cubicBezTo>
                <a:cubicBezTo>
                  <a:pt x="357044" y="381735"/>
                  <a:pt x="381732" y="357047"/>
                  <a:pt x="410122" y="357047"/>
                </a:cubicBezTo>
                <a:close/>
                <a:moveTo>
                  <a:pt x="491004" y="110632"/>
                </a:moveTo>
                <a:cubicBezTo>
                  <a:pt x="282172" y="110632"/>
                  <a:pt x="111874" y="280930"/>
                  <a:pt x="111874" y="491005"/>
                </a:cubicBezTo>
                <a:cubicBezTo>
                  <a:pt x="111874" y="699838"/>
                  <a:pt x="282172" y="871379"/>
                  <a:pt x="491004" y="871379"/>
                </a:cubicBezTo>
                <a:cubicBezTo>
                  <a:pt x="701080" y="871379"/>
                  <a:pt x="871378" y="699838"/>
                  <a:pt x="871378" y="491005"/>
                </a:cubicBezTo>
                <a:cubicBezTo>
                  <a:pt x="871378" y="280930"/>
                  <a:pt x="701080" y="110632"/>
                  <a:pt x="491004" y="110632"/>
                </a:cubicBezTo>
                <a:close/>
                <a:moveTo>
                  <a:pt x="504678" y="27347"/>
                </a:moveTo>
                <a:lnTo>
                  <a:pt x="504678" y="84528"/>
                </a:lnTo>
                <a:cubicBezTo>
                  <a:pt x="723454" y="90743"/>
                  <a:pt x="898724" y="270985"/>
                  <a:pt x="898724" y="491005"/>
                </a:cubicBezTo>
                <a:cubicBezTo>
                  <a:pt x="898724" y="599151"/>
                  <a:pt x="857704" y="696109"/>
                  <a:pt x="788094" y="769449"/>
                </a:cubicBezTo>
                <a:lnTo>
                  <a:pt x="829114" y="809226"/>
                </a:lnTo>
                <a:cubicBezTo>
                  <a:pt x="907426" y="725942"/>
                  <a:pt x="955904" y="614067"/>
                  <a:pt x="955904" y="491005"/>
                </a:cubicBezTo>
                <a:cubicBezTo>
                  <a:pt x="955904" y="239909"/>
                  <a:pt x="754530" y="34806"/>
                  <a:pt x="504678" y="27347"/>
                </a:cubicBezTo>
                <a:close/>
                <a:moveTo>
                  <a:pt x="478574" y="27347"/>
                </a:moveTo>
                <a:cubicBezTo>
                  <a:pt x="228720" y="34806"/>
                  <a:pt x="27346" y="239909"/>
                  <a:pt x="27346" y="491005"/>
                </a:cubicBezTo>
                <a:cubicBezTo>
                  <a:pt x="27346" y="614067"/>
                  <a:pt x="75826" y="725942"/>
                  <a:pt x="154138" y="809226"/>
                </a:cubicBezTo>
                <a:lnTo>
                  <a:pt x="193914" y="769449"/>
                </a:lnTo>
                <a:cubicBezTo>
                  <a:pt x="125548" y="696109"/>
                  <a:pt x="84526" y="599151"/>
                  <a:pt x="84526" y="491005"/>
                </a:cubicBezTo>
                <a:cubicBezTo>
                  <a:pt x="84526" y="270985"/>
                  <a:pt x="259796" y="90743"/>
                  <a:pt x="478574" y="84528"/>
                </a:cubicBezTo>
                <a:close/>
                <a:moveTo>
                  <a:pt x="491004" y="0"/>
                </a:moveTo>
                <a:cubicBezTo>
                  <a:pt x="761988" y="0"/>
                  <a:pt x="982008" y="220020"/>
                  <a:pt x="982008" y="491005"/>
                </a:cubicBezTo>
                <a:cubicBezTo>
                  <a:pt x="982008" y="626498"/>
                  <a:pt x="928558" y="748317"/>
                  <a:pt x="839058" y="836573"/>
                </a:cubicBezTo>
                <a:lnTo>
                  <a:pt x="839058" y="837816"/>
                </a:lnTo>
                <a:cubicBezTo>
                  <a:pt x="839058" y="839059"/>
                  <a:pt x="837816" y="839059"/>
                  <a:pt x="837816" y="839059"/>
                </a:cubicBezTo>
                <a:cubicBezTo>
                  <a:pt x="749558" y="927316"/>
                  <a:pt x="626496" y="982010"/>
                  <a:pt x="491004" y="982010"/>
                </a:cubicBezTo>
                <a:cubicBezTo>
                  <a:pt x="356754" y="982010"/>
                  <a:pt x="234936" y="927316"/>
                  <a:pt x="145436" y="839059"/>
                </a:cubicBezTo>
                <a:cubicBezTo>
                  <a:pt x="145436" y="839059"/>
                  <a:pt x="145436" y="839059"/>
                  <a:pt x="144192" y="837816"/>
                </a:cubicBezTo>
                <a:cubicBezTo>
                  <a:pt x="144192" y="837816"/>
                  <a:pt x="144192" y="836573"/>
                  <a:pt x="142950" y="836573"/>
                </a:cubicBezTo>
                <a:cubicBezTo>
                  <a:pt x="54694" y="748317"/>
                  <a:pt x="0" y="626498"/>
                  <a:pt x="0" y="491005"/>
                </a:cubicBezTo>
                <a:cubicBezTo>
                  <a:pt x="0" y="220020"/>
                  <a:pt x="221262" y="0"/>
                  <a:pt x="491004" y="0"/>
                </a:cubicBezTo>
                <a:close/>
              </a:path>
            </a:pathLst>
          </a:custGeom>
          <a:solidFill>
            <a:schemeClr val="tx2"/>
          </a:solidFill>
          <a:ln>
            <a:noFill/>
          </a:ln>
          <a:effectLst/>
        </p:spPr>
        <p:txBody>
          <a:bodyPr wrap="square" anchor="ctr">
            <a:noAutofit/>
          </a:bodyPr>
          <a:lstStyle/>
          <a:p>
            <a:endParaRPr lang="en-US" dirty="0"/>
          </a:p>
        </p:txBody>
      </p:sp>
      <p:sp>
        <p:nvSpPr>
          <p:cNvPr id="23" name="Freeform 260">
            <a:extLst>
              <a:ext uri="{FF2B5EF4-FFF2-40B4-BE49-F238E27FC236}">
                <a16:creationId xmlns:a16="http://schemas.microsoft.com/office/drawing/2014/main" id="{8DC1966F-701E-11D2-A19E-0427AF31276B}"/>
              </a:ext>
            </a:extLst>
          </p:cNvPr>
          <p:cNvSpPr>
            <a:spLocks noChangeArrowheads="1"/>
          </p:cNvSpPr>
          <p:nvPr/>
        </p:nvSpPr>
        <p:spPr bwMode="auto">
          <a:xfrm>
            <a:off x="2522774"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US" sz="1000" b="1" dirty="0">
              <a:solidFill>
                <a:srgbClr val="FFFFFF"/>
              </a:solidFill>
              <a:ea typeface="Verdana" panose="020B0604030504040204" pitchFamily="34" charset="0"/>
              <a:cs typeface="Verdana" panose="020B0604030504040204" pitchFamily="34" charset="0"/>
            </a:endParaRPr>
          </a:p>
        </p:txBody>
      </p:sp>
      <p:sp>
        <p:nvSpPr>
          <p:cNvPr id="25" name="Freeform 34">
            <a:extLst>
              <a:ext uri="{FF2B5EF4-FFF2-40B4-BE49-F238E27FC236}">
                <a16:creationId xmlns:a16="http://schemas.microsoft.com/office/drawing/2014/main" id="{70A11D3D-1FAA-10E7-8005-05FC47EBC603}"/>
              </a:ext>
            </a:extLst>
          </p:cNvPr>
          <p:cNvSpPr>
            <a:spLocks noChangeArrowheads="1"/>
          </p:cNvSpPr>
          <p:nvPr/>
        </p:nvSpPr>
        <p:spPr bwMode="auto">
          <a:xfrm>
            <a:off x="2761719" y="4073684"/>
            <a:ext cx="438822" cy="438822"/>
          </a:xfrm>
          <a:custGeom>
            <a:avLst/>
            <a:gdLst>
              <a:gd name="connsiteX0" fmla="*/ 436698 w 877644"/>
              <a:gd name="connsiteY0" fmla="*/ 692121 h 877644"/>
              <a:gd name="connsiteX1" fmla="*/ 449057 w 877644"/>
              <a:gd name="connsiteY1" fmla="*/ 704106 h 877644"/>
              <a:gd name="connsiteX2" fmla="*/ 449057 w 877644"/>
              <a:gd name="connsiteY2" fmla="*/ 746053 h 877644"/>
              <a:gd name="connsiteX3" fmla="*/ 436698 w 877644"/>
              <a:gd name="connsiteY3" fmla="*/ 756840 h 877644"/>
              <a:gd name="connsiteX4" fmla="*/ 422966 w 877644"/>
              <a:gd name="connsiteY4" fmla="*/ 746053 h 877644"/>
              <a:gd name="connsiteX5" fmla="*/ 422966 w 877644"/>
              <a:gd name="connsiteY5" fmla="*/ 704106 h 877644"/>
              <a:gd name="connsiteX6" fmla="*/ 436698 w 877644"/>
              <a:gd name="connsiteY6" fmla="*/ 692121 h 877644"/>
              <a:gd name="connsiteX7" fmla="*/ 619999 w 877644"/>
              <a:gd name="connsiteY7" fmla="*/ 620215 h 877644"/>
              <a:gd name="connsiteX8" fmla="*/ 635522 w 877644"/>
              <a:gd name="connsiteY8" fmla="*/ 620215 h 877644"/>
              <a:gd name="connsiteX9" fmla="*/ 664182 w 877644"/>
              <a:gd name="connsiteY9" fmla="*/ 650176 h 877644"/>
              <a:gd name="connsiteX10" fmla="*/ 664182 w 877644"/>
              <a:gd name="connsiteY10" fmla="*/ 666406 h 877644"/>
              <a:gd name="connsiteX11" fmla="*/ 657017 w 877644"/>
              <a:gd name="connsiteY11" fmla="*/ 668903 h 877644"/>
              <a:gd name="connsiteX12" fmla="*/ 648658 w 877644"/>
              <a:gd name="connsiteY12" fmla="*/ 666406 h 877644"/>
              <a:gd name="connsiteX13" fmla="*/ 619999 w 877644"/>
              <a:gd name="connsiteY13" fmla="*/ 635196 h 877644"/>
              <a:gd name="connsiteX14" fmla="*/ 619999 w 877644"/>
              <a:gd name="connsiteY14" fmla="*/ 620215 h 877644"/>
              <a:gd name="connsiteX15" fmla="*/ 236679 w 877644"/>
              <a:gd name="connsiteY15" fmla="*/ 620215 h 877644"/>
              <a:gd name="connsiteX16" fmla="*/ 252203 w 877644"/>
              <a:gd name="connsiteY16" fmla="*/ 620215 h 877644"/>
              <a:gd name="connsiteX17" fmla="*/ 252203 w 877644"/>
              <a:gd name="connsiteY17" fmla="*/ 635196 h 877644"/>
              <a:gd name="connsiteX18" fmla="*/ 223544 w 877644"/>
              <a:gd name="connsiteY18" fmla="*/ 666406 h 877644"/>
              <a:gd name="connsiteX19" fmla="*/ 215185 w 877644"/>
              <a:gd name="connsiteY19" fmla="*/ 668903 h 877644"/>
              <a:gd name="connsiteX20" fmla="*/ 208020 w 877644"/>
              <a:gd name="connsiteY20" fmla="*/ 666406 h 877644"/>
              <a:gd name="connsiteX21" fmla="*/ 208020 w 877644"/>
              <a:gd name="connsiteY21" fmla="*/ 650176 h 877644"/>
              <a:gd name="connsiteX22" fmla="*/ 703316 w 877644"/>
              <a:gd name="connsiteY22" fmla="*/ 428456 h 877644"/>
              <a:gd name="connsiteX23" fmla="*/ 745602 w 877644"/>
              <a:gd name="connsiteY23" fmla="*/ 428456 h 877644"/>
              <a:gd name="connsiteX24" fmla="*/ 756796 w 877644"/>
              <a:gd name="connsiteY24" fmla="*/ 438864 h 877644"/>
              <a:gd name="connsiteX25" fmla="*/ 745602 w 877644"/>
              <a:gd name="connsiteY25" fmla="*/ 449272 h 877644"/>
              <a:gd name="connsiteX26" fmla="*/ 703316 w 877644"/>
              <a:gd name="connsiteY26" fmla="*/ 449272 h 877644"/>
              <a:gd name="connsiteX27" fmla="*/ 692122 w 877644"/>
              <a:gd name="connsiteY27" fmla="*/ 438864 h 877644"/>
              <a:gd name="connsiteX28" fmla="*/ 703316 w 877644"/>
              <a:gd name="connsiteY28" fmla="*/ 428456 h 877644"/>
              <a:gd name="connsiteX29" fmla="*/ 126339 w 877644"/>
              <a:gd name="connsiteY29" fmla="*/ 428456 h 877644"/>
              <a:gd name="connsiteX30" fmla="*/ 169063 w 877644"/>
              <a:gd name="connsiteY30" fmla="*/ 428456 h 877644"/>
              <a:gd name="connsiteX31" fmla="*/ 180049 w 877644"/>
              <a:gd name="connsiteY31" fmla="*/ 438864 h 877644"/>
              <a:gd name="connsiteX32" fmla="*/ 169063 w 877644"/>
              <a:gd name="connsiteY32" fmla="*/ 449272 h 877644"/>
              <a:gd name="connsiteX33" fmla="*/ 126339 w 877644"/>
              <a:gd name="connsiteY33" fmla="*/ 449272 h 877644"/>
              <a:gd name="connsiteX34" fmla="*/ 115353 w 877644"/>
              <a:gd name="connsiteY34" fmla="*/ 438864 h 877644"/>
              <a:gd name="connsiteX35" fmla="*/ 126339 w 877644"/>
              <a:gd name="connsiteY35" fmla="*/ 428456 h 877644"/>
              <a:gd name="connsiteX36" fmla="*/ 438943 w 877644"/>
              <a:gd name="connsiteY36" fmla="*/ 413875 h 877644"/>
              <a:gd name="connsiteX37" fmla="*/ 417842 w 877644"/>
              <a:gd name="connsiteY37" fmla="*/ 433574 h 877644"/>
              <a:gd name="connsiteX38" fmla="*/ 438943 w 877644"/>
              <a:gd name="connsiteY38" fmla="*/ 453274 h 877644"/>
              <a:gd name="connsiteX39" fmla="*/ 458803 w 877644"/>
              <a:gd name="connsiteY39" fmla="*/ 433574 h 877644"/>
              <a:gd name="connsiteX40" fmla="*/ 438943 w 877644"/>
              <a:gd name="connsiteY40" fmla="*/ 413875 h 877644"/>
              <a:gd name="connsiteX41" fmla="*/ 438943 w 877644"/>
              <a:gd name="connsiteY41" fmla="*/ 263667 h 877644"/>
              <a:gd name="connsiteX42" fmla="*/ 450114 w 877644"/>
              <a:gd name="connsiteY42" fmla="*/ 274748 h 877644"/>
              <a:gd name="connsiteX43" fmla="*/ 450114 w 877644"/>
              <a:gd name="connsiteY43" fmla="*/ 391713 h 877644"/>
              <a:gd name="connsiteX44" fmla="*/ 479904 w 877644"/>
              <a:gd name="connsiteY44" fmla="*/ 422493 h 877644"/>
              <a:gd name="connsiteX45" fmla="*/ 641263 w 877644"/>
              <a:gd name="connsiteY45" fmla="*/ 422493 h 877644"/>
              <a:gd name="connsiteX46" fmla="*/ 652434 w 877644"/>
              <a:gd name="connsiteY46" fmla="*/ 433574 h 877644"/>
              <a:gd name="connsiteX47" fmla="*/ 641263 w 877644"/>
              <a:gd name="connsiteY47" fmla="*/ 444655 h 877644"/>
              <a:gd name="connsiteX48" fmla="*/ 479904 w 877644"/>
              <a:gd name="connsiteY48" fmla="*/ 444655 h 877644"/>
              <a:gd name="connsiteX49" fmla="*/ 438943 w 877644"/>
              <a:gd name="connsiteY49" fmla="*/ 476667 h 877644"/>
              <a:gd name="connsiteX50" fmla="*/ 395500 w 877644"/>
              <a:gd name="connsiteY50" fmla="*/ 433574 h 877644"/>
              <a:gd name="connsiteX51" fmla="*/ 426531 w 877644"/>
              <a:gd name="connsiteY51" fmla="*/ 391713 h 877644"/>
              <a:gd name="connsiteX52" fmla="*/ 426531 w 877644"/>
              <a:gd name="connsiteY52" fmla="*/ 274748 h 877644"/>
              <a:gd name="connsiteX53" fmla="*/ 438943 w 877644"/>
              <a:gd name="connsiteY53" fmla="*/ 263667 h 877644"/>
              <a:gd name="connsiteX54" fmla="*/ 648658 w 877644"/>
              <a:gd name="connsiteY54" fmla="*/ 206908 h 877644"/>
              <a:gd name="connsiteX55" fmla="*/ 664182 w 877644"/>
              <a:gd name="connsiteY55" fmla="*/ 206908 h 877644"/>
              <a:gd name="connsiteX56" fmla="*/ 664182 w 877644"/>
              <a:gd name="connsiteY56" fmla="*/ 222777 h 877644"/>
              <a:gd name="connsiteX57" fmla="*/ 635522 w 877644"/>
              <a:gd name="connsiteY57" fmla="*/ 252073 h 877644"/>
              <a:gd name="connsiteX58" fmla="*/ 628358 w 877644"/>
              <a:gd name="connsiteY58" fmla="*/ 256955 h 877644"/>
              <a:gd name="connsiteX59" fmla="*/ 619999 w 877644"/>
              <a:gd name="connsiteY59" fmla="*/ 252073 h 877644"/>
              <a:gd name="connsiteX60" fmla="*/ 619999 w 877644"/>
              <a:gd name="connsiteY60" fmla="*/ 237425 h 877644"/>
              <a:gd name="connsiteX61" fmla="*/ 208020 w 877644"/>
              <a:gd name="connsiteY61" fmla="*/ 206908 h 877644"/>
              <a:gd name="connsiteX62" fmla="*/ 223544 w 877644"/>
              <a:gd name="connsiteY62" fmla="*/ 206908 h 877644"/>
              <a:gd name="connsiteX63" fmla="*/ 252203 w 877644"/>
              <a:gd name="connsiteY63" fmla="*/ 237425 h 877644"/>
              <a:gd name="connsiteX64" fmla="*/ 252203 w 877644"/>
              <a:gd name="connsiteY64" fmla="*/ 252073 h 877644"/>
              <a:gd name="connsiteX65" fmla="*/ 245038 w 877644"/>
              <a:gd name="connsiteY65" fmla="*/ 256955 h 877644"/>
              <a:gd name="connsiteX66" fmla="*/ 236679 w 877644"/>
              <a:gd name="connsiteY66" fmla="*/ 252073 h 877644"/>
              <a:gd name="connsiteX67" fmla="*/ 208020 w 877644"/>
              <a:gd name="connsiteY67" fmla="*/ 222777 h 877644"/>
              <a:gd name="connsiteX68" fmla="*/ 208020 w 877644"/>
              <a:gd name="connsiteY68" fmla="*/ 206908 h 877644"/>
              <a:gd name="connsiteX69" fmla="*/ 436698 w 877644"/>
              <a:gd name="connsiteY69" fmla="*/ 115355 h 877644"/>
              <a:gd name="connsiteX70" fmla="*/ 449057 w 877644"/>
              <a:gd name="connsiteY70" fmla="*/ 127340 h 877644"/>
              <a:gd name="connsiteX71" fmla="*/ 449057 w 877644"/>
              <a:gd name="connsiteY71" fmla="*/ 168089 h 877644"/>
              <a:gd name="connsiteX72" fmla="*/ 436698 w 877644"/>
              <a:gd name="connsiteY72" fmla="*/ 180074 h 877644"/>
              <a:gd name="connsiteX73" fmla="*/ 422966 w 877644"/>
              <a:gd name="connsiteY73" fmla="*/ 168089 h 877644"/>
              <a:gd name="connsiteX74" fmla="*/ 422966 w 877644"/>
              <a:gd name="connsiteY74" fmla="*/ 127340 h 877644"/>
              <a:gd name="connsiteX75" fmla="*/ 436698 w 877644"/>
              <a:gd name="connsiteY75" fmla="*/ 115355 h 877644"/>
              <a:gd name="connsiteX76" fmla="*/ 436699 w 877644"/>
              <a:gd name="connsiteY76" fmla="*/ 95058 h 877644"/>
              <a:gd name="connsiteX77" fmla="*/ 93853 w 877644"/>
              <a:gd name="connsiteY77" fmla="*/ 436075 h 877644"/>
              <a:gd name="connsiteX78" fmla="*/ 436699 w 877644"/>
              <a:gd name="connsiteY78" fmla="*/ 778337 h 877644"/>
              <a:gd name="connsiteX79" fmla="*/ 778298 w 877644"/>
              <a:gd name="connsiteY79" fmla="*/ 436075 h 877644"/>
              <a:gd name="connsiteX80" fmla="*/ 436699 w 877644"/>
              <a:gd name="connsiteY80" fmla="*/ 95058 h 877644"/>
              <a:gd name="connsiteX81" fmla="*/ 436699 w 877644"/>
              <a:gd name="connsiteY81" fmla="*/ 71411 h 877644"/>
              <a:gd name="connsiteX82" fmla="*/ 800739 w 877644"/>
              <a:gd name="connsiteY82" fmla="*/ 436075 h 877644"/>
              <a:gd name="connsiteX83" fmla="*/ 436699 w 877644"/>
              <a:gd name="connsiteY83" fmla="*/ 800739 h 877644"/>
              <a:gd name="connsiteX84" fmla="*/ 71412 w 877644"/>
              <a:gd name="connsiteY84" fmla="*/ 436075 h 877644"/>
              <a:gd name="connsiteX85" fmla="*/ 436699 w 877644"/>
              <a:gd name="connsiteY85" fmla="*/ 71411 h 877644"/>
              <a:gd name="connsiteX86" fmla="*/ 438822 w 877644"/>
              <a:gd name="connsiteY86" fmla="*/ 22376 h 877644"/>
              <a:gd name="connsiteX87" fmla="*/ 22376 w 877644"/>
              <a:gd name="connsiteY87" fmla="*/ 438822 h 877644"/>
              <a:gd name="connsiteX88" fmla="*/ 438822 w 877644"/>
              <a:gd name="connsiteY88" fmla="*/ 855268 h 877644"/>
              <a:gd name="connsiteX89" fmla="*/ 855268 w 877644"/>
              <a:gd name="connsiteY89" fmla="*/ 438822 h 877644"/>
              <a:gd name="connsiteX90" fmla="*/ 438822 w 877644"/>
              <a:gd name="connsiteY90" fmla="*/ 22376 h 877644"/>
              <a:gd name="connsiteX91" fmla="*/ 438822 w 877644"/>
              <a:gd name="connsiteY91" fmla="*/ 0 h 877644"/>
              <a:gd name="connsiteX92" fmla="*/ 877644 w 877644"/>
              <a:gd name="connsiteY92" fmla="*/ 438822 h 877644"/>
              <a:gd name="connsiteX93" fmla="*/ 438822 w 877644"/>
              <a:gd name="connsiteY93" fmla="*/ 877644 h 877644"/>
              <a:gd name="connsiteX94" fmla="*/ 0 w 877644"/>
              <a:gd name="connsiteY94" fmla="*/ 438822 h 877644"/>
              <a:gd name="connsiteX95" fmla="*/ 438822 w 877644"/>
              <a:gd name="connsiteY95" fmla="*/ 0 h 8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77644" h="877644">
                <a:moveTo>
                  <a:pt x="436698" y="692121"/>
                </a:moveTo>
                <a:cubicBezTo>
                  <a:pt x="443564" y="692121"/>
                  <a:pt x="449057" y="698113"/>
                  <a:pt x="449057" y="704106"/>
                </a:cubicBezTo>
                <a:lnTo>
                  <a:pt x="449057" y="746053"/>
                </a:lnTo>
                <a:cubicBezTo>
                  <a:pt x="449057" y="752046"/>
                  <a:pt x="443564" y="756840"/>
                  <a:pt x="436698" y="756840"/>
                </a:cubicBezTo>
                <a:cubicBezTo>
                  <a:pt x="429832" y="756840"/>
                  <a:pt x="422966" y="752046"/>
                  <a:pt x="422966" y="746053"/>
                </a:cubicBezTo>
                <a:lnTo>
                  <a:pt x="422966" y="704106"/>
                </a:lnTo>
                <a:cubicBezTo>
                  <a:pt x="422966" y="698113"/>
                  <a:pt x="429832" y="692121"/>
                  <a:pt x="436698" y="692121"/>
                </a:cubicBezTo>
                <a:close/>
                <a:moveTo>
                  <a:pt x="619999" y="620215"/>
                </a:moveTo>
                <a:cubicBezTo>
                  <a:pt x="624775" y="615221"/>
                  <a:pt x="631940" y="615221"/>
                  <a:pt x="635522" y="620215"/>
                </a:cubicBezTo>
                <a:lnTo>
                  <a:pt x="664182" y="650176"/>
                </a:lnTo>
                <a:cubicBezTo>
                  <a:pt x="668958" y="655170"/>
                  <a:pt x="668958" y="661412"/>
                  <a:pt x="664182" y="666406"/>
                </a:cubicBezTo>
                <a:cubicBezTo>
                  <a:pt x="661793" y="668903"/>
                  <a:pt x="659405" y="668903"/>
                  <a:pt x="657017" y="668903"/>
                </a:cubicBezTo>
                <a:cubicBezTo>
                  <a:pt x="654629" y="668903"/>
                  <a:pt x="651046" y="668903"/>
                  <a:pt x="648658" y="666406"/>
                </a:cubicBezTo>
                <a:lnTo>
                  <a:pt x="619999" y="635196"/>
                </a:lnTo>
                <a:cubicBezTo>
                  <a:pt x="615222" y="631450"/>
                  <a:pt x="615222" y="623960"/>
                  <a:pt x="619999" y="620215"/>
                </a:cubicBezTo>
                <a:close/>
                <a:moveTo>
                  <a:pt x="236679" y="620215"/>
                </a:moveTo>
                <a:cubicBezTo>
                  <a:pt x="241456" y="615221"/>
                  <a:pt x="247427" y="615221"/>
                  <a:pt x="252203" y="620215"/>
                </a:cubicBezTo>
                <a:cubicBezTo>
                  <a:pt x="256980" y="623960"/>
                  <a:pt x="256980" y="631450"/>
                  <a:pt x="252203" y="635196"/>
                </a:cubicBezTo>
                <a:lnTo>
                  <a:pt x="223544" y="666406"/>
                </a:lnTo>
                <a:cubicBezTo>
                  <a:pt x="221156" y="668903"/>
                  <a:pt x="218767" y="668903"/>
                  <a:pt x="215185" y="668903"/>
                </a:cubicBezTo>
                <a:cubicBezTo>
                  <a:pt x="212797" y="668903"/>
                  <a:pt x="209214" y="668903"/>
                  <a:pt x="208020" y="666406"/>
                </a:cubicBezTo>
                <a:cubicBezTo>
                  <a:pt x="203244" y="661412"/>
                  <a:pt x="203244" y="655170"/>
                  <a:pt x="208020" y="650176"/>
                </a:cubicBezTo>
                <a:close/>
                <a:moveTo>
                  <a:pt x="703316" y="428456"/>
                </a:moveTo>
                <a:lnTo>
                  <a:pt x="745602" y="428456"/>
                </a:lnTo>
                <a:cubicBezTo>
                  <a:pt x="751821" y="428456"/>
                  <a:pt x="756796" y="433082"/>
                  <a:pt x="756796" y="438864"/>
                </a:cubicBezTo>
                <a:cubicBezTo>
                  <a:pt x="756796" y="444646"/>
                  <a:pt x="751821" y="449272"/>
                  <a:pt x="745602" y="449272"/>
                </a:cubicBezTo>
                <a:lnTo>
                  <a:pt x="703316" y="449272"/>
                </a:lnTo>
                <a:cubicBezTo>
                  <a:pt x="695853" y="449272"/>
                  <a:pt x="692122" y="444646"/>
                  <a:pt x="692122" y="438864"/>
                </a:cubicBezTo>
                <a:cubicBezTo>
                  <a:pt x="692122" y="433082"/>
                  <a:pt x="695853" y="428456"/>
                  <a:pt x="703316" y="428456"/>
                </a:cubicBezTo>
                <a:close/>
                <a:moveTo>
                  <a:pt x="126339" y="428456"/>
                </a:moveTo>
                <a:lnTo>
                  <a:pt x="169063" y="428456"/>
                </a:lnTo>
                <a:cubicBezTo>
                  <a:pt x="175166" y="428456"/>
                  <a:pt x="180049" y="433082"/>
                  <a:pt x="180049" y="438864"/>
                </a:cubicBezTo>
                <a:cubicBezTo>
                  <a:pt x="180049" y="444646"/>
                  <a:pt x="175166" y="449272"/>
                  <a:pt x="169063" y="449272"/>
                </a:cubicBezTo>
                <a:lnTo>
                  <a:pt x="126339" y="449272"/>
                </a:lnTo>
                <a:cubicBezTo>
                  <a:pt x="120235" y="449272"/>
                  <a:pt x="115353" y="444646"/>
                  <a:pt x="115353" y="438864"/>
                </a:cubicBezTo>
                <a:cubicBezTo>
                  <a:pt x="115353" y="433082"/>
                  <a:pt x="120235" y="428456"/>
                  <a:pt x="126339" y="428456"/>
                </a:cubicBezTo>
                <a:close/>
                <a:moveTo>
                  <a:pt x="438943" y="413875"/>
                </a:moveTo>
                <a:cubicBezTo>
                  <a:pt x="426531" y="413875"/>
                  <a:pt x="417842" y="422493"/>
                  <a:pt x="417842" y="433574"/>
                </a:cubicBezTo>
                <a:cubicBezTo>
                  <a:pt x="417842" y="444655"/>
                  <a:pt x="426531" y="453274"/>
                  <a:pt x="438943" y="453274"/>
                </a:cubicBezTo>
                <a:cubicBezTo>
                  <a:pt x="450114" y="453274"/>
                  <a:pt x="458803" y="444655"/>
                  <a:pt x="458803" y="433574"/>
                </a:cubicBezTo>
                <a:cubicBezTo>
                  <a:pt x="458803" y="422493"/>
                  <a:pt x="450114" y="413875"/>
                  <a:pt x="438943" y="413875"/>
                </a:cubicBezTo>
                <a:close/>
                <a:moveTo>
                  <a:pt x="438943" y="263667"/>
                </a:moveTo>
                <a:cubicBezTo>
                  <a:pt x="445149" y="263667"/>
                  <a:pt x="450114" y="268592"/>
                  <a:pt x="450114" y="274748"/>
                </a:cubicBezTo>
                <a:lnTo>
                  <a:pt x="450114" y="391713"/>
                </a:lnTo>
                <a:cubicBezTo>
                  <a:pt x="465009" y="395407"/>
                  <a:pt x="476180" y="407719"/>
                  <a:pt x="479904" y="422493"/>
                </a:cubicBezTo>
                <a:lnTo>
                  <a:pt x="641263" y="422493"/>
                </a:lnTo>
                <a:cubicBezTo>
                  <a:pt x="647469" y="422493"/>
                  <a:pt x="652434" y="427418"/>
                  <a:pt x="652434" y="433574"/>
                </a:cubicBezTo>
                <a:cubicBezTo>
                  <a:pt x="652434" y="439730"/>
                  <a:pt x="647469" y="444655"/>
                  <a:pt x="641263" y="444655"/>
                </a:cubicBezTo>
                <a:lnTo>
                  <a:pt x="479904" y="444655"/>
                </a:lnTo>
                <a:cubicBezTo>
                  <a:pt x="476180" y="463123"/>
                  <a:pt x="458803" y="476667"/>
                  <a:pt x="438943" y="476667"/>
                </a:cubicBezTo>
                <a:cubicBezTo>
                  <a:pt x="414119" y="476667"/>
                  <a:pt x="395500" y="458199"/>
                  <a:pt x="395500" y="433574"/>
                </a:cubicBezTo>
                <a:cubicBezTo>
                  <a:pt x="395500" y="413875"/>
                  <a:pt x="409154" y="397869"/>
                  <a:pt x="426531" y="391713"/>
                </a:cubicBezTo>
                <a:lnTo>
                  <a:pt x="426531" y="274748"/>
                </a:lnTo>
                <a:cubicBezTo>
                  <a:pt x="426531" y="268592"/>
                  <a:pt x="432737" y="263667"/>
                  <a:pt x="438943" y="263667"/>
                </a:cubicBezTo>
                <a:close/>
                <a:moveTo>
                  <a:pt x="648658" y="206908"/>
                </a:moveTo>
                <a:cubicBezTo>
                  <a:pt x="653434" y="203246"/>
                  <a:pt x="660599" y="203246"/>
                  <a:pt x="664182" y="206908"/>
                </a:cubicBezTo>
                <a:cubicBezTo>
                  <a:pt x="668958" y="211791"/>
                  <a:pt x="668958" y="219115"/>
                  <a:pt x="664182" y="222777"/>
                </a:cubicBezTo>
                <a:lnTo>
                  <a:pt x="635522" y="252073"/>
                </a:lnTo>
                <a:cubicBezTo>
                  <a:pt x="633134" y="254514"/>
                  <a:pt x="630746" y="256955"/>
                  <a:pt x="628358" y="256955"/>
                </a:cubicBezTo>
                <a:cubicBezTo>
                  <a:pt x="624775" y="256955"/>
                  <a:pt x="622387" y="254514"/>
                  <a:pt x="619999" y="252073"/>
                </a:cubicBezTo>
                <a:cubicBezTo>
                  <a:pt x="615222" y="248411"/>
                  <a:pt x="615222" y="241087"/>
                  <a:pt x="619999" y="237425"/>
                </a:cubicBezTo>
                <a:close/>
                <a:moveTo>
                  <a:pt x="208020" y="206908"/>
                </a:moveTo>
                <a:cubicBezTo>
                  <a:pt x="211603" y="203246"/>
                  <a:pt x="218767" y="203246"/>
                  <a:pt x="223544" y="206908"/>
                </a:cubicBezTo>
                <a:lnTo>
                  <a:pt x="252203" y="237425"/>
                </a:lnTo>
                <a:cubicBezTo>
                  <a:pt x="256980" y="241087"/>
                  <a:pt x="256980" y="248411"/>
                  <a:pt x="252203" y="252073"/>
                </a:cubicBezTo>
                <a:cubicBezTo>
                  <a:pt x="249815" y="254514"/>
                  <a:pt x="247427" y="256955"/>
                  <a:pt x="245038" y="256955"/>
                </a:cubicBezTo>
                <a:cubicBezTo>
                  <a:pt x="241456" y="256955"/>
                  <a:pt x="239068" y="254514"/>
                  <a:pt x="236679" y="252073"/>
                </a:cubicBezTo>
                <a:lnTo>
                  <a:pt x="208020" y="222777"/>
                </a:lnTo>
                <a:cubicBezTo>
                  <a:pt x="203244" y="219115"/>
                  <a:pt x="203244" y="211791"/>
                  <a:pt x="208020" y="206908"/>
                </a:cubicBezTo>
                <a:close/>
                <a:moveTo>
                  <a:pt x="436698" y="115355"/>
                </a:moveTo>
                <a:cubicBezTo>
                  <a:pt x="443564" y="115355"/>
                  <a:pt x="449057" y="121347"/>
                  <a:pt x="449057" y="127340"/>
                </a:cubicBezTo>
                <a:lnTo>
                  <a:pt x="449057" y="168089"/>
                </a:lnTo>
                <a:cubicBezTo>
                  <a:pt x="449057" y="174081"/>
                  <a:pt x="443564" y="180074"/>
                  <a:pt x="436698" y="180074"/>
                </a:cubicBezTo>
                <a:cubicBezTo>
                  <a:pt x="429832" y="180074"/>
                  <a:pt x="422966" y="174081"/>
                  <a:pt x="422966" y="168089"/>
                </a:cubicBezTo>
                <a:lnTo>
                  <a:pt x="422966" y="127340"/>
                </a:lnTo>
                <a:cubicBezTo>
                  <a:pt x="422966" y="121347"/>
                  <a:pt x="429832" y="115355"/>
                  <a:pt x="436698" y="115355"/>
                </a:cubicBezTo>
                <a:close/>
                <a:moveTo>
                  <a:pt x="436699" y="95058"/>
                </a:moveTo>
                <a:cubicBezTo>
                  <a:pt x="247198" y="95058"/>
                  <a:pt x="93853" y="248142"/>
                  <a:pt x="93853" y="436075"/>
                </a:cubicBezTo>
                <a:cubicBezTo>
                  <a:pt x="93853" y="625253"/>
                  <a:pt x="247198" y="778337"/>
                  <a:pt x="436699" y="778337"/>
                </a:cubicBezTo>
                <a:cubicBezTo>
                  <a:pt x="624952" y="778337"/>
                  <a:pt x="778298" y="625253"/>
                  <a:pt x="778298" y="436075"/>
                </a:cubicBezTo>
                <a:cubicBezTo>
                  <a:pt x="778298" y="248142"/>
                  <a:pt x="624952" y="95058"/>
                  <a:pt x="436699" y="95058"/>
                </a:cubicBezTo>
                <a:close/>
                <a:moveTo>
                  <a:pt x="436699" y="71411"/>
                </a:moveTo>
                <a:cubicBezTo>
                  <a:pt x="637419" y="71411"/>
                  <a:pt x="800739" y="234452"/>
                  <a:pt x="800739" y="436075"/>
                </a:cubicBezTo>
                <a:cubicBezTo>
                  <a:pt x="800739" y="637698"/>
                  <a:pt x="637419" y="800739"/>
                  <a:pt x="436699" y="800739"/>
                </a:cubicBezTo>
                <a:cubicBezTo>
                  <a:pt x="234731" y="800739"/>
                  <a:pt x="71412" y="637698"/>
                  <a:pt x="71412" y="436075"/>
                </a:cubicBezTo>
                <a:cubicBezTo>
                  <a:pt x="71412" y="234452"/>
                  <a:pt x="234731" y="71411"/>
                  <a:pt x="436699" y="71411"/>
                </a:cubicBezTo>
                <a:close/>
                <a:moveTo>
                  <a:pt x="438822" y="22376"/>
                </a:moveTo>
                <a:cubicBezTo>
                  <a:pt x="208844" y="22376"/>
                  <a:pt x="22376" y="208844"/>
                  <a:pt x="22376" y="438822"/>
                </a:cubicBezTo>
                <a:cubicBezTo>
                  <a:pt x="22376" y="668799"/>
                  <a:pt x="208844" y="855268"/>
                  <a:pt x="438822" y="855268"/>
                </a:cubicBezTo>
                <a:cubicBezTo>
                  <a:pt x="667557" y="855268"/>
                  <a:pt x="855268" y="668799"/>
                  <a:pt x="855268" y="438822"/>
                </a:cubicBezTo>
                <a:cubicBezTo>
                  <a:pt x="855268" y="208844"/>
                  <a:pt x="667557" y="22376"/>
                  <a:pt x="438822" y="22376"/>
                </a:cubicBezTo>
                <a:close/>
                <a:moveTo>
                  <a:pt x="438822" y="0"/>
                </a:moveTo>
                <a:cubicBezTo>
                  <a:pt x="681231" y="0"/>
                  <a:pt x="877644" y="197656"/>
                  <a:pt x="877644" y="438822"/>
                </a:cubicBezTo>
                <a:cubicBezTo>
                  <a:pt x="877644" y="679988"/>
                  <a:pt x="681231" y="877644"/>
                  <a:pt x="438822" y="877644"/>
                </a:cubicBezTo>
                <a:cubicBezTo>
                  <a:pt x="196413" y="877644"/>
                  <a:pt x="0" y="679988"/>
                  <a:pt x="0" y="438822"/>
                </a:cubicBezTo>
                <a:cubicBezTo>
                  <a:pt x="0" y="197656"/>
                  <a:pt x="196413" y="0"/>
                  <a:pt x="438822" y="0"/>
                </a:cubicBezTo>
                <a:close/>
              </a:path>
            </a:pathLst>
          </a:custGeom>
          <a:solidFill>
            <a:schemeClr val="bg1"/>
          </a:solidFill>
          <a:ln>
            <a:noFill/>
          </a:ln>
          <a:effectLst/>
        </p:spPr>
        <p:txBody>
          <a:bodyPr wrap="square" anchor="ctr">
            <a:noAutofit/>
          </a:bodyPr>
          <a:lstStyle/>
          <a:p>
            <a:endParaRPr lang="en-US" dirty="0"/>
          </a:p>
        </p:txBody>
      </p:sp>
      <p:sp>
        <p:nvSpPr>
          <p:cNvPr id="26" name="Freeform 273">
            <a:extLst>
              <a:ext uri="{FF2B5EF4-FFF2-40B4-BE49-F238E27FC236}">
                <a16:creationId xmlns:a16="http://schemas.microsoft.com/office/drawing/2014/main" id="{7CE50853-FE7F-7799-FD73-652A9D7496F5}"/>
              </a:ext>
            </a:extLst>
          </p:cNvPr>
          <p:cNvSpPr>
            <a:spLocks noChangeArrowheads="1"/>
          </p:cNvSpPr>
          <p:nvPr/>
        </p:nvSpPr>
        <p:spPr bwMode="auto">
          <a:xfrm>
            <a:off x="2473336" y="3785300"/>
            <a:ext cx="1013467"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7" name="Freeform 330">
            <a:extLst>
              <a:ext uri="{FF2B5EF4-FFF2-40B4-BE49-F238E27FC236}">
                <a16:creationId xmlns:a16="http://schemas.microsoft.com/office/drawing/2014/main" id="{ECC07E68-5B68-EC73-FC35-ABAE63C7AF4F}"/>
              </a:ext>
            </a:extLst>
          </p:cNvPr>
          <p:cNvSpPr>
            <a:spLocks noChangeArrowheads="1"/>
          </p:cNvSpPr>
          <p:nvPr/>
        </p:nvSpPr>
        <p:spPr bwMode="auto">
          <a:xfrm>
            <a:off x="5637331" y="3834738"/>
            <a:ext cx="917339" cy="917339"/>
          </a:xfrm>
          <a:custGeom>
            <a:avLst/>
            <a:gdLst>
              <a:gd name="T0" fmla="*/ 1471 w 1472"/>
              <a:gd name="T1" fmla="*/ 736 h 1473"/>
              <a:gd name="T2" fmla="*/ 1471 w 1472"/>
              <a:gd name="T3" fmla="*/ 736 h 1473"/>
              <a:gd name="T4" fmla="*/ 736 w 1472"/>
              <a:gd name="T5" fmla="*/ 1472 h 1473"/>
              <a:gd name="T6" fmla="*/ 736 w 1472"/>
              <a:gd name="T7" fmla="*/ 1472 h 1473"/>
              <a:gd name="T8" fmla="*/ 0 w 1472"/>
              <a:gd name="T9" fmla="*/ 736 h 1473"/>
              <a:gd name="T10" fmla="*/ 0 w 1472"/>
              <a:gd name="T11" fmla="*/ 736 h 1473"/>
              <a:gd name="T12" fmla="*/ 736 w 1472"/>
              <a:gd name="T13" fmla="*/ 0 h 1473"/>
              <a:gd name="T14" fmla="*/ 736 w 1472"/>
              <a:gd name="T15" fmla="*/ 0 h 1473"/>
              <a:gd name="T16" fmla="*/ 1471 w 1472"/>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2" h="1473">
                <a:moveTo>
                  <a:pt x="1471" y="736"/>
                </a:moveTo>
                <a:lnTo>
                  <a:pt x="1471" y="736"/>
                </a:lnTo>
                <a:cubicBezTo>
                  <a:pt x="1471" y="1143"/>
                  <a:pt x="1142" y="1472"/>
                  <a:pt x="736" y="1472"/>
                </a:cubicBezTo>
                <a:lnTo>
                  <a:pt x="736" y="1472"/>
                </a:lnTo>
                <a:cubicBezTo>
                  <a:pt x="329" y="1472"/>
                  <a:pt x="0" y="1143"/>
                  <a:pt x="0" y="736"/>
                </a:cubicBezTo>
                <a:lnTo>
                  <a:pt x="0" y="736"/>
                </a:lnTo>
                <a:cubicBezTo>
                  <a:pt x="0" y="329"/>
                  <a:pt x="329" y="0"/>
                  <a:pt x="736" y="0"/>
                </a:cubicBezTo>
                <a:lnTo>
                  <a:pt x="736" y="0"/>
                </a:lnTo>
                <a:cubicBezTo>
                  <a:pt x="1142" y="0"/>
                  <a:pt x="1471" y="329"/>
                  <a:pt x="1471"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29" name="Freeform 332">
            <a:extLst>
              <a:ext uri="{FF2B5EF4-FFF2-40B4-BE49-F238E27FC236}">
                <a16:creationId xmlns:a16="http://schemas.microsoft.com/office/drawing/2014/main" id="{3F712A5F-C88B-E6EE-3330-2225FE8CC9D9}"/>
              </a:ext>
            </a:extLst>
          </p:cNvPr>
          <p:cNvSpPr>
            <a:spLocks noChangeArrowheads="1"/>
          </p:cNvSpPr>
          <p:nvPr/>
        </p:nvSpPr>
        <p:spPr bwMode="auto">
          <a:xfrm>
            <a:off x="5590638" y="3785300"/>
            <a:ext cx="1010721" cy="1013467"/>
          </a:xfrm>
          <a:custGeom>
            <a:avLst/>
            <a:gdLst>
              <a:gd name="T0" fmla="*/ 1623 w 1624"/>
              <a:gd name="T1" fmla="*/ 812 h 1625"/>
              <a:gd name="T2" fmla="*/ 1623 w 1624"/>
              <a:gd name="T3" fmla="*/ 812 h 1625"/>
              <a:gd name="T4" fmla="*/ 812 w 1624"/>
              <a:gd name="T5" fmla="*/ 1624 h 1625"/>
              <a:gd name="T6" fmla="*/ 812 w 1624"/>
              <a:gd name="T7" fmla="*/ 1624 h 1625"/>
              <a:gd name="T8" fmla="*/ 0 w 1624"/>
              <a:gd name="T9" fmla="*/ 812 h 1625"/>
              <a:gd name="T10" fmla="*/ 0 w 1624"/>
              <a:gd name="T11" fmla="*/ 812 h 1625"/>
              <a:gd name="T12" fmla="*/ 812 w 1624"/>
              <a:gd name="T13" fmla="*/ 0 h 1625"/>
              <a:gd name="T14" fmla="*/ 812 w 1624"/>
              <a:gd name="T15" fmla="*/ 0 h 1625"/>
              <a:gd name="T16" fmla="*/ 1623 w 1624"/>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4" h="1625">
                <a:moveTo>
                  <a:pt x="1623" y="812"/>
                </a:moveTo>
                <a:lnTo>
                  <a:pt x="1623" y="812"/>
                </a:lnTo>
                <a:cubicBezTo>
                  <a:pt x="1623" y="1261"/>
                  <a:pt x="1260" y="1624"/>
                  <a:pt x="812" y="1624"/>
                </a:cubicBezTo>
                <a:lnTo>
                  <a:pt x="812" y="1624"/>
                </a:lnTo>
                <a:cubicBezTo>
                  <a:pt x="363" y="1624"/>
                  <a:pt x="0" y="1261"/>
                  <a:pt x="0" y="812"/>
                </a:cubicBezTo>
                <a:lnTo>
                  <a:pt x="0" y="812"/>
                </a:lnTo>
                <a:cubicBezTo>
                  <a:pt x="0" y="363"/>
                  <a:pt x="363" y="0"/>
                  <a:pt x="812" y="0"/>
                </a:cubicBezTo>
                <a:lnTo>
                  <a:pt x="812" y="0"/>
                </a:lnTo>
                <a:cubicBezTo>
                  <a:pt x="1260" y="0"/>
                  <a:pt x="1623" y="363"/>
                  <a:pt x="1623"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0" name="Freeform 39">
            <a:extLst>
              <a:ext uri="{FF2B5EF4-FFF2-40B4-BE49-F238E27FC236}">
                <a16:creationId xmlns:a16="http://schemas.microsoft.com/office/drawing/2014/main" id="{B9688C36-23EC-89B2-99F2-0D2AF95CB2D9}"/>
              </a:ext>
            </a:extLst>
          </p:cNvPr>
          <p:cNvSpPr>
            <a:spLocks noChangeArrowheads="1"/>
          </p:cNvSpPr>
          <p:nvPr/>
        </p:nvSpPr>
        <p:spPr bwMode="auto">
          <a:xfrm>
            <a:off x="5895503" y="4092911"/>
            <a:ext cx="400370" cy="400371"/>
          </a:xfrm>
          <a:custGeom>
            <a:avLst/>
            <a:gdLst>
              <a:gd name="connsiteX0" fmla="*/ 547940 w 800740"/>
              <a:gd name="connsiteY0" fmla="*/ 622936 h 800741"/>
              <a:gd name="connsiteX1" fmla="*/ 464504 w 800740"/>
              <a:gd name="connsiteY1" fmla="*/ 774630 h 800741"/>
              <a:gd name="connsiteX2" fmla="*/ 661264 w 800740"/>
              <a:gd name="connsiteY2" fmla="*/ 676402 h 800741"/>
              <a:gd name="connsiteX3" fmla="*/ 547940 w 800740"/>
              <a:gd name="connsiteY3" fmla="*/ 622936 h 800741"/>
              <a:gd name="connsiteX4" fmla="*/ 252800 w 800740"/>
              <a:gd name="connsiteY4" fmla="*/ 622936 h 800741"/>
              <a:gd name="connsiteX5" fmla="*/ 139476 w 800740"/>
              <a:gd name="connsiteY5" fmla="*/ 676402 h 800741"/>
              <a:gd name="connsiteX6" fmla="*/ 336236 w 800740"/>
              <a:gd name="connsiteY6" fmla="*/ 774630 h 800741"/>
              <a:gd name="connsiteX7" fmla="*/ 252800 w 800740"/>
              <a:gd name="connsiteY7" fmla="*/ 622936 h 800741"/>
              <a:gd name="connsiteX8" fmla="*/ 400992 w 800740"/>
              <a:gd name="connsiteY8" fmla="*/ 600555 h 800741"/>
              <a:gd name="connsiteX9" fmla="*/ 272725 w 800740"/>
              <a:gd name="connsiteY9" fmla="*/ 616720 h 800741"/>
              <a:gd name="connsiteX10" fmla="*/ 400992 w 800740"/>
              <a:gd name="connsiteY10" fmla="*/ 780846 h 800741"/>
              <a:gd name="connsiteX11" fmla="*/ 528015 w 800740"/>
              <a:gd name="connsiteY11" fmla="*/ 616720 h 800741"/>
              <a:gd name="connsiteX12" fmla="*/ 400992 w 800740"/>
              <a:gd name="connsiteY12" fmla="*/ 600555 h 800741"/>
              <a:gd name="connsiteX13" fmla="*/ 577828 w 800740"/>
              <a:gd name="connsiteY13" fmla="*/ 400370 h 800741"/>
              <a:gd name="connsiteX14" fmla="*/ 554167 w 800740"/>
              <a:gd name="connsiteY14" fmla="*/ 603042 h 800741"/>
              <a:gd name="connsiteX15" fmla="*/ 676208 w 800740"/>
              <a:gd name="connsiteY15" fmla="*/ 661481 h 800741"/>
              <a:gd name="connsiteX16" fmla="*/ 779569 w 800740"/>
              <a:gd name="connsiteY16" fmla="*/ 422751 h 800741"/>
              <a:gd name="connsiteX17" fmla="*/ 577828 w 800740"/>
              <a:gd name="connsiteY17" fmla="*/ 400370 h 800741"/>
              <a:gd name="connsiteX18" fmla="*/ 222912 w 800740"/>
              <a:gd name="connsiteY18" fmla="*/ 400370 h 800741"/>
              <a:gd name="connsiteX19" fmla="*/ 21170 w 800740"/>
              <a:gd name="connsiteY19" fmla="*/ 422751 h 800741"/>
              <a:gd name="connsiteX20" fmla="*/ 124532 w 800740"/>
              <a:gd name="connsiteY20" fmla="*/ 661481 h 800741"/>
              <a:gd name="connsiteX21" fmla="*/ 246573 w 800740"/>
              <a:gd name="connsiteY21" fmla="*/ 603042 h 800741"/>
              <a:gd name="connsiteX22" fmla="*/ 222912 w 800740"/>
              <a:gd name="connsiteY22" fmla="*/ 400370 h 800741"/>
              <a:gd name="connsiteX23" fmla="*/ 400992 w 800740"/>
              <a:gd name="connsiteY23" fmla="*/ 397884 h 800741"/>
              <a:gd name="connsiteX24" fmla="*/ 244082 w 800740"/>
              <a:gd name="connsiteY24" fmla="*/ 399127 h 800741"/>
              <a:gd name="connsiteX25" fmla="*/ 244082 w 800740"/>
              <a:gd name="connsiteY25" fmla="*/ 400370 h 800741"/>
              <a:gd name="connsiteX26" fmla="*/ 266498 w 800740"/>
              <a:gd name="connsiteY26" fmla="*/ 596825 h 800741"/>
              <a:gd name="connsiteX27" fmla="*/ 400992 w 800740"/>
              <a:gd name="connsiteY27" fmla="*/ 579418 h 800741"/>
              <a:gd name="connsiteX28" fmla="*/ 534242 w 800740"/>
              <a:gd name="connsiteY28" fmla="*/ 596825 h 800741"/>
              <a:gd name="connsiteX29" fmla="*/ 556657 w 800740"/>
              <a:gd name="connsiteY29" fmla="*/ 400370 h 800741"/>
              <a:gd name="connsiteX30" fmla="*/ 556657 w 800740"/>
              <a:gd name="connsiteY30" fmla="*/ 399127 h 800741"/>
              <a:gd name="connsiteX31" fmla="*/ 400992 w 800740"/>
              <a:gd name="connsiteY31" fmla="*/ 397884 h 800741"/>
              <a:gd name="connsiteX32" fmla="*/ 266498 w 800740"/>
              <a:gd name="connsiteY32" fmla="*/ 203915 h 800741"/>
              <a:gd name="connsiteX33" fmla="*/ 244082 w 800740"/>
              <a:gd name="connsiteY33" fmla="*/ 377989 h 800741"/>
              <a:gd name="connsiteX34" fmla="*/ 400992 w 800740"/>
              <a:gd name="connsiteY34" fmla="*/ 375503 h 800741"/>
              <a:gd name="connsiteX35" fmla="*/ 556657 w 800740"/>
              <a:gd name="connsiteY35" fmla="*/ 377989 h 800741"/>
              <a:gd name="connsiteX36" fmla="*/ 532996 w 800740"/>
              <a:gd name="connsiteY36" fmla="*/ 203915 h 800741"/>
              <a:gd name="connsiteX37" fmla="*/ 400992 w 800740"/>
              <a:gd name="connsiteY37" fmla="*/ 221323 h 800741"/>
              <a:gd name="connsiteX38" fmla="*/ 266498 w 800740"/>
              <a:gd name="connsiteY38" fmla="*/ 203915 h 800741"/>
              <a:gd name="connsiteX39" fmla="*/ 577828 w 800740"/>
              <a:gd name="connsiteY39" fmla="*/ 190238 h 800741"/>
              <a:gd name="connsiteX40" fmla="*/ 554167 w 800740"/>
              <a:gd name="connsiteY40" fmla="*/ 197698 h 800741"/>
              <a:gd name="connsiteX41" fmla="*/ 577828 w 800740"/>
              <a:gd name="connsiteY41" fmla="*/ 379233 h 800741"/>
              <a:gd name="connsiteX42" fmla="*/ 669981 w 800740"/>
              <a:gd name="connsiteY42" fmla="*/ 384206 h 800741"/>
              <a:gd name="connsiteX43" fmla="*/ 780815 w 800740"/>
              <a:gd name="connsiteY43" fmla="*/ 400370 h 800741"/>
              <a:gd name="connsiteX44" fmla="*/ 749682 w 800740"/>
              <a:gd name="connsiteY44" fmla="*/ 252407 h 800741"/>
              <a:gd name="connsiteX45" fmla="*/ 696133 w 800740"/>
              <a:gd name="connsiteY45" fmla="*/ 346905 h 800741"/>
              <a:gd name="connsiteX46" fmla="*/ 679944 w 800740"/>
              <a:gd name="connsiteY46" fmla="*/ 355608 h 800741"/>
              <a:gd name="connsiteX47" fmla="*/ 669981 w 800740"/>
              <a:gd name="connsiteY47" fmla="*/ 354365 h 800741"/>
              <a:gd name="connsiteX48" fmla="*/ 667491 w 800740"/>
              <a:gd name="connsiteY48" fmla="*/ 353122 h 800741"/>
              <a:gd name="connsiteX49" fmla="*/ 665000 w 800740"/>
              <a:gd name="connsiteY49" fmla="*/ 350635 h 800741"/>
              <a:gd name="connsiteX50" fmla="*/ 662509 w 800740"/>
              <a:gd name="connsiteY50" fmla="*/ 346905 h 800741"/>
              <a:gd name="connsiteX51" fmla="*/ 582809 w 800740"/>
              <a:gd name="connsiteY51" fmla="*/ 198942 h 800741"/>
              <a:gd name="connsiteX52" fmla="*/ 579073 w 800740"/>
              <a:gd name="connsiteY52" fmla="*/ 191481 h 800741"/>
              <a:gd name="connsiteX53" fmla="*/ 577828 w 800740"/>
              <a:gd name="connsiteY53" fmla="*/ 190238 h 800741"/>
              <a:gd name="connsiteX54" fmla="*/ 124532 w 800740"/>
              <a:gd name="connsiteY54" fmla="*/ 139259 h 800741"/>
              <a:gd name="connsiteX55" fmla="*/ 19925 w 800740"/>
              <a:gd name="connsiteY55" fmla="*/ 400370 h 800741"/>
              <a:gd name="connsiteX56" fmla="*/ 130758 w 800740"/>
              <a:gd name="connsiteY56" fmla="*/ 384206 h 800741"/>
              <a:gd name="connsiteX57" fmla="*/ 222912 w 800740"/>
              <a:gd name="connsiteY57" fmla="*/ 379233 h 800741"/>
              <a:gd name="connsiteX58" fmla="*/ 246573 w 800740"/>
              <a:gd name="connsiteY58" fmla="*/ 197698 h 800741"/>
              <a:gd name="connsiteX59" fmla="*/ 124532 w 800740"/>
              <a:gd name="connsiteY59" fmla="*/ 139259 h 800741"/>
              <a:gd name="connsiteX60" fmla="*/ 681138 w 800740"/>
              <a:gd name="connsiteY60" fmla="*/ 85664 h 800741"/>
              <a:gd name="connsiteX61" fmla="*/ 646959 w 800740"/>
              <a:gd name="connsiteY61" fmla="*/ 120227 h 800741"/>
              <a:gd name="connsiteX62" fmla="*/ 681138 w 800740"/>
              <a:gd name="connsiteY62" fmla="*/ 154790 h 800741"/>
              <a:gd name="connsiteX63" fmla="*/ 714096 w 800740"/>
              <a:gd name="connsiteY63" fmla="*/ 120227 h 800741"/>
              <a:gd name="connsiteX64" fmla="*/ 681138 w 800740"/>
              <a:gd name="connsiteY64" fmla="*/ 85664 h 800741"/>
              <a:gd name="connsiteX65" fmla="*/ 681138 w 800740"/>
              <a:gd name="connsiteY65" fmla="*/ 65914 h 800741"/>
              <a:gd name="connsiteX66" fmla="*/ 734847 w 800740"/>
              <a:gd name="connsiteY66" fmla="*/ 120227 h 800741"/>
              <a:gd name="connsiteX67" fmla="*/ 681138 w 800740"/>
              <a:gd name="connsiteY67" fmla="*/ 174541 h 800741"/>
              <a:gd name="connsiteX68" fmla="*/ 626207 w 800740"/>
              <a:gd name="connsiteY68" fmla="*/ 120227 h 800741"/>
              <a:gd name="connsiteX69" fmla="*/ 681138 w 800740"/>
              <a:gd name="connsiteY69" fmla="*/ 65914 h 800741"/>
              <a:gd name="connsiteX70" fmla="*/ 464504 w 800740"/>
              <a:gd name="connsiteY70" fmla="*/ 26111 h 800741"/>
              <a:gd name="connsiteX71" fmla="*/ 547940 w 800740"/>
              <a:gd name="connsiteY71" fmla="*/ 177804 h 800741"/>
              <a:gd name="connsiteX72" fmla="*/ 570356 w 800740"/>
              <a:gd name="connsiteY72" fmla="*/ 170344 h 800741"/>
              <a:gd name="connsiteX73" fmla="*/ 570356 w 800740"/>
              <a:gd name="connsiteY73" fmla="*/ 166614 h 800741"/>
              <a:gd name="connsiteX74" fmla="*/ 564129 w 800740"/>
              <a:gd name="connsiteY74" fmla="*/ 151693 h 800741"/>
              <a:gd name="connsiteX75" fmla="*/ 559148 w 800740"/>
              <a:gd name="connsiteY75" fmla="*/ 120608 h 800741"/>
              <a:gd name="connsiteX76" fmla="*/ 559148 w 800740"/>
              <a:gd name="connsiteY76" fmla="*/ 110661 h 800741"/>
              <a:gd name="connsiteX77" fmla="*/ 559148 w 800740"/>
              <a:gd name="connsiteY77" fmla="*/ 108175 h 800741"/>
              <a:gd name="connsiteX78" fmla="*/ 561639 w 800740"/>
              <a:gd name="connsiteY78" fmla="*/ 96984 h 800741"/>
              <a:gd name="connsiteX79" fmla="*/ 561639 w 800740"/>
              <a:gd name="connsiteY79" fmla="*/ 95741 h 800741"/>
              <a:gd name="connsiteX80" fmla="*/ 564129 w 800740"/>
              <a:gd name="connsiteY80" fmla="*/ 85794 h 800741"/>
              <a:gd name="connsiteX81" fmla="*/ 565374 w 800740"/>
              <a:gd name="connsiteY81" fmla="*/ 84550 h 800741"/>
              <a:gd name="connsiteX82" fmla="*/ 567865 w 800740"/>
              <a:gd name="connsiteY82" fmla="*/ 74603 h 800741"/>
              <a:gd name="connsiteX83" fmla="*/ 569110 w 800740"/>
              <a:gd name="connsiteY83" fmla="*/ 73360 h 800741"/>
              <a:gd name="connsiteX84" fmla="*/ 572846 w 800740"/>
              <a:gd name="connsiteY84" fmla="*/ 64656 h 800741"/>
              <a:gd name="connsiteX85" fmla="*/ 572846 w 800740"/>
              <a:gd name="connsiteY85" fmla="*/ 63413 h 800741"/>
              <a:gd name="connsiteX86" fmla="*/ 574092 w 800740"/>
              <a:gd name="connsiteY86" fmla="*/ 62169 h 800741"/>
              <a:gd name="connsiteX87" fmla="*/ 464504 w 800740"/>
              <a:gd name="connsiteY87" fmla="*/ 26111 h 800741"/>
              <a:gd name="connsiteX88" fmla="*/ 336236 w 800740"/>
              <a:gd name="connsiteY88" fmla="*/ 26111 h 800741"/>
              <a:gd name="connsiteX89" fmla="*/ 139476 w 800740"/>
              <a:gd name="connsiteY89" fmla="*/ 124339 h 800741"/>
              <a:gd name="connsiteX90" fmla="*/ 252800 w 800740"/>
              <a:gd name="connsiteY90" fmla="*/ 177804 h 800741"/>
              <a:gd name="connsiteX91" fmla="*/ 336236 w 800740"/>
              <a:gd name="connsiteY91" fmla="*/ 26111 h 800741"/>
              <a:gd name="connsiteX92" fmla="*/ 679944 w 800740"/>
              <a:gd name="connsiteY92" fmla="*/ 21138 h 800741"/>
              <a:gd name="connsiteX93" fmla="*/ 597753 w 800740"/>
              <a:gd name="connsiteY93" fmla="*/ 64656 h 800741"/>
              <a:gd name="connsiteX94" fmla="*/ 596508 w 800740"/>
              <a:gd name="connsiteY94" fmla="*/ 67143 h 800741"/>
              <a:gd name="connsiteX95" fmla="*/ 592772 w 800740"/>
              <a:gd name="connsiteY95" fmla="*/ 73360 h 800741"/>
              <a:gd name="connsiteX96" fmla="*/ 591526 w 800740"/>
              <a:gd name="connsiteY96" fmla="*/ 74603 h 800741"/>
              <a:gd name="connsiteX97" fmla="*/ 589036 w 800740"/>
              <a:gd name="connsiteY97" fmla="*/ 80820 h 800741"/>
              <a:gd name="connsiteX98" fmla="*/ 587790 w 800740"/>
              <a:gd name="connsiteY98" fmla="*/ 83307 h 800741"/>
              <a:gd name="connsiteX99" fmla="*/ 582809 w 800740"/>
              <a:gd name="connsiteY99" fmla="*/ 99471 h 800741"/>
              <a:gd name="connsiteX100" fmla="*/ 581564 w 800740"/>
              <a:gd name="connsiteY100" fmla="*/ 101958 h 800741"/>
              <a:gd name="connsiteX101" fmla="*/ 581564 w 800740"/>
              <a:gd name="connsiteY101" fmla="*/ 109418 h 800741"/>
              <a:gd name="connsiteX102" fmla="*/ 580318 w 800740"/>
              <a:gd name="connsiteY102" fmla="*/ 111905 h 800741"/>
              <a:gd name="connsiteX103" fmla="*/ 580318 w 800740"/>
              <a:gd name="connsiteY103" fmla="*/ 120608 h 800741"/>
              <a:gd name="connsiteX104" fmla="*/ 679944 w 800740"/>
              <a:gd name="connsiteY104" fmla="*/ 334471 h 800741"/>
              <a:gd name="connsiteX105" fmla="*/ 739719 w 800740"/>
              <a:gd name="connsiteY105" fmla="*/ 227540 h 800741"/>
              <a:gd name="connsiteX106" fmla="*/ 778324 w 800740"/>
              <a:gd name="connsiteY106" fmla="*/ 120608 h 800741"/>
              <a:gd name="connsiteX107" fmla="*/ 679944 w 800740"/>
              <a:gd name="connsiteY107" fmla="*/ 21138 h 800741"/>
              <a:gd name="connsiteX108" fmla="*/ 400992 w 800740"/>
              <a:gd name="connsiteY108" fmla="*/ 19894 h 800741"/>
              <a:gd name="connsiteX109" fmla="*/ 272725 w 800740"/>
              <a:gd name="connsiteY109" fmla="*/ 184021 h 800741"/>
              <a:gd name="connsiteX110" fmla="*/ 400992 w 800740"/>
              <a:gd name="connsiteY110" fmla="*/ 200185 h 800741"/>
              <a:gd name="connsiteX111" fmla="*/ 528015 w 800740"/>
              <a:gd name="connsiteY111" fmla="*/ 184021 h 800741"/>
              <a:gd name="connsiteX112" fmla="*/ 400992 w 800740"/>
              <a:gd name="connsiteY112" fmla="*/ 19894 h 800741"/>
              <a:gd name="connsiteX113" fmla="*/ 400992 w 800740"/>
              <a:gd name="connsiteY113" fmla="*/ 0 h 800741"/>
              <a:gd name="connsiteX114" fmla="*/ 585300 w 800740"/>
              <a:gd name="connsiteY114" fmla="*/ 46005 h 800741"/>
              <a:gd name="connsiteX115" fmla="*/ 679944 w 800740"/>
              <a:gd name="connsiteY115" fmla="*/ 0 h 800741"/>
              <a:gd name="connsiteX116" fmla="*/ 799494 w 800740"/>
              <a:gd name="connsiteY116" fmla="*/ 120608 h 800741"/>
              <a:gd name="connsiteX117" fmla="*/ 762135 w 800740"/>
              <a:gd name="connsiteY117" fmla="*/ 228783 h 800741"/>
              <a:gd name="connsiteX118" fmla="*/ 800740 w 800740"/>
              <a:gd name="connsiteY118" fmla="*/ 400370 h 800741"/>
              <a:gd name="connsiteX119" fmla="*/ 800740 w 800740"/>
              <a:gd name="connsiteY119" fmla="*/ 416534 h 800741"/>
              <a:gd name="connsiteX120" fmla="*/ 800740 w 800740"/>
              <a:gd name="connsiteY120" fmla="*/ 420264 h 800741"/>
              <a:gd name="connsiteX121" fmla="*/ 400992 w 800740"/>
              <a:gd name="connsiteY121" fmla="*/ 800741 h 800741"/>
              <a:gd name="connsiteX122" fmla="*/ 0 w 800740"/>
              <a:gd name="connsiteY122" fmla="*/ 420264 h 800741"/>
              <a:gd name="connsiteX123" fmla="*/ 0 w 800740"/>
              <a:gd name="connsiteY123" fmla="*/ 416534 h 800741"/>
              <a:gd name="connsiteX124" fmla="*/ 0 w 800740"/>
              <a:gd name="connsiteY124" fmla="*/ 400370 h 800741"/>
              <a:gd name="connsiteX125" fmla="*/ 400992 w 800740"/>
              <a:gd name="connsiteY125" fmla="*/ 0 h 80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00740" h="800741">
                <a:moveTo>
                  <a:pt x="547940" y="622936"/>
                </a:moveTo>
                <a:cubicBezTo>
                  <a:pt x="528015" y="691323"/>
                  <a:pt x="499373" y="744788"/>
                  <a:pt x="464504" y="774630"/>
                </a:cubicBezTo>
                <a:cubicBezTo>
                  <a:pt x="540468" y="762196"/>
                  <a:pt x="607715" y="726137"/>
                  <a:pt x="661264" y="676402"/>
                </a:cubicBezTo>
                <a:cubicBezTo>
                  <a:pt x="626395" y="654021"/>
                  <a:pt x="589036" y="636614"/>
                  <a:pt x="547940" y="622936"/>
                </a:cubicBezTo>
                <a:close/>
                <a:moveTo>
                  <a:pt x="252800" y="622936"/>
                </a:moveTo>
                <a:cubicBezTo>
                  <a:pt x="211704" y="636614"/>
                  <a:pt x="174345" y="654021"/>
                  <a:pt x="139476" y="676402"/>
                </a:cubicBezTo>
                <a:cubicBezTo>
                  <a:pt x="193024" y="726137"/>
                  <a:pt x="260272" y="762196"/>
                  <a:pt x="336236" y="774630"/>
                </a:cubicBezTo>
                <a:cubicBezTo>
                  <a:pt x="301367" y="744788"/>
                  <a:pt x="272725" y="691323"/>
                  <a:pt x="252800" y="622936"/>
                </a:cubicBezTo>
                <a:close/>
                <a:moveTo>
                  <a:pt x="400992" y="600555"/>
                </a:moveTo>
                <a:cubicBezTo>
                  <a:pt x="357406" y="600555"/>
                  <a:pt x="313820" y="606772"/>
                  <a:pt x="272725" y="616720"/>
                </a:cubicBezTo>
                <a:cubicBezTo>
                  <a:pt x="302612" y="714947"/>
                  <a:pt x="348689" y="780846"/>
                  <a:pt x="400992" y="780846"/>
                </a:cubicBezTo>
                <a:cubicBezTo>
                  <a:pt x="452051" y="780846"/>
                  <a:pt x="499373" y="714947"/>
                  <a:pt x="528015" y="616720"/>
                </a:cubicBezTo>
                <a:cubicBezTo>
                  <a:pt x="486919" y="606772"/>
                  <a:pt x="444579" y="600555"/>
                  <a:pt x="400992" y="600555"/>
                </a:cubicBezTo>
                <a:close/>
                <a:moveTo>
                  <a:pt x="577828" y="400370"/>
                </a:moveTo>
                <a:cubicBezTo>
                  <a:pt x="577828" y="474973"/>
                  <a:pt x="569110" y="544603"/>
                  <a:pt x="554167" y="603042"/>
                </a:cubicBezTo>
                <a:cubicBezTo>
                  <a:pt x="597753" y="616720"/>
                  <a:pt x="637603" y="636614"/>
                  <a:pt x="676208" y="661481"/>
                </a:cubicBezTo>
                <a:cubicBezTo>
                  <a:pt x="735983" y="598069"/>
                  <a:pt x="774588" y="514762"/>
                  <a:pt x="779569" y="422751"/>
                </a:cubicBezTo>
                <a:cubicBezTo>
                  <a:pt x="764625" y="414048"/>
                  <a:pt x="691152" y="405344"/>
                  <a:pt x="577828" y="400370"/>
                </a:cubicBezTo>
                <a:close/>
                <a:moveTo>
                  <a:pt x="222912" y="400370"/>
                </a:moveTo>
                <a:cubicBezTo>
                  <a:pt x="109588" y="405344"/>
                  <a:pt x="36114" y="414048"/>
                  <a:pt x="21170" y="422751"/>
                </a:cubicBezTo>
                <a:cubicBezTo>
                  <a:pt x="26152" y="514762"/>
                  <a:pt x="64757" y="598069"/>
                  <a:pt x="124532" y="661481"/>
                </a:cubicBezTo>
                <a:cubicBezTo>
                  <a:pt x="163137" y="636614"/>
                  <a:pt x="202987" y="616720"/>
                  <a:pt x="246573" y="603042"/>
                </a:cubicBezTo>
                <a:cubicBezTo>
                  <a:pt x="231629" y="544603"/>
                  <a:pt x="222912" y="474973"/>
                  <a:pt x="222912" y="400370"/>
                </a:cubicBezTo>
                <a:close/>
                <a:moveTo>
                  <a:pt x="400992" y="397884"/>
                </a:moveTo>
                <a:cubicBezTo>
                  <a:pt x="343708" y="397884"/>
                  <a:pt x="290159" y="397884"/>
                  <a:pt x="244082" y="399127"/>
                </a:cubicBezTo>
                <a:lnTo>
                  <a:pt x="244082" y="400370"/>
                </a:lnTo>
                <a:cubicBezTo>
                  <a:pt x="244082" y="471243"/>
                  <a:pt x="252800" y="539630"/>
                  <a:pt x="266498" y="596825"/>
                </a:cubicBezTo>
                <a:cubicBezTo>
                  <a:pt x="310084" y="585635"/>
                  <a:pt x="354916" y="579418"/>
                  <a:pt x="400992" y="579418"/>
                </a:cubicBezTo>
                <a:cubicBezTo>
                  <a:pt x="445824" y="579418"/>
                  <a:pt x="490655" y="585635"/>
                  <a:pt x="534242" y="596825"/>
                </a:cubicBezTo>
                <a:cubicBezTo>
                  <a:pt x="547940" y="539630"/>
                  <a:pt x="556657" y="471243"/>
                  <a:pt x="556657" y="400370"/>
                </a:cubicBezTo>
                <a:lnTo>
                  <a:pt x="556657" y="399127"/>
                </a:lnTo>
                <a:cubicBezTo>
                  <a:pt x="510580" y="397884"/>
                  <a:pt x="458277" y="397884"/>
                  <a:pt x="400992" y="397884"/>
                </a:cubicBezTo>
                <a:close/>
                <a:moveTo>
                  <a:pt x="266498" y="203915"/>
                </a:moveTo>
                <a:cubicBezTo>
                  <a:pt x="254045" y="256138"/>
                  <a:pt x="245328" y="315820"/>
                  <a:pt x="244082" y="377989"/>
                </a:cubicBezTo>
                <a:cubicBezTo>
                  <a:pt x="292650" y="376746"/>
                  <a:pt x="346198" y="375503"/>
                  <a:pt x="400992" y="375503"/>
                </a:cubicBezTo>
                <a:cubicBezTo>
                  <a:pt x="454541" y="375503"/>
                  <a:pt x="508090" y="376746"/>
                  <a:pt x="556657" y="377989"/>
                </a:cubicBezTo>
                <a:cubicBezTo>
                  <a:pt x="555412" y="315820"/>
                  <a:pt x="546695" y="256138"/>
                  <a:pt x="532996" y="203915"/>
                </a:cubicBezTo>
                <a:cubicBezTo>
                  <a:pt x="490655" y="215106"/>
                  <a:pt x="445824" y="221323"/>
                  <a:pt x="400992" y="221323"/>
                </a:cubicBezTo>
                <a:cubicBezTo>
                  <a:pt x="354916" y="221323"/>
                  <a:pt x="310084" y="215106"/>
                  <a:pt x="266498" y="203915"/>
                </a:cubicBezTo>
                <a:close/>
                <a:moveTo>
                  <a:pt x="577828" y="190238"/>
                </a:moveTo>
                <a:cubicBezTo>
                  <a:pt x="570356" y="192725"/>
                  <a:pt x="561639" y="195212"/>
                  <a:pt x="554167" y="197698"/>
                </a:cubicBezTo>
                <a:cubicBezTo>
                  <a:pt x="567865" y="251164"/>
                  <a:pt x="576582" y="313333"/>
                  <a:pt x="577828" y="379233"/>
                </a:cubicBezTo>
                <a:cubicBezTo>
                  <a:pt x="611451" y="380476"/>
                  <a:pt x="642584" y="381720"/>
                  <a:pt x="669981" y="384206"/>
                </a:cubicBezTo>
                <a:cubicBezTo>
                  <a:pt x="729757" y="389180"/>
                  <a:pt x="762135" y="394153"/>
                  <a:pt x="780815" y="400370"/>
                </a:cubicBezTo>
                <a:cubicBezTo>
                  <a:pt x="780815" y="348148"/>
                  <a:pt x="769607" y="299656"/>
                  <a:pt x="749682" y="252407"/>
                </a:cubicBezTo>
                <a:cubicBezTo>
                  <a:pt x="728511" y="294682"/>
                  <a:pt x="706096" y="331984"/>
                  <a:pt x="696133" y="346905"/>
                </a:cubicBezTo>
                <a:cubicBezTo>
                  <a:pt x="692397" y="353122"/>
                  <a:pt x="686170" y="355608"/>
                  <a:pt x="679944" y="355608"/>
                </a:cubicBezTo>
                <a:cubicBezTo>
                  <a:pt x="676208" y="355608"/>
                  <a:pt x="672472" y="355608"/>
                  <a:pt x="669981" y="354365"/>
                </a:cubicBezTo>
                <a:cubicBezTo>
                  <a:pt x="668736" y="353122"/>
                  <a:pt x="667491" y="353122"/>
                  <a:pt x="667491" y="353122"/>
                </a:cubicBezTo>
                <a:cubicBezTo>
                  <a:pt x="667491" y="351878"/>
                  <a:pt x="666245" y="351878"/>
                  <a:pt x="665000" y="350635"/>
                </a:cubicBezTo>
                <a:cubicBezTo>
                  <a:pt x="663755" y="349391"/>
                  <a:pt x="663755" y="348148"/>
                  <a:pt x="662509" y="346905"/>
                </a:cubicBezTo>
                <a:cubicBezTo>
                  <a:pt x="648811" y="327011"/>
                  <a:pt x="608961" y="259868"/>
                  <a:pt x="582809" y="198942"/>
                </a:cubicBezTo>
                <a:cubicBezTo>
                  <a:pt x="581564" y="197698"/>
                  <a:pt x="580318" y="193968"/>
                  <a:pt x="579073" y="191481"/>
                </a:cubicBezTo>
                <a:cubicBezTo>
                  <a:pt x="579073" y="190238"/>
                  <a:pt x="577828" y="190238"/>
                  <a:pt x="577828" y="190238"/>
                </a:cubicBezTo>
                <a:close/>
                <a:moveTo>
                  <a:pt x="124532" y="139259"/>
                </a:moveTo>
                <a:cubicBezTo>
                  <a:pt x="59775" y="207645"/>
                  <a:pt x="19925" y="299656"/>
                  <a:pt x="19925" y="400370"/>
                </a:cubicBezTo>
                <a:cubicBezTo>
                  <a:pt x="38605" y="394153"/>
                  <a:pt x="70983" y="389180"/>
                  <a:pt x="130758" y="384206"/>
                </a:cubicBezTo>
                <a:cubicBezTo>
                  <a:pt x="159401" y="381720"/>
                  <a:pt x="189288" y="380476"/>
                  <a:pt x="222912" y="379233"/>
                </a:cubicBezTo>
                <a:cubicBezTo>
                  <a:pt x="224157" y="313333"/>
                  <a:pt x="232875" y="251164"/>
                  <a:pt x="246573" y="197698"/>
                </a:cubicBezTo>
                <a:cubicBezTo>
                  <a:pt x="202987" y="184021"/>
                  <a:pt x="163137" y="164127"/>
                  <a:pt x="124532" y="139259"/>
                </a:cubicBezTo>
                <a:close/>
                <a:moveTo>
                  <a:pt x="681138" y="85664"/>
                </a:moveTo>
                <a:cubicBezTo>
                  <a:pt x="661607" y="85664"/>
                  <a:pt x="646959" y="101711"/>
                  <a:pt x="646959" y="120227"/>
                </a:cubicBezTo>
                <a:cubicBezTo>
                  <a:pt x="646959" y="138743"/>
                  <a:pt x="661607" y="154790"/>
                  <a:pt x="681138" y="154790"/>
                </a:cubicBezTo>
                <a:cubicBezTo>
                  <a:pt x="699448" y="154790"/>
                  <a:pt x="714096" y="138743"/>
                  <a:pt x="714096" y="120227"/>
                </a:cubicBezTo>
                <a:cubicBezTo>
                  <a:pt x="714096" y="101711"/>
                  <a:pt x="699448" y="85664"/>
                  <a:pt x="681138" y="85664"/>
                </a:cubicBezTo>
                <a:close/>
                <a:moveTo>
                  <a:pt x="681138" y="65914"/>
                </a:moveTo>
                <a:cubicBezTo>
                  <a:pt x="710434" y="65914"/>
                  <a:pt x="734847" y="90602"/>
                  <a:pt x="734847" y="120227"/>
                </a:cubicBezTo>
                <a:cubicBezTo>
                  <a:pt x="734847" y="149853"/>
                  <a:pt x="710434" y="174541"/>
                  <a:pt x="681138" y="174541"/>
                </a:cubicBezTo>
                <a:cubicBezTo>
                  <a:pt x="650621" y="174541"/>
                  <a:pt x="626207" y="149853"/>
                  <a:pt x="626207" y="120227"/>
                </a:cubicBezTo>
                <a:cubicBezTo>
                  <a:pt x="626207" y="90602"/>
                  <a:pt x="650621" y="65914"/>
                  <a:pt x="681138" y="65914"/>
                </a:cubicBezTo>
                <a:close/>
                <a:moveTo>
                  <a:pt x="464504" y="26111"/>
                </a:moveTo>
                <a:cubicBezTo>
                  <a:pt x="499373" y="55952"/>
                  <a:pt x="528015" y="109418"/>
                  <a:pt x="547940" y="177804"/>
                </a:cubicBezTo>
                <a:cubicBezTo>
                  <a:pt x="556657" y="175317"/>
                  <a:pt x="564129" y="172831"/>
                  <a:pt x="570356" y="170344"/>
                </a:cubicBezTo>
                <a:cubicBezTo>
                  <a:pt x="570356" y="169100"/>
                  <a:pt x="570356" y="169100"/>
                  <a:pt x="570356" y="166614"/>
                </a:cubicBezTo>
                <a:cubicBezTo>
                  <a:pt x="567865" y="161640"/>
                  <a:pt x="565374" y="156667"/>
                  <a:pt x="564129" y="151693"/>
                </a:cubicBezTo>
                <a:cubicBezTo>
                  <a:pt x="561639" y="140503"/>
                  <a:pt x="559148" y="129312"/>
                  <a:pt x="559148" y="120608"/>
                </a:cubicBezTo>
                <a:cubicBezTo>
                  <a:pt x="559148" y="116878"/>
                  <a:pt x="559148" y="113148"/>
                  <a:pt x="559148" y="110661"/>
                </a:cubicBezTo>
                <a:cubicBezTo>
                  <a:pt x="559148" y="109418"/>
                  <a:pt x="559148" y="108175"/>
                  <a:pt x="559148" y="108175"/>
                </a:cubicBezTo>
                <a:cubicBezTo>
                  <a:pt x="560393" y="104444"/>
                  <a:pt x="560393" y="100714"/>
                  <a:pt x="561639" y="96984"/>
                </a:cubicBezTo>
                <a:cubicBezTo>
                  <a:pt x="561639" y="96984"/>
                  <a:pt x="561639" y="96984"/>
                  <a:pt x="561639" y="95741"/>
                </a:cubicBezTo>
                <a:cubicBezTo>
                  <a:pt x="562884" y="92011"/>
                  <a:pt x="564129" y="89524"/>
                  <a:pt x="564129" y="85794"/>
                </a:cubicBezTo>
                <a:cubicBezTo>
                  <a:pt x="564129" y="85794"/>
                  <a:pt x="564129" y="84550"/>
                  <a:pt x="565374" y="84550"/>
                </a:cubicBezTo>
                <a:cubicBezTo>
                  <a:pt x="565374" y="80820"/>
                  <a:pt x="566620" y="78333"/>
                  <a:pt x="567865" y="74603"/>
                </a:cubicBezTo>
                <a:cubicBezTo>
                  <a:pt x="569110" y="74603"/>
                  <a:pt x="569110" y="73360"/>
                  <a:pt x="569110" y="73360"/>
                </a:cubicBezTo>
                <a:cubicBezTo>
                  <a:pt x="570356" y="70873"/>
                  <a:pt x="571601" y="67143"/>
                  <a:pt x="572846" y="64656"/>
                </a:cubicBezTo>
                <a:lnTo>
                  <a:pt x="572846" y="63413"/>
                </a:lnTo>
                <a:cubicBezTo>
                  <a:pt x="574092" y="62169"/>
                  <a:pt x="574092" y="62169"/>
                  <a:pt x="574092" y="62169"/>
                </a:cubicBezTo>
                <a:cubicBezTo>
                  <a:pt x="540468" y="46005"/>
                  <a:pt x="503109" y="32328"/>
                  <a:pt x="464504" y="26111"/>
                </a:cubicBezTo>
                <a:close/>
                <a:moveTo>
                  <a:pt x="336236" y="26111"/>
                </a:moveTo>
                <a:cubicBezTo>
                  <a:pt x="260272" y="39788"/>
                  <a:pt x="193024" y="74603"/>
                  <a:pt x="139476" y="124339"/>
                </a:cubicBezTo>
                <a:cubicBezTo>
                  <a:pt x="174345" y="146720"/>
                  <a:pt x="211704" y="165370"/>
                  <a:pt x="252800" y="177804"/>
                </a:cubicBezTo>
                <a:cubicBezTo>
                  <a:pt x="272725" y="109418"/>
                  <a:pt x="301367" y="55952"/>
                  <a:pt x="336236" y="26111"/>
                </a:cubicBezTo>
                <a:close/>
                <a:moveTo>
                  <a:pt x="679944" y="21138"/>
                </a:moveTo>
                <a:cubicBezTo>
                  <a:pt x="645075" y="21138"/>
                  <a:pt x="615187" y="39788"/>
                  <a:pt x="597753" y="64656"/>
                </a:cubicBezTo>
                <a:cubicBezTo>
                  <a:pt x="597753" y="65899"/>
                  <a:pt x="596508" y="67143"/>
                  <a:pt x="596508" y="67143"/>
                </a:cubicBezTo>
                <a:cubicBezTo>
                  <a:pt x="595262" y="68386"/>
                  <a:pt x="594017" y="70873"/>
                  <a:pt x="592772" y="73360"/>
                </a:cubicBezTo>
                <a:lnTo>
                  <a:pt x="591526" y="74603"/>
                </a:lnTo>
                <a:cubicBezTo>
                  <a:pt x="590281" y="77090"/>
                  <a:pt x="589036" y="78333"/>
                  <a:pt x="589036" y="80820"/>
                </a:cubicBezTo>
                <a:cubicBezTo>
                  <a:pt x="587790" y="82063"/>
                  <a:pt x="587790" y="82063"/>
                  <a:pt x="587790" y="83307"/>
                </a:cubicBezTo>
                <a:cubicBezTo>
                  <a:pt x="585300" y="88280"/>
                  <a:pt x="584054" y="94497"/>
                  <a:pt x="582809" y="99471"/>
                </a:cubicBezTo>
                <a:cubicBezTo>
                  <a:pt x="581564" y="100714"/>
                  <a:pt x="581564" y="101958"/>
                  <a:pt x="581564" y="101958"/>
                </a:cubicBezTo>
                <a:cubicBezTo>
                  <a:pt x="581564" y="104444"/>
                  <a:pt x="581564" y="106931"/>
                  <a:pt x="581564" y="109418"/>
                </a:cubicBezTo>
                <a:cubicBezTo>
                  <a:pt x="581564" y="110661"/>
                  <a:pt x="580318" y="110661"/>
                  <a:pt x="580318" y="111905"/>
                </a:cubicBezTo>
                <a:cubicBezTo>
                  <a:pt x="580318" y="114392"/>
                  <a:pt x="580318" y="118122"/>
                  <a:pt x="580318" y="120608"/>
                </a:cubicBezTo>
                <a:cubicBezTo>
                  <a:pt x="580318" y="162884"/>
                  <a:pt x="645075" y="282249"/>
                  <a:pt x="679944" y="334471"/>
                </a:cubicBezTo>
                <a:cubicBezTo>
                  <a:pt x="692397" y="314577"/>
                  <a:pt x="717303" y="271058"/>
                  <a:pt x="739719" y="227540"/>
                </a:cubicBezTo>
                <a:cubicBezTo>
                  <a:pt x="760890" y="184021"/>
                  <a:pt x="778324" y="142989"/>
                  <a:pt x="778324" y="120608"/>
                </a:cubicBezTo>
                <a:cubicBezTo>
                  <a:pt x="778324" y="65899"/>
                  <a:pt x="733492" y="21138"/>
                  <a:pt x="679944" y="21138"/>
                </a:cubicBezTo>
                <a:close/>
                <a:moveTo>
                  <a:pt x="400992" y="19894"/>
                </a:moveTo>
                <a:cubicBezTo>
                  <a:pt x="348689" y="19894"/>
                  <a:pt x="302612" y="85794"/>
                  <a:pt x="272725" y="184021"/>
                </a:cubicBezTo>
                <a:cubicBezTo>
                  <a:pt x="313820" y="195212"/>
                  <a:pt x="357406" y="200185"/>
                  <a:pt x="400992" y="200185"/>
                </a:cubicBezTo>
                <a:cubicBezTo>
                  <a:pt x="444579" y="200185"/>
                  <a:pt x="486919" y="193968"/>
                  <a:pt x="528015" y="184021"/>
                </a:cubicBezTo>
                <a:cubicBezTo>
                  <a:pt x="499373" y="85794"/>
                  <a:pt x="452051" y="19894"/>
                  <a:pt x="400992" y="19894"/>
                </a:cubicBezTo>
                <a:close/>
                <a:moveTo>
                  <a:pt x="400992" y="0"/>
                </a:moveTo>
                <a:cubicBezTo>
                  <a:pt x="464504" y="0"/>
                  <a:pt x="528015" y="16164"/>
                  <a:pt x="585300" y="46005"/>
                </a:cubicBezTo>
                <a:cubicBezTo>
                  <a:pt x="607715" y="17407"/>
                  <a:pt x="641339" y="0"/>
                  <a:pt x="679944" y="0"/>
                </a:cubicBezTo>
                <a:cubicBezTo>
                  <a:pt x="745946" y="0"/>
                  <a:pt x="799494" y="54709"/>
                  <a:pt x="799494" y="120608"/>
                </a:cubicBezTo>
                <a:cubicBezTo>
                  <a:pt x="799494" y="145476"/>
                  <a:pt x="783305" y="187751"/>
                  <a:pt x="762135" y="228783"/>
                </a:cubicBezTo>
                <a:cubicBezTo>
                  <a:pt x="788286" y="282249"/>
                  <a:pt x="800740" y="340688"/>
                  <a:pt x="800740" y="400370"/>
                </a:cubicBezTo>
                <a:cubicBezTo>
                  <a:pt x="800740" y="405344"/>
                  <a:pt x="800740" y="411561"/>
                  <a:pt x="800740" y="416534"/>
                </a:cubicBezTo>
                <a:cubicBezTo>
                  <a:pt x="800740" y="417778"/>
                  <a:pt x="800740" y="419021"/>
                  <a:pt x="800740" y="420264"/>
                </a:cubicBezTo>
                <a:cubicBezTo>
                  <a:pt x="790777" y="632884"/>
                  <a:pt x="615187" y="800741"/>
                  <a:pt x="400992" y="800741"/>
                </a:cubicBezTo>
                <a:cubicBezTo>
                  <a:pt x="186798" y="800741"/>
                  <a:pt x="9963" y="632884"/>
                  <a:pt x="0" y="420264"/>
                </a:cubicBezTo>
                <a:cubicBezTo>
                  <a:pt x="0" y="419021"/>
                  <a:pt x="0" y="417778"/>
                  <a:pt x="0" y="416534"/>
                </a:cubicBezTo>
                <a:cubicBezTo>
                  <a:pt x="0" y="411561"/>
                  <a:pt x="0" y="405344"/>
                  <a:pt x="0" y="400370"/>
                </a:cubicBezTo>
                <a:cubicBezTo>
                  <a:pt x="0" y="179048"/>
                  <a:pt x="179326" y="0"/>
                  <a:pt x="400992" y="0"/>
                </a:cubicBezTo>
                <a:close/>
              </a:path>
            </a:pathLst>
          </a:custGeom>
          <a:solidFill>
            <a:schemeClr val="bg1"/>
          </a:solidFill>
          <a:ln>
            <a:noFill/>
          </a:ln>
          <a:effectLst/>
        </p:spPr>
        <p:txBody>
          <a:bodyPr wrap="square" anchor="ctr">
            <a:noAutofit/>
          </a:bodyPr>
          <a:lstStyle/>
          <a:p>
            <a:endParaRPr lang="en-US" dirty="0"/>
          </a:p>
        </p:txBody>
      </p:sp>
      <p:sp>
        <p:nvSpPr>
          <p:cNvPr id="31" name="Freeform 391">
            <a:extLst>
              <a:ext uri="{FF2B5EF4-FFF2-40B4-BE49-F238E27FC236}">
                <a16:creationId xmlns:a16="http://schemas.microsoft.com/office/drawing/2014/main" id="{AA3706BA-C231-7E52-CEFB-AACB490BE27A}"/>
              </a:ext>
            </a:extLst>
          </p:cNvPr>
          <p:cNvSpPr>
            <a:spLocks noChangeArrowheads="1"/>
          </p:cNvSpPr>
          <p:nvPr/>
        </p:nvSpPr>
        <p:spPr bwMode="auto">
          <a:xfrm>
            <a:off x="8751889" y="3834738"/>
            <a:ext cx="917339" cy="917339"/>
          </a:xfrm>
          <a:custGeom>
            <a:avLst/>
            <a:gdLst>
              <a:gd name="T0" fmla="*/ 1473 w 1474"/>
              <a:gd name="T1" fmla="*/ 736 h 1473"/>
              <a:gd name="T2" fmla="*/ 1473 w 1474"/>
              <a:gd name="T3" fmla="*/ 736 h 1473"/>
              <a:gd name="T4" fmla="*/ 737 w 1474"/>
              <a:gd name="T5" fmla="*/ 1472 h 1473"/>
              <a:gd name="T6" fmla="*/ 737 w 1474"/>
              <a:gd name="T7" fmla="*/ 1472 h 1473"/>
              <a:gd name="T8" fmla="*/ 0 w 1474"/>
              <a:gd name="T9" fmla="*/ 736 h 1473"/>
              <a:gd name="T10" fmla="*/ 0 w 1474"/>
              <a:gd name="T11" fmla="*/ 736 h 1473"/>
              <a:gd name="T12" fmla="*/ 737 w 1474"/>
              <a:gd name="T13" fmla="*/ 0 h 1473"/>
              <a:gd name="T14" fmla="*/ 737 w 1474"/>
              <a:gd name="T15" fmla="*/ 0 h 1473"/>
              <a:gd name="T16" fmla="*/ 1473 w 1474"/>
              <a:gd name="T17" fmla="*/ 736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73">
                <a:moveTo>
                  <a:pt x="1473" y="736"/>
                </a:moveTo>
                <a:lnTo>
                  <a:pt x="1473" y="736"/>
                </a:lnTo>
                <a:cubicBezTo>
                  <a:pt x="1473" y="1143"/>
                  <a:pt x="1143" y="1472"/>
                  <a:pt x="737" y="1472"/>
                </a:cubicBezTo>
                <a:lnTo>
                  <a:pt x="737" y="1472"/>
                </a:lnTo>
                <a:cubicBezTo>
                  <a:pt x="330" y="1472"/>
                  <a:pt x="0" y="1143"/>
                  <a:pt x="0" y="736"/>
                </a:cubicBezTo>
                <a:lnTo>
                  <a:pt x="0" y="736"/>
                </a:lnTo>
                <a:cubicBezTo>
                  <a:pt x="0" y="329"/>
                  <a:pt x="330" y="0"/>
                  <a:pt x="737" y="0"/>
                </a:cubicBezTo>
                <a:lnTo>
                  <a:pt x="737" y="0"/>
                </a:lnTo>
                <a:cubicBezTo>
                  <a:pt x="1143" y="0"/>
                  <a:pt x="1473" y="329"/>
                  <a:pt x="1473" y="736"/>
                </a:cubicBezTo>
              </a:path>
            </a:pathLst>
          </a:custGeom>
          <a:gradFill>
            <a:gsLst>
              <a:gs pos="0">
                <a:schemeClr val="tx2"/>
              </a:gs>
              <a:gs pos="99000">
                <a:schemeClr val="accent1"/>
              </a:gs>
            </a:gsLst>
            <a:lin ang="2700000" scaled="0"/>
          </a:gradFill>
          <a:ln>
            <a:noFill/>
          </a:ln>
          <a:effectLst/>
        </p:spPr>
        <p:txBody>
          <a:bodyPr wrap="none" anchor="ctr"/>
          <a:lstStyle/>
          <a:p>
            <a:endParaRPr lang="en-US" dirty="0"/>
          </a:p>
        </p:txBody>
      </p:sp>
      <p:sp>
        <p:nvSpPr>
          <p:cNvPr id="33" name="Freeform 393">
            <a:extLst>
              <a:ext uri="{FF2B5EF4-FFF2-40B4-BE49-F238E27FC236}">
                <a16:creationId xmlns:a16="http://schemas.microsoft.com/office/drawing/2014/main" id="{DCA99B57-D03E-52D7-30E2-6259E468C992}"/>
              </a:ext>
            </a:extLst>
          </p:cNvPr>
          <p:cNvSpPr>
            <a:spLocks noChangeArrowheads="1"/>
          </p:cNvSpPr>
          <p:nvPr/>
        </p:nvSpPr>
        <p:spPr bwMode="auto">
          <a:xfrm>
            <a:off x="8705196" y="3785300"/>
            <a:ext cx="1013468" cy="1013467"/>
          </a:xfrm>
          <a:custGeom>
            <a:avLst/>
            <a:gdLst>
              <a:gd name="T0" fmla="*/ 1625 w 1626"/>
              <a:gd name="T1" fmla="*/ 812 h 1625"/>
              <a:gd name="T2" fmla="*/ 1625 w 1626"/>
              <a:gd name="T3" fmla="*/ 812 h 1625"/>
              <a:gd name="T4" fmla="*/ 813 w 1626"/>
              <a:gd name="T5" fmla="*/ 1624 h 1625"/>
              <a:gd name="T6" fmla="*/ 813 w 1626"/>
              <a:gd name="T7" fmla="*/ 1624 h 1625"/>
              <a:gd name="T8" fmla="*/ 0 w 1626"/>
              <a:gd name="T9" fmla="*/ 812 h 1625"/>
              <a:gd name="T10" fmla="*/ 0 w 1626"/>
              <a:gd name="T11" fmla="*/ 812 h 1625"/>
              <a:gd name="T12" fmla="*/ 813 w 1626"/>
              <a:gd name="T13" fmla="*/ 0 h 1625"/>
              <a:gd name="T14" fmla="*/ 813 w 1626"/>
              <a:gd name="T15" fmla="*/ 0 h 1625"/>
              <a:gd name="T16" fmla="*/ 1625 w 1626"/>
              <a:gd name="T17" fmla="*/ 812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6" h="1625">
                <a:moveTo>
                  <a:pt x="1625" y="812"/>
                </a:moveTo>
                <a:lnTo>
                  <a:pt x="1625" y="812"/>
                </a:lnTo>
                <a:cubicBezTo>
                  <a:pt x="1625" y="1261"/>
                  <a:pt x="1261" y="1624"/>
                  <a:pt x="813" y="1624"/>
                </a:cubicBezTo>
                <a:lnTo>
                  <a:pt x="813" y="1624"/>
                </a:lnTo>
                <a:cubicBezTo>
                  <a:pt x="364" y="1624"/>
                  <a:pt x="0" y="1261"/>
                  <a:pt x="0" y="812"/>
                </a:cubicBezTo>
                <a:lnTo>
                  <a:pt x="0" y="812"/>
                </a:lnTo>
                <a:cubicBezTo>
                  <a:pt x="0" y="363"/>
                  <a:pt x="364" y="0"/>
                  <a:pt x="813" y="0"/>
                </a:cubicBezTo>
                <a:lnTo>
                  <a:pt x="813" y="0"/>
                </a:lnTo>
                <a:cubicBezTo>
                  <a:pt x="1261" y="0"/>
                  <a:pt x="1625" y="363"/>
                  <a:pt x="1625" y="812"/>
                </a:cubicBezTo>
              </a:path>
            </a:pathLst>
          </a:custGeom>
          <a:noFill/>
          <a:ln w="12700" cap="flat">
            <a:solidFill>
              <a:schemeClr val="tx1"/>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34" name="Freeform 43">
            <a:extLst>
              <a:ext uri="{FF2B5EF4-FFF2-40B4-BE49-F238E27FC236}">
                <a16:creationId xmlns:a16="http://schemas.microsoft.com/office/drawing/2014/main" id="{8EFF2ABF-8F39-B3F9-498A-700EC130CB16}"/>
              </a:ext>
            </a:extLst>
          </p:cNvPr>
          <p:cNvSpPr>
            <a:spLocks noChangeArrowheads="1"/>
          </p:cNvSpPr>
          <p:nvPr/>
        </p:nvSpPr>
        <p:spPr bwMode="auto">
          <a:xfrm>
            <a:off x="9014232" y="4095656"/>
            <a:ext cx="390952" cy="392129"/>
          </a:xfrm>
          <a:custGeom>
            <a:avLst/>
            <a:gdLst>
              <a:gd name="connsiteX0" fmla="*/ 391402 w 781903"/>
              <a:gd name="connsiteY0" fmla="*/ 408364 h 784258"/>
              <a:gd name="connsiteX1" fmla="*/ 289270 w 781903"/>
              <a:gd name="connsiteY1" fmla="*/ 510767 h 784258"/>
              <a:gd name="connsiteX2" fmla="*/ 276816 w 781903"/>
              <a:gd name="connsiteY2" fmla="*/ 513265 h 784258"/>
              <a:gd name="connsiteX3" fmla="*/ 269342 w 781903"/>
              <a:gd name="connsiteY3" fmla="*/ 503274 h 784258"/>
              <a:gd name="connsiteX4" fmla="*/ 269342 w 781903"/>
              <a:gd name="connsiteY4" fmla="*/ 432091 h 784258"/>
              <a:gd name="connsiteX5" fmla="*/ 93724 w 781903"/>
              <a:gd name="connsiteY5" fmla="*/ 609424 h 784258"/>
              <a:gd name="connsiteX6" fmla="*/ 131090 w 781903"/>
              <a:gd name="connsiteY6" fmla="*/ 653132 h 784258"/>
              <a:gd name="connsiteX7" fmla="*/ 391402 w 781903"/>
              <a:gd name="connsiteY7" fmla="*/ 761779 h 784258"/>
              <a:gd name="connsiteX8" fmla="*/ 642998 w 781903"/>
              <a:gd name="connsiteY8" fmla="*/ 660625 h 784258"/>
              <a:gd name="connsiteX9" fmla="*/ 589742 w 781903"/>
              <a:gd name="connsiteY9" fmla="*/ 379022 h 784258"/>
              <a:gd name="connsiteX10" fmla="*/ 605562 w 781903"/>
              <a:gd name="connsiteY10" fmla="*/ 394842 h 784258"/>
              <a:gd name="connsiteX11" fmla="*/ 589742 w 781903"/>
              <a:gd name="connsiteY11" fmla="*/ 410663 h 784258"/>
              <a:gd name="connsiteX12" fmla="*/ 573922 w 781903"/>
              <a:gd name="connsiteY12" fmla="*/ 394842 h 784258"/>
              <a:gd name="connsiteX13" fmla="*/ 589742 w 781903"/>
              <a:gd name="connsiteY13" fmla="*/ 379022 h 784258"/>
              <a:gd name="connsiteX14" fmla="*/ 661810 w 781903"/>
              <a:gd name="connsiteY14" fmla="*/ 329583 h 784258"/>
              <a:gd name="connsiteX15" fmla="*/ 677022 w 781903"/>
              <a:gd name="connsiteY15" fmla="*/ 345403 h 784258"/>
              <a:gd name="connsiteX16" fmla="*/ 661810 w 781903"/>
              <a:gd name="connsiteY16" fmla="*/ 361224 h 784258"/>
              <a:gd name="connsiteX17" fmla="*/ 645330 w 781903"/>
              <a:gd name="connsiteY17" fmla="*/ 345403 h 784258"/>
              <a:gd name="connsiteX18" fmla="*/ 661810 w 781903"/>
              <a:gd name="connsiteY18" fmla="*/ 329583 h 784258"/>
              <a:gd name="connsiteX19" fmla="*/ 578804 w 781903"/>
              <a:gd name="connsiteY19" fmla="*/ 323542 h 784258"/>
              <a:gd name="connsiteX20" fmla="*/ 594674 w 781903"/>
              <a:gd name="connsiteY20" fmla="*/ 323542 h 784258"/>
              <a:gd name="connsiteX21" fmla="*/ 666692 w 781903"/>
              <a:gd name="connsiteY21" fmla="*/ 396461 h 784258"/>
              <a:gd name="connsiteX22" fmla="*/ 666692 w 781903"/>
              <a:gd name="connsiteY22" fmla="*/ 412528 h 784258"/>
              <a:gd name="connsiteX23" fmla="*/ 659368 w 781903"/>
              <a:gd name="connsiteY23" fmla="*/ 416236 h 784258"/>
              <a:gd name="connsiteX24" fmla="*/ 652044 w 781903"/>
              <a:gd name="connsiteY24" fmla="*/ 412528 h 784258"/>
              <a:gd name="connsiteX25" fmla="*/ 578804 w 781903"/>
              <a:gd name="connsiteY25" fmla="*/ 339609 h 784258"/>
              <a:gd name="connsiteX26" fmla="*/ 578804 w 781903"/>
              <a:gd name="connsiteY26" fmla="*/ 323542 h 784258"/>
              <a:gd name="connsiteX27" fmla="*/ 659188 w 781903"/>
              <a:gd name="connsiteY27" fmla="*/ 139868 h 784258"/>
              <a:gd name="connsiteX28" fmla="*/ 407594 w 781903"/>
              <a:gd name="connsiteY28" fmla="*/ 392129 h 784258"/>
              <a:gd name="connsiteX29" fmla="*/ 659188 w 781903"/>
              <a:gd name="connsiteY29" fmla="*/ 645639 h 784258"/>
              <a:gd name="connsiteX30" fmla="*/ 659188 w 781903"/>
              <a:gd name="connsiteY30" fmla="*/ 139868 h 784258"/>
              <a:gd name="connsiteX31" fmla="*/ 123618 w 781903"/>
              <a:gd name="connsiteY31" fmla="*/ 139868 h 784258"/>
              <a:gd name="connsiteX32" fmla="*/ 80024 w 781903"/>
              <a:gd name="connsiteY32" fmla="*/ 589442 h 784258"/>
              <a:gd name="connsiteX33" fmla="*/ 273078 w 781903"/>
              <a:gd name="connsiteY33" fmla="*/ 395876 h 784258"/>
              <a:gd name="connsiteX34" fmla="*/ 285534 w 781903"/>
              <a:gd name="connsiteY34" fmla="*/ 393378 h 784258"/>
              <a:gd name="connsiteX35" fmla="*/ 291762 w 781903"/>
              <a:gd name="connsiteY35" fmla="*/ 404617 h 784258"/>
              <a:gd name="connsiteX36" fmla="*/ 291762 w 781903"/>
              <a:gd name="connsiteY36" fmla="*/ 474551 h 784258"/>
              <a:gd name="connsiteX37" fmla="*/ 375212 w 781903"/>
              <a:gd name="connsiteY37" fmla="*/ 392129 h 784258"/>
              <a:gd name="connsiteX38" fmla="*/ 402612 w 781903"/>
              <a:gd name="connsiteY38" fmla="*/ 23728 h 784258"/>
              <a:gd name="connsiteX39" fmla="*/ 402612 w 781903"/>
              <a:gd name="connsiteY39" fmla="*/ 364655 h 784258"/>
              <a:gd name="connsiteX40" fmla="*/ 642998 w 781903"/>
              <a:gd name="connsiteY40" fmla="*/ 123633 h 784258"/>
              <a:gd name="connsiteX41" fmla="*/ 402612 w 781903"/>
              <a:gd name="connsiteY41" fmla="*/ 23728 h 784258"/>
              <a:gd name="connsiteX42" fmla="*/ 380194 w 781903"/>
              <a:gd name="connsiteY42" fmla="*/ 23728 h 784258"/>
              <a:gd name="connsiteX43" fmla="*/ 138564 w 781903"/>
              <a:gd name="connsiteY43" fmla="*/ 123633 h 784258"/>
              <a:gd name="connsiteX44" fmla="*/ 380194 w 781903"/>
              <a:gd name="connsiteY44" fmla="*/ 364655 h 784258"/>
              <a:gd name="connsiteX45" fmla="*/ 391402 w 781903"/>
              <a:gd name="connsiteY45" fmla="*/ 0 h 784258"/>
              <a:gd name="connsiteX46" fmla="*/ 659188 w 781903"/>
              <a:gd name="connsiteY46" fmla="*/ 107398 h 784258"/>
              <a:gd name="connsiteX47" fmla="*/ 718974 w 781903"/>
              <a:gd name="connsiteY47" fmla="*/ 47455 h 784258"/>
              <a:gd name="connsiteX48" fmla="*/ 696554 w 781903"/>
              <a:gd name="connsiteY48" fmla="*/ 47455 h 784258"/>
              <a:gd name="connsiteX49" fmla="*/ 685344 w 781903"/>
              <a:gd name="connsiteY49" fmla="*/ 36216 h 784258"/>
              <a:gd name="connsiteX50" fmla="*/ 696554 w 781903"/>
              <a:gd name="connsiteY50" fmla="*/ 24976 h 784258"/>
              <a:gd name="connsiteX51" fmla="*/ 746376 w 781903"/>
              <a:gd name="connsiteY51" fmla="*/ 24976 h 784258"/>
              <a:gd name="connsiteX52" fmla="*/ 757584 w 781903"/>
              <a:gd name="connsiteY52" fmla="*/ 36216 h 784258"/>
              <a:gd name="connsiteX53" fmla="*/ 757584 w 781903"/>
              <a:gd name="connsiteY53" fmla="*/ 84920 h 784258"/>
              <a:gd name="connsiteX54" fmla="*/ 746376 w 781903"/>
              <a:gd name="connsiteY54" fmla="*/ 96159 h 784258"/>
              <a:gd name="connsiteX55" fmla="*/ 733920 w 781903"/>
              <a:gd name="connsiteY55" fmla="*/ 84920 h 784258"/>
              <a:gd name="connsiteX56" fmla="*/ 733920 w 781903"/>
              <a:gd name="connsiteY56" fmla="*/ 63690 h 784258"/>
              <a:gd name="connsiteX57" fmla="*/ 675380 w 781903"/>
              <a:gd name="connsiteY57" fmla="*/ 123633 h 784258"/>
              <a:gd name="connsiteX58" fmla="*/ 667908 w 781903"/>
              <a:gd name="connsiteY58" fmla="*/ 669367 h 784258"/>
              <a:gd name="connsiteX59" fmla="*/ 391402 w 781903"/>
              <a:gd name="connsiteY59" fmla="*/ 784258 h 784258"/>
              <a:gd name="connsiteX60" fmla="*/ 114898 w 781903"/>
              <a:gd name="connsiteY60" fmla="*/ 669367 h 784258"/>
              <a:gd name="connsiteX61" fmla="*/ 76288 w 781903"/>
              <a:gd name="connsiteY61" fmla="*/ 625658 h 784258"/>
              <a:gd name="connsiteX62" fmla="*/ 18994 w 781903"/>
              <a:gd name="connsiteY62" fmla="*/ 683104 h 784258"/>
              <a:gd name="connsiteX63" fmla="*/ 11520 w 781903"/>
              <a:gd name="connsiteY63" fmla="*/ 685601 h 784258"/>
              <a:gd name="connsiteX64" fmla="*/ 2802 w 781903"/>
              <a:gd name="connsiteY64" fmla="*/ 683104 h 784258"/>
              <a:gd name="connsiteX65" fmla="*/ 2802 w 781903"/>
              <a:gd name="connsiteY65" fmla="*/ 666869 h 784258"/>
              <a:gd name="connsiteX66" fmla="*/ 63832 w 781903"/>
              <a:gd name="connsiteY66" fmla="*/ 605677 h 784258"/>
              <a:gd name="connsiteX67" fmla="*/ 114898 w 781903"/>
              <a:gd name="connsiteY67" fmla="*/ 114891 h 784258"/>
              <a:gd name="connsiteX68" fmla="*/ 391402 w 781903"/>
              <a:gd name="connsiteY68" fmla="*/ 0 h 7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81903" h="784258">
                <a:moveTo>
                  <a:pt x="391402" y="408364"/>
                </a:moveTo>
                <a:lnTo>
                  <a:pt x="289270" y="510767"/>
                </a:lnTo>
                <a:cubicBezTo>
                  <a:pt x="285534" y="514513"/>
                  <a:pt x="280552" y="515762"/>
                  <a:pt x="276816" y="513265"/>
                </a:cubicBezTo>
                <a:cubicBezTo>
                  <a:pt x="271834" y="510767"/>
                  <a:pt x="269342" y="507020"/>
                  <a:pt x="269342" y="503274"/>
                </a:cubicBezTo>
                <a:lnTo>
                  <a:pt x="269342" y="432091"/>
                </a:lnTo>
                <a:lnTo>
                  <a:pt x="93724" y="609424"/>
                </a:lnTo>
                <a:cubicBezTo>
                  <a:pt x="104934" y="624409"/>
                  <a:pt x="117390" y="639395"/>
                  <a:pt x="131090" y="653132"/>
                </a:cubicBezTo>
                <a:cubicBezTo>
                  <a:pt x="200840" y="723066"/>
                  <a:pt x="293008" y="761779"/>
                  <a:pt x="391402" y="761779"/>
                </a:cubicBezTo>
                <a:cubicBezTo>
                  <a:pt x="486062" y="761779"/>
                  <a:pt x="574494" y="725564"/>
                  <a:pt x="642998" y="660625"/>
                </a:cubicBezTo>
                <a:close/>
                <a:moveTo>
                  <a:pt x="589742" y="379022"/>
                </a:moveTo>
                <a:cubicBezTo>
                  <a:pt x="598970" y="379022"/>
                  <a:pt x="605562" y="385614"/>
                  <a:pt x="605562" y="394842"/>
                </a:cubicBezTo>
                <a:cubicBezTo>
                  <a:pt x="605562" y="404071"/>
                  <a:pt x="598970" y="410663"/>
                  <a:pt x="589742" y="410663"/>
                </a:cubicBezTo>
                <a:cubicBezTo>
                  <a:pt x="580514" y="410663"/>
                  <a:pt x="573922" y="404071"/>
                  <a:pt x="573922" y="394842"/>
                </a:cubicBezTo>
                <a:cubicBezTo>
                  <a:pt x="573922" y="385614"/>
                  <a:pt x="580514" y="379022"/>
                  <a:pt x="589742" y="379022"/>
                </a:cubicBezTo>
                <a:close/>
                <a:moveTo>
                  <a:pt x="661810" y="329583"/>
                </a:moveTo>
                <a:cubicBezTo>
                  <a:pt x="669416" y="329583"/>
                  <a:pt x="677022" y="336175"/>
                  <a:pt x="677022" y="345403"/>
                </a:cubicBezTo>
                <a:cubicBezTo>
                  <a:pt x="677022" y="354632"/>
                  <a:pt x="669416" y="361224"/>
                  <a:pt x="661810" y="361224"/>
                </a:cubicBezTo>
                <a:cubicBezTo>
                  <a:pt x="652936" y="361224"/>
                  <a:pt x="645330" y="354632"/>
                  <a:pt x="645330" y="345403"/>
                </a:cubicBezTo>
                <a:cubicBezTo>
                  <a:pt x="645330" y="336175"/>
                  <a:pt x="652936" y="329583"/>
                  <a:pt x="661810" y="329583"/>
                </a:cubicBezTo>
                <a:close/>
                <a:moveTo>
                  <a:pt x="578804" y="323542"/>
                </a:moveTo>
                <a:cubicBezTo>
                  <a:pt x="582466" y="318598"/>
                  <a:pt x="589790" y="318598"/>
                  <a:pt x="594674" y="323542"/>
                </a:cubicBezTo>
                <a:lnTo>
                  <a:pt x="666692" y="396461"/>
                </a:lnTo>
                <a:cubicBezTo>
                  <a:pt x="671576" y="401405"/>
                  <a:pt x="671576" y="408821"/>
                  <a:pt x="666692" y="412528"/>
                </a:cubicBezTo>
                <a:cubicBezTo>
                  <a:pt x="665472" y="415000"/>
                  <a:pt x="661810" y="416236"/>
                  <a:pt x="659368" y="416236"/>
                </a:cubicBezTo>
                <a:cubicBezTo>
                  <a:pt x="656928" y="416236"/>
                  <a:pt x="653266" y="415000"/>
                  <a:pt x="652044" y="412528"/>
                </a:cubicBezTo>
                <a:lnTo>
                  <a:pt x="578804" y="339609"/>
                </a:lnTo>
                <a:cubicBezTo>
                  <a:pt x="573922" y="334665"/>
                  <a:pt x="573922" y="327249"/>
                  <a:pt x="578804" y="323542"/>
                </a:cubicBezTo>
                <a:close/>
                <a:moveTo>
                  <a:pt x="659188" y="139868"/>
                </a:moveTo>
                <a:lnTo>
                  <a:pt x="407594" y="392129"/>
                </a:lnTo>
                <a:lnTo>
                  <a:pt x="659188" y="645639"/>
                </a:lnTo>
                <a:cubicBezTo>
                  <a:pt x="791214" y="503274"/>
                  <a:pt x="791214" y="280984"/>
                  <a:pt x="659188" y="139868"/>
                </a:cubicBezTo>
                <a:close/>
                <a:moveTo>
                  <a:pt x="123618" y="139868"/>
                </a:moveTo>
                <a:cubicBezTo>
                  <a:pt x="6538" y="263501"/>
                  <a:pt x="-8408" y="450824"/>
                  <a:pt x="80024" y="589442"/>
                </a:cubicBezTo>
                <a:lnTo>
                  <a:pt x="273078" y="395876"/>
                </a:lnTo>
                <a:cubicBezTo>
                  <a:pt x="275570" y="393378"/>
                  <a:pt x="280552" y="392129"/>
                  <a:pt x="285534" y="393378"/>
                </a:cubicBezTo>
                <a:cubicBezTo>
                  <a:pt x="289270" y="395876"/>
                  <a:pt x="291762" y="399622"/>
                  <a:pt x="291762" y="404617"/>
                </a:cubicBezTo>
                <a:lnTo>
                  <a:pt x="291762" y="474551"/>
                </a:lnTo>
                <a:lnTo>
                  <a:pt x="375212" y="392129"/>
                </a:lnTo>
                <a:close/>
                <a:moveTo>
                  <a:pt x="402612" y="23728"/>
                </a:moveTo>
                <a:lnTo>
                  <a:pt x="402612" y="364655"/>
                </a:lnTo>
                <a:lnTo>
                  <a:pt x="642998" y="123633"/>
                </a:lnTo>
                <a:cubicBezTo>
                  <a:pt x="576984" y="61192"/>
                  <a:pt x="492290" y="26225"/>
                  <a:pt x="402612" y="23728"/>
                </a:cubicBezTo>
                <a:close/>
                <a:moveTo>
                  <a:pt x="380194" y="23728"/>
                </a:moveTo>
                <a:cubicBezTo>
                  <a:pt x="289270" y="26225"/>
                  <a:pt x="204576" y="61192"/>
                  <a:pt x="138564" y="123633"/>
                </a:cubicBezTo>
                <a:lnTo>
                  <a:pt x="380194" y="364655"/>
                </a:lnTo>
                <a:close/>
                <a:moveTo>
                  <a:pt x="391402" y="0"/>
                </a:moveTo>
                <a:cubicBezTo>
                  <a:pt x="491044" y="0"/>
                  <a:pt x="585704" y="38713"/>
                  <a:pt x="659188" y="107398"/>
                </a:cubicBezTo>
                <a:lnTo>
                  <a:pt x="718974" y="47455"/>
                </a:lnTo>
                <a:lnTo>
                  <a:pt x="696554" y="47455"/>
                </a:lnTo>
                <a:cubicBezTo>
                  <a:pt x="690326" y="47455"/>
                  <a:pt x="685344" y="42460"/>
                  <a:pt x="685344" y="36216"/>
                </a:cubicBezTo>
                <a:cubicBezTo>
                  <a:pt x="685344" y="29972"/>
                  <a:pt x="690326" y="24976"/>
                  <a:pt x="696554" y="24976"/>
                </a:cubicBezTo>
                <a:lnTo>
                  <a:pt x="746376" y="24976"/>
                </a:lnTo>
                <a:cubicBezTo>
                  <a:pt x="752602" y="24976"/>
                  <a:pt x="757584" y="29972"/>
                  <a:pt x="757584" y="36216"/>
                </a:cubicBezTo>
                <a:lnTo>
                  <a:pt x="757584" y="84920"/>
                </a:lnTo>
                <a:cubicBezTo>
                  <a:pt x="757584" y="92413"/>
                  <a:pt x="752602" y="96159"/>
                  <a:pt x="746376" y="96159"/>
                </a:cubicBezTo>
                <a:cubicBezTo>
                  <a:pt x="740148" y="96159"/>
                  <a:pt x="733920" y="92413"/>
                  <a:pt x="733920" y="84920"/>
                </a:cubicBezTo>
                <a:lnTo>
                  <a:pt x="733920" y="63690"/>
                </a:lnTo>
                <a:lnTo>
                  <a:pt x="675380" y="123633"/>
                </a:lnTo>
                <a:cubicBezTo>
                  <a:pt x="819860" y="277238"/>
                  <a:pt x="817370" y="519509"/>
                  <a:pt x="667908" y="669367"/>
                </a:cubicBezTo>
                <a:cubicBezTo>
                  <a:pt x="594422" y="743047"/>
                  <a:pt x="496026" y="784258"/>
                  <a:pt x="391402" y="784258"/>
                </a:cubicBezTo>
                <a:cubicBezTo>
                  <a:pt x="286780" y="784258"/>
                  <a:pt x="188384" y="743047"/>
                  <a:pt x="114898" y="669367"/>
                </a:cubicBezTo>
                <a:cubicBezTo>
                  <a:pt x="101198" y="655630"/>
                  <a:pt x="87498" y="640644"/>
                  <a:pt x="76288" y="625658"/>
                </a:cubicBezTo>
                <a:lnTo>
                  <a:pt x="18994" y="683104"/>
                </a:lnTo>
                <a:cubicBezTo>
                  <a:pt x="17748" y="684353"/>
                  <a:pt x="15258" y="685601"/>
                  <a:pt x="11520" y="685601"/>
                </a:cubicBezTo>
                <a:cubicBezTo>
                  <a:pt x="9030" y="685601"/>
                  <a:pt x="5294" y="684353"/>
                  <a:pt x="2802" y="683104"/>
                </a:cubicBezTo>
                <a:cubicBezTo>
                  <a:pt x="-934" y="678109"/>
                  <a:pt x="-934" y="670616"/>
                  <a:pt x="2802" y="666869"/>
                </a:cubicBezTo>
                <a:lnTo>
                  <a:pt x="63832" y="605677"/>
                </a:lnTo>
                <a:cubicBezTo>
                  <a:pt x="-35808" y="454570"/>
                  <a:pt x="-18372" y="248515"/>
                  <a:pt x="114898" y="114891"/>
                </a:cubicBezTo>
                <a:cubicBezTo>
                  <a:pt x="188384" y="41211"/>
                  <a:pt x="286780" y="0"/>
                  <a:pt x="391402" y="0"/>
                </a:cubicBezTo>
                <a:close/>
              </a:path>
            </a:pathLst>
          </a:custGeom>
          <a:solidFill>
            <a:schemeClr val="bg1"/>
          </a:solidFill>
          <a:ln>
            <a:noFill/>
          </a:ln>
          <a:effectLst/>
        </p:spPr>
        <p:txBody>
          <a:bodyPr wrap="square" anchor="ctr">
            <a:noAutofit/>
          </a:bodyPr>
          <a:lstStyle/>
          <a:p>
            <a:endParaRPr lang="en-US" dirty="0"/>
          </a:p>
        </p:txBody>
      </p:sp>
      <p:sp>
        <p:nvSpPr>
          <p:cNvPr id="35" name="TextBox 5">
            <a:extLst>
              <a:ext uri="{FF2B5EF4-FFF2-40B4-BE49-F238E27FC236}">
                <a16:creationId xmlns:a16="http://schemas.microsoft.com/office/drawing/2014/main" id="{62512F22-7F6D-BA18-8C4A-466B788EAFF0}"/>
              </a:ext>
            </a:extLst>
          </p:cNvPr>
          <p:cNvSpPr txBox="1"/>
          <p:nvPr/>
        </p:nvSpPr>
        <p:spPr>
          <a:xfrm>
            <a:off x="3236722"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1</a:t>
            </a:r>
          </a:p>
        </p:txBody>
      </p:sp>
      <p:sp>
        <p:nvSpPr>
          <p:cNvPr id="36" name="TextBox 6">
            <a:extLst>
              <a:ext uri="{FF2B5EF4-FFF2-40B4-BE49-F238E27FC236}">
                <a16:creationId xmlns:a16="http://schemas.microsoft.com/office/drawing/2014/main" id="{AD6B7B77-32B9-C844-A1FF-B2F8809C67DF}"/>
              </a:ext>
            </a:extLst>
          </p:cNvPr>
          <p:cNvSpPr txBox="1"/>
          <p:nvPr/>
        </p:nvSpPr>
        <p:spPr>
          <a:xfrm>
            <a:off x="3236721"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7" name="TextBox 7">
            <a:extLst>
              <a:ext uri="{FF2B5EF4-FFF2-40B4-BE49-F238E27FC236}">
                <a16:creationId xmlns:a16="http://schemas.microsoft.com/office/drawing/2014/main" id="{86C9958A-F139-F702-B617-2750E7065DCE}"/>
              </a:ext>
            </a:extLst>
          </p:cNvPr>
          <p:cNvSpPr txBox="1"/>
          <p:nvPr/>
        </p:nvSpPr>
        <p:spPr>
          <a:xfrm>
            <a:off x="6604259" y="2050581"/>
            <a:ext cx="2384974" cy="307777"/>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TITLE 02</a:t>
            </a:r>
          </a:p>
        </p:txBody>
      </p:sp>
      <p:sp>
        <p:nvSpPr>
          <p:cNvPr id="38" name="TextBox 8">
            <a:extLst>
              <a:ext uri="{FF2B5EF4-FFF2-40B4-BE49-F238E27FC236}">
                <a16:creationId xmlns:a16="http://schemas.microsoft.com/office/drawing/2014/main" id="{94CDC0F2-6CCA-E8A5-FADC-64ADE42B4005}"/>
              </a:ext>
            </a:extLst>
          </p:cNvPr>
          <p:cNvSpPr txBox="1"/>
          <p:nvPr/>
        </p:nvSpPr>
        <p:spPr>
          <a:xfrm>
            <a:off x="7322442" y="2450049"/>
            <a:ext cx="166679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r"/>
            <a:r>
              <a:rPr lang="en-US" dirty="0"/>
              <a:t>Lorem ipsum dolor sit </a:t>
            </a:r>
            <a:r>
              <a:rPr lang="en-US" dirty="0" err="1"/>
              <a:t>amet</a:t>
            </a:r>
            <a:r>
              <a:rPr lang="en-US" dirty="0"/>
              <a:t>, </a:t>
            </a:r>
            <a:r>
              <a:rPr lang="en-US" dirty="0" err="1"/>
              <a:t>consectetur</a:t>
            </a:r>
            <a:endParaRPr lang="en-US" dirty="0"/>
          </a:p>
          <a:p>
            <a:pPr algn="r"/>
            <a:endParaRPr lang="en-US" dirty="0"/>
          </a:p>
        </p:txBody>
      </p:sp>
      <p:sp>
        <p:nvSpPr>
          <p:cNvPr id="39" name="TextBox 9">
            <a:extLst>
              <a:ext uri="{FF2B5EF4-FFF2-40B4-BE49-F238E27FC236}">
                <a16:creationId xmlns:a16="http://schemas.microsoft.com/office/drawing/2014/main" id="{5039CCC4-D4A4-A2F6-9D43-1F98710B9F8A}"/>
              </a:ext>
            </a:extLst>
          </p:cNvPr>
          <p:cNvSpPr txBox="1"/>
          <p:nvPr/>
        </p:nvSpPr>
        <p:spPr>
          <a:xfrm>
            <a:off x="2492724" y="4863112"/>
            <a:ext cx="2384974" cy="307777"/>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40" name="TextBox 10">
            <a:extLst>
              <a:ext uri="{FF2B5EF4-FFF2-40B4-BE49-F238E27FC236}">
                <a16:creationId xmlns:a16="http://schemas.microsoft.com/office/drawing/2014/main" id="{3D02C893-5EEE-0666-19C5-3C301395AB13}"/>
              </a:ext>
            </a:extLst>
          </p:cNvPr>
          <p:cNvSpPr txBox="1"/>
          <p:nvPr/>
        </p:nvSpPr>
        <p:spPr>
          <a:xfrm>
            <a:off x="2492724" y="5253055"/>
            <a:ext cx="1265423"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41" name="TextBox 11">
            <a:extLst>
              <a:ext uri="{FF2B5EF4-FFF2-40B4-BE49-F238E27FC236}">
                <a16:creationId xmlns:a16="http://schemas.microsoft.com/office/drawing/2014/main" id="{A67C5519-DAC0-A8C9-476F-4D81C77A260F}"/>
              </a:ext>
            </a:extLst>
          </p:cNvPr>
          <p:cNvSpPr txBox="1"/>
          <p:nvPr/>
        </p:nvSpPr>
        <p:spPr>
          <a:xfrm>
            <a:off x="5605878"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42" name="TextBox 12">
            <a:extLst>
              <a:ext uri="{FF2B5EF4-FFF2-40B4-BE49-F238E27FC236}">
                <a16:creationId xmlns:a16="http://schemas.microsoft.com/office/drawing/2014/main" id="{AC9DB813-2B00-1CF4-4FF6-4586A535465A}"/>
              </a:ext>
            </a:extLst>
          </p:cNvPr>
          <p:cNvSpPr txBox="1"/>
          <p:nvPr/>
        </p:nvSpPr>
        <p:spPr>
          <a:xfrm>
            <a:off x="5605878"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3" name="TextBox 13">
            <a:extLst>
              <a:ext uri="{FF2B5EF4-FFF2-40B4-BE49-F238E27FC236}">
                <a16:creationId xmlns:a16="http://schemas.microsoft.com/office/drawing/2014/main" id="{07CD359C-D2CA-7597-BEA2-9771902A5ABC}"/>
              </a:ext>
            </a:extLst>
          </p:cNvPr>
          <p:cNvSpPr txBox="1"/>
          <p:nvPr/>
        </p:nvSpPr>
        <p:spPr>
          <a:xfrm>
            <a:off x="8719031" y="4863112"/>
            <a:ext cx="2384974" cy="307777"/>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4" name="TextBox 14">
            <a:extLst>
              <a:ext uri="{FF2B5EF4-FFF2-40B4-BE49-F238E27FC236}">
                <a16:creationId xmlns:a16="http://schemas.microsoft.com/office/drawing/2014/main" id="{4579FC67-2E33-C08D-D236-FC88DC2C93A2}"/>
              </a:ext>
            </a:extLst>
          </p:cNvPr>
          <p:cNvSpPr txBox="1"/>
          <p:nvPr/>
        </p:nvSpPr>
        <p:spPr>
          <a:xfrm>
            <a:off x="8719031" y="5253055"/>
            <a:ext cx="1265423"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 name="Footer Placeholder 3">
            <a:extLst>
              <a:ext uri="{FF2B5EF4-FFF2-40B4-BE49-F238E27FC236}">
                <a16:creationId xmlns:a16="http://schemas.microsoft.com/office/drawing/2014/main" id="{1415CA9D-E5DD-C1B5-4C2A-264E840E8A23}"/>
              </a:ext>
            </a:extLst>
          </p:cNvPr>
          <p:cNvSpPr>
            <a:spLocks noGrp="1"/>
          </p:cNvSpPr>
          <p:nvPr>
            <p:ph type="ftr" sz="quarter" idx="3"/>
          </p:nvPr>
        </p:nvSpPr>
        <p:spPr/>
        <p:txBody>
          <a:bodyPr/>
          <a:lstStyle/>
          <a:p>
            <a:r>
              <a:rPr lang="en-US"/>
              <a:t>Source:_______</a:t>
            </a:r>
            <a:endParaRPr lang="en-US" dirty="0"/>
          </a:p>
        </p:txBody>
      </p:sp>
      <p:sp>
        <p:nvSpPr>
          <p:cNvPr id="7" name="Título 6">
            <a:extLst>
              <a:ext uri="{FF2B5EF4-FFF2-40B4-BE49-F238E27FC236}">
                <a16:creationId xmlns:a16="http://schemas.microsoft.com/office/drawing/2014/main" id="{896911A4-0FDB-E3EB-20FB-F50DB1C6BB86}"/>
              </a:ext>
            </a:extLst>
          </p:cNvPr>
          <p:cNvSpPr>
            <a:spLocks noGrp="1"/>
          </p:cNvSpPr>
          <p:nvPr>
            <p:ph type="title"/>
          </p:nvPr>
        </p:nvSpPr>
        <p:spPr/>
        <p:txBody>
          <a:bodyPr vert="horz"/>
          <a:lstStyle/>
          <a:p>
            <a:r>
              <a:rPr lang="en-US" dirty="0"/>
              <a:t>Template - Hierarchy Infographic</a:t>
            </a:r>
          </a:p>
        </p:txBody>
      </p:sp>
      <p:sp>
        <p:nvSpPr>
          <p:cNvPr id="9" name="Marcador de texto 8">
            <a:extLst>
              <a:ext uri="{FF2B5EF4-FFF2-40B4-BE49-F238E27FC236}">
                <a16:creationId xmlns:a16="http://schemas.microsoft.com/office/drawing/2014/main" id="{7AD61017-9447-8B97-D3E4-93AB52C5552E}"/>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5953150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BCDBDEFA-7E32-97CB-A95E-CF1D2D42766E}"/>
              </a:ext>
            </a:extLst>
          </p:cNvPr>
          <p:cNvGraphicFramePr>
            <a:graphicFrameLocks noChangeAspect="1"/>
          </p:cNvGraphicFramePr>
          <p:nvPr>
            <p:custDataLst>
              <p:tags r:id="rId1"/>
            </p:custDataLst>
            <p:extLst>
              <p:ext uri="{D42A27DB-BD31-4B8C-83A1-F6EECF244321}">
                <p14:modId xmlns:p14="http://schemas.microsoft.com/office/powerpoint/2010/main" val="219974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BCDBDEFA-7E32-97CB-A95E-CF1D2D42766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Freeform 322">
            <a:extLst>
              <a:ext uri="{FF2B5EF4-FFF2-40B4-BE49-F238E27FC236}">
                <a16:creationId xmlns:a16="http://schemas.microsoft.com/office/drawing/2014/main" id="{C0265D3E-5B2E-2057-6645-F2B57AB6DC52}"/>
              </a:ext>
            </a:extLst>
          </p:cNvPr>
          <p:cNvSpPr>
            <a:spLocks noChangeArrowheads="1"/>
          </p:cNvSpPr>
          <p:nvPr/>
        </p:nvSpPr>
        <p:spPr bwMode="auto">
          <a:xfrm>
            <a:off x="4309638" y="1546774"/>
            <a:ext cx="1472137" cy="1472136"/>
          </a:xfrm>
          <a:custGeom>
            <a:avLst/>
            <a:gdLst>
              <a:gd name="T0" fmla="*/ 2362 w 2363"/>
              <a:gd name="T1" fmla="*/ 1181 h 2363"/>
              <a:gd name="T2" fmla="*/ 2362 w 2363"/>
              <a:gd name="T3" fmla="*/ 1181 h 2363"/>
              <a:gd name="T4" fmla="*/ 1181 w 2363"/>
              <a:gd name="T5" fmla="*/ 2362 h 2363"/>
              <a:gd name="T6" fmla="*/ 1181 w 2363"/>
              <a:gd name="T7" fmla="*/ 2362 h 2363"/>
              <a:gd name="T8" fmla="*/ 0 w 2363"/>
              <a:gd name="T9" fmla="*/ 1181 h 2363"/>
              <a:gd name="T10" fmla="*/ 0 w 2363"/>
              <a:gd name="T11" fmla="*/ 1181 h 2363"/>
              <a:gd name="T12" fmla="*/ 1181 w 2363"/>
              <a:gd name="T13" fmla="*/ 0 h 2363"/>
              <a:gd name="T14" fmla="*/ 1181 w 2363"/>
              <a:gd name="T15" fmla="*/ 0 h 2363"/>
              <a:gd name="T16" fmla="*/ 2362 w 2363"/>
              <a:gd name="T17" fmla="*/ 1181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3">
                <a:moveTo>
                  <a:pt x="2362" y="1181"/>
                </a:moveTo>
                <a:lnTo>
                  <a:pt x="2362" y="1181"/>
                </a:lnTo>
                <a:cubicBezTo>
                  <a:pt x="2362" y="1834"/>
                  <a:pt x="1833" y="2362"/>
                  <a:pt x="1181" y="2362"/>
                </a:cubicBezTo>
                <a:lnTo>
                  <a:pt x="1181" y="2362"/>
                </a:lnTo>
                <a:cubicBezTo>
                  <a:pt x="529" y="2362"/>
                  <a:pt x="0" y="1834"/>
                  <a:pt x="0" y="1181"/>
                </a:cubicBezTo>
                <a:lnTo>
                  <a:pt x="0" y="1181"/>
                </a:lnTo>
                <a:cubicBezTo>
                  <a:pt x="0" y="529"/>
                  <a:pt x="529" y="0"/>
                  <a:pt x="1181" y="0"/>
                </a:cubicBezTo>
                <a:lnTo>
                  <a:pt x="1181" y="0"/>
                </a:lnTo>
                <a:cubicBezTo>
                  <a:pt x="1833" y="0"/>
                  <a:pt x="2362" y="529"/>
                  <a:pt x="2362" y="1181"/>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3" name="Freeform 130">
            <a:extLst>
              <a:ext uri="{FF2B5EF4-FFF2-40B4-BE49-F238E27FC236}">
                <a16:creationId xmlns:a16="http://schemas.microsoft.com/office/drawing/2014/main" id="{A410C1E2-6896-154A-8858-FB9F4D3542EC}"/>
              </a:ext>
            </a:extLst>
          </p:cNvPr>
          <p:cNvSpPr>
            <a:spLocks noChangeArrowheads="1"/>
          </p:cNvSpPr>
          <p:nvPr/>
        </p:nvSpPr>
        <p:spPr bwMode="auto">
          <a:xfrm>
            <a:off x="1030289"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6" name="Freeform 192">
            <a:extLst>
              <a:ext uri="{FF2B5EF4-FFF2-40B4-BE49-F238E27FC236}">
                <a16:creationId xmlns:a16="http://schemas.microsoft.com/office/drawing/2014/main" id="{3D0F3B46-6672-2990-D09B-3465FAC0E196}"/>
              </a:ext>
            </a:extLst>
          </p:cNvPr>
          <p:cNvSpPr>
            <a:spLocks noChangeArrowheads="1"/>
          </p:cNvSpPr>
          <p:nvPr/>
        </p:nvSpPr>
        <p:spPr bwMode="auto">
          <a:xfrm>
            <a:off x="7490113"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19" name="Freeform 254">
            <a:extLst>
              <a:ext uri="{FF2B5EF4-FFF2-40B4-BE49-F238E27FC236}">
                <a16:creationId xmlns:a16="http://schemas.microsoft.com/office/drawing/2014/main" id="{36ABE412-9E2E-7F89-36DE-001A00A66299}"/>
              </a:ext>
            </a:extLst>
          </p:cNvPr>
          <p:cNvSpPr>
            <a:spLocks noChangeArrowheads="1"/>
          </p:cNvSpPr>
          <p:nvPr/>
        </p:nvSpPr>
        <p:spPr bwMode="auto">
          <a:xfrm>
            <a:off x="5336838" y="3516030"/>
            <a:ext cx="1472137" cy="1472136"/>
          </a:xfrm>
          <a:custGeom>
            <a:avLst/>
            <a:gdLst>
              <a:gd name="T0" fmla="*/ 2361 w 2362"/>
              <a:gd name="T1" fmla="*/ 1182 h 2364"/>
              <a:gd name="T2" fmla="*/ 2361 w 2362"/>
              <a:gd name="T3" fmla="*/ 1182 h 2364"/>
              <a:gd name="T4" fmla="*/ 1181 w 2362"/>
              <a:gd name="T5" fmla="*/ 2363 h 2364"/>
              <a:gd name="T6" fmla="*/ 1181 w 2362"/>
              <a:gd name="T7" fmla="*/ 2363 h 2364"/>
              <a:gd name="T8" fmla="*/ 0 w 2362"/>
              <a:gd name="T9" fmla="*/ 1182 h 2364"/>
              <a:gd name="T10" fmla="*/ 0 w 2362"/>
              <a:gd name="T11" fmla="*/ 1182 h 2364"/>
              <a:gd name="T12" fmla="*/ 1181 w 2362"/>
              <a:gd name="T13" fmla="*/ 0 h 2364"/>
              <a:gd name="T14" fmla="*/ 1181 w 2362"/>
              <a:gd name="T15" fmla="*/ 0 h 2364"/>
              <a:gd name="T16" fmla="*/ 2361 w 2362"/>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2" h="2364">
                <a:moveTo>
                  <a:pt x="2361" y="1182"/>
                </a:moveTo>
                <a:lnTo>
                  <a:pt x="2361" y="1182"/>
                </a:lnTo>
                <a:cubicBezTo>
                  <a:pt x="2361" y="1834"/>
                  <a:pt x="1833" y="2363"/>
                  <a:pt x="1181" y="2363"/>
                </a:cubicBezTo>
                <a:lnTo>
                  <a:pt x="1181" y="2363"/>
                </a:lnTo>
                <a:cubicBezTo>
                  <a:pt x="528" y="2363"/>
                  <a:pt x="0" y="1834"/>
                  <a:pt x="0" y="1182"/>
                </a:cubicBezTo>
                <a:lnTo>
                  <a:pt x="0" y="1182"/>
                </a:lnTo>
                <a:cubicBezTo>
                  <a:pt x="0" y="529"/>
                  <a:pt x="528" y="0"/>
                  <a:pt x="1181" y="0"/>
                </a:cubicBezTo>
                <a:lnTo>
                  <a:pt x="1181" y="0"/>
                </a:lnTo>
                <a:cubicBezTo>
                  <a:pt x="1833" y="0"/>
                  <a:pt x="2361" y="529"/>
                  <a:pt x="2361"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2" name="Freeform 315">
            <a:extLst>
              <a:ext uri="{FF2B5EF4-FFF2-40B4-BE49-F238E27FC236}">
                <a16:creationId xmlns:a16="http://schemas.microsoft.com/office/drawing/2014/main" id="{843326A4-26A3-85DB-4313-F893EAF33E2B}"/>
              </a:ext>
            </a:extLst>
          </p:cNvPr>
          <p:cNvSpPr>
            <a:spLocks noChangeArrowheads="1"/>
          </p:cNvSpPr>
          <p:nvPr/>
        </p:nvSpPr>
        <p:spPr bwMode="auto">
          <a:xfrm>
            <a:off x="9643387" y="3516030"/>
            <a:ext cx="1472137" cy="1472136"/>
          </a:xfrm>
          <a:custGeom>
            <a:avLst/>
            <a:gdLst>
              <a:gd name="T0" fmla="*/ 2362 w 2363"/>
              <a:gd name="T1" fmla="*/ 1182 h 2364"/>
              <a:gd name="T2" fmla="*/ 2362 w 2363"/>
              <a:gd name="T3" fmla="*/ 1182 h 2364"/>
              <a:gd name="T4" fmla="*/ 1181 w 2363"/>
              <a:gd name="T5" fmla="*/ 2363 h 2364"/>
              <a:gd name="T6" fmla="*/ 1181 w 2363"/>
              <a:gd name="T7" fmla="*/ 2363 h 2364"/>
              <a:gd name="T8" fmla="*/ 0 w 2363"/>
              <a:gd name="T9" fmla="*/ 1182 h 2364"/>
              <a:gd name="T10" fmla="*/ 0 w 2363"/>
              <a:gd name="T11" fmla="*/ 1182 h 2364"/>
              <a:gd name="T12" fmla="*/ 1181 w 2363"/>
              <a:gd name="T13" fmla="*/ 0 h 2364"/>
              <a:gd name="T14" fmla="*/ 1181 w 2363"/>
              <a:gd name="T15" fmla="*/ 0 h 2364"/>
              <a:gd name="T16" fmla="*/ 2362 w 2363"/>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3" h="2364">
                <a:moveTo>
                  <a:pt x="2362" y="1182"/>
                </a:moveTo>
                <a:lnTo>
                  <a:pt x="2362" y="1182"/>
                </a:lnTo>
                <a:cubicBezTo>
                  <a:pt x="2362"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2" y="529"/>
                  <a:pt x="2362"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28" name="Freeform 438">
            <a:extLst>
              <a:ext uri="{FF2B5EF4-FFF2-40B4-BE49-F238E27FC236}">
                <a16:creationId xmlns:a16="http://schemas.microsoft.com/office/drawing/2014/main" id="{031DEEBB-1D3C-E49A-9B29-13C9BA9025A6}"/>
              </a:ext>
            </a:extLst>
          </p:cNvPr>
          <p:cNvSpPr>
            <a:spLocks noChangeArrowheads="1"/>
          </p:cNvSpPr>
          <p:nvPr/>
        </p:nvSpPr>
        <p:spPr bwMode="auto">
          <a:xfrm>
            <a:off x="3183564" y="3516030"/>
            <a:ext cx="1472137" cy="1472136"/>
          </a:xfrm>
          <a:custGeom>
            <a:avLst/>
            <a:gdLst>
              <a:gd name="T0" fmla="*/ 2363 w 2364"/>
              <a:gd name="T1" fmla="*/ 1182 h 2364"/>
              <a:gd name="T2" fmla="*/ 2363 w 2364"/>
              <a:gd name="T3" fmla="*/ 1182 h 2364"/>
              <a:gd name="T4" fmla="*/ 1181 w 2364"/>
              <a:gd name="T5" fmla="*/ 2363 h 2364"/>
              <a:gd name="T6" fmla="*/ 1181 w 2364"/>
              <a:gd name="T7" fmla="*/ 2363 h 2364"/>
              <a:gd name="T8" fmla="*/ 0 w 2364"/>
              <a:gd name="T9" fmla="*/ 1182 h 2364"/>
              <a:gd name="T10" fmla="*/ 0 w 2364"/>
              <a:gd name="T11" fmla="*/ 1182 h 2364"/>
              <a:gd name="T12" fmla="*/ 1181 w 2364"/>
              <a:gd name="T13" fmla="*/ 0 h 2364"/>
              <a:gd name="T14" fmla="*/ 1181 w 2364"/>
              <a:gd name="T15" fmla="*/ 0 h 2364"/>
              <a:gd name="T16" fmla="*/ 2363 w 2364"/>
              <a:gd name="T17" fmla="*/ 1182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4" h="2364">
                <a:moveTo>
                  <a:pt x="2363" y="1182"/>
                </a:moveTo>
                <a:lnTo>
                  <a:pt x="2363" y="1182"/>
                </a:lnTo>
                <a:cubicBezTo>
                  <a:pt x="2363" y="1834"/>
                  <a:pt x="1833" y="2363"/>
                  <a:pt x="1181" y="2363"/>
                </a:cubicBezTo>
                <a:lnTo>
                  <a:pt x="1181" y="2363"/>
                </a:lnTo>
                <a:cubicBezTo>
                  <a:pt x="529" y="2363"/>
                  <a:pt x="0" y="1834"/>
                  <a:pt x="0" y="1182"/>
                </a:cubicBezTo>
                <a:lnTo>
                  <a:pt x="0" y="1182"/>
                </a:lnTo>
                <a:cubicBezTo>
                  <a:pt x="0" y="529"/>
                  <a:pt x="529" y="0"/>
                  <a:pt x="1181" y="0"/>
                </a:cubicBezTo>
                <a:lnTo>
                  <a:pt x="1181" y="0"/>
                </a:lnTo>
                <a:cubicBezTo>
                  <a:pt x="1833" y="0"/>
                  <a:pt x="2363" y="529"/>
                  <a:pt x="2363" y="1182"/>
                </a:cubicBezTo>
              </a:path>
            </a:pathLst>
          </a:custGeom>
          <a:solidFill>
            <a:schemeClr val="bg1">
              <a:lumMod val="95000"/>
            </a:schemeClr>
          </a:solidFill>
          <a:effectLst/>
        </p:spPr>
        <p:txBody>
          <a:bodyPr lIns="108000" tIns="72000" rIns="72000" bIns="72000" anchor="ctr"/>
          <a:lstStyle/>
          <a:p>
            <a:pPr defTabSz="1087636"/>
            <a:endParaRPr lang="en-US" sz="1200" dirty="0"/>
          </a:p>
        </p:txBody>
      </p:sp>
      <p:sp>
        <p:nvSpPr>
          <p:cNvPr id="7" name="Marcador de texto 6">
            <a:extLst>
              <a:ext uri="{FF2B5EF4-FFF2-40B4-BE49-F238E27FC236}">
                <a16:creationId xmlns:a16="http://schemas.microsoft.com/office/drawing/2014/main" id="{63C12FC8-7E17-AA9C-C8DF-4076DF5B1943}"/>
              </a:ext>
            </a:extLst>
          </p:cNvPr>
          <p:cNvSpPr>
            <a:spLocks noGrp="1"/>
          </p:cNvSpPr>
          <p:nvPr>
            <p:ph type="body" sz="quarter" idx="14"/>
          </p:nvPr>
        </p:nvSpPr>
        <p:spPr/>
        <p:txBody>
          <a:bodyPr/>
          <a:lstStyle/>
          <a:p>
            <a:r>
              <a:rPr lang="en-US" dirty="0"/>
              <a:t>Subtitle</a:t>
            </a:r>
          </a:p>
        </p:txBody>
      </p:sp>
      <p:sp>
        <p:nvSpPr>
          <p:cNvPr id="9" name="Freeform 70">
            <a:extLst>
              <a:ext uri="{FF2B5EF4-FFF2-40B4-BE49-F238E27FC236}">
                <a16:creationId xmlns:a16="http://schemas.microsoft.com/office/drawing/2014/main" id="{E8F2E836-14C2-5D6B-C094-7311FE65B9FE}"/>
              </a:ext>
            </a:extLst>
          </p:cNvPr>
          <p:cNvSpPr>
            <a:spLocks noChangeArrowheads="1"/>
          </p:cNvSpPr>
          <p:nvPr/>
        </p:nvSpPr>
        <p:spPr bwMode="auto">
          <a:xfrm>
            <a:off x="1758119" y="3194689"/>
            <a:ext cx="8613097" cy="181271"/>
          </a:xfrm>
          <a:custGeom>
            <a:avLst/>
            <a:gdLst>
              <a:gd name="T0" fmla="*/ 0 w 13828"/>
              <a:gd name="T1" fmla="*/ 292 h 293"/>
              <a:gd name="T2" fmla="*/ 0 w 13828"/>
              <a:gd name="T3" fmla="*/ 292 h 293"/>
              <a:gd name="T4" fmla="*/ 293 w 13828"/>
              <a:gd name="T5" fmla="*/ 0 h 293"/>
              <a:gd name="T6" fmla="*/ 13548 w 13828"/>
              <a:gd name="T7" fmla="*/ 0 h 293"/>
              <a:gd name="T8" fmla="*/ 13548 w 13828"/>
              <a:gd name="T9" fmla="*/ 0 h 293"/>
              <a:gd name="T10" fmla="*/ 13827 w 13828"/>
              <a:gd name="T11" fmla="*/ 278 h 293"/>
            </a:gdLst>
            <a:ahLst/>
            <a:cxnLst>
              <a:cxn ang="0">
                <a:pos x="T0" y="T1"/>
              </a:cxn>
              <a:cxn ang="0">
                <a:pos x="T2" y="T3"/>
              </a:cxn>
              <a:cxn ang="0">
                <a:pos x="T4" y="T5"/>
              </a:cxn>
              <a:cxn ang="0">
                <a:pos x="T6" y="T7"/>
              </a:cxn>
              <a:cxn ang="0">
                <a:pos x="T8" y="T9"/>
              </a:cxn>
              <a:cxn ang="0">
                <a:pos x="T10" y="T11"/>
              </a:cxn>
            </a:cxnLst>
            <a:rect l="0" t="0" r="r" b="b"/>
            <a:pathLst>
              <a:path w="13828" h="293">
                <a:moveTo>
                  <a:pt x="0" y="292"/>
                </a:moveTo>
                <a:lnTo>
                  <a:pt x="0" y="292"/>
                </a:lnTo>
                <a:cubicBezTo>
                  <a:pt x="0" y="130"/>
                  <a:pt x="131" y="0"/>
                  <a:pt x="293" y="0"/>
                </a:cubicBezTo>
                <a:lnTo>
                  <a:pt x="13548" y="0"/>
                </a:lnTo>
                <a:lnTo>
                  <a:pt x="13548" y="0"/>
                </a:lnTo>
                <a:cubicBezTo>
                  <a:pt x="13702" y="0"/>
                  <a:pt x="13827" y="123"/>
                  <a:pt x="13827" y="278"/>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0" name="Line 71">
            <a:extLst>
              <a:ext uri="{FF2B5EF4-FFF2-40B4-BE49-F238E27FC236}">
                <a16:creationId xmlns:a16="http://schemas.microsoft.com/office/drawing/2014/main" id="{42199440-9589-09A5-8307-0052BF5A1994}"/>
              </a:ext>
            </a:extLst>
          </p:cNvPr>
          <p:cNvSpPr>
            <a:spLocks noChangeShapeType="1"/>
          </p:cNvSpPr>
          <p:nvPr/>
        </p:nvSpPr>
        <p:spPr bwMode="auto">
          <a:xfrm>
            <a:off x="6072907"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1" name="Line 72">
            <a:extLst>
              <a:ext uri="{FF2B5EF4-FFF2-40B4-BE49-F238E27FC236}">
                <a16:creationId xmlns:a16="http://schemas.microsoft.com/office/drawing/2014/main" id="{16078488-C343-6362-022C-D330D2D29755}"/>
              </a:ext>
            </a:extLst>
          </p:cNvPr>
          <p:cNvSpPr>
            <a:spLocks noChangeShapeType="1"/>
          </p:cNvSpPr>
          <p:nvPr/>
        </p:nvSpPr>
        <p:spPr bwMode="auto">
          <a:xfrm>
            <a:off x="3919632"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2" name="Line 73">
            <a:extLst>
              <a:ext uri="{FF2B5EF4-FFF2-40B4-BE49-F238E27FC236}">
                <a16:creationId xmlns:a16="http://schemas.microsoft.com/office/drawing/2014/main" id="{B913BB4A-C3A2-BEEF-F4BC-4512ACD3303E}"/>
              </a:ext>
            </a:extLst>
          </p:cNvPr>
          <p:cNvSpPr>
            <a:spLocks noChangeShapeType="1"/>
          </p:cNvSpPr>
          <p:nvPr/>
        </p:nvSpPr>
        <p:spPr bwMode="auto">
          <a:xfrm>
            <a:off x="8226181" y="3197433"/>
            <a:ext cx="0" cy="178526"/>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15" name="Freeform 23">
            <a:extLst>
              <a:ext uri="{FF2B5EF4-FFF2-40B4-BE49-F238E27FC236}">
                <a16:creationId xmlns:a16="http://schemas.microsoft.com/office/drawing/2014/main" id="{875C9923-59DD-23FE-A805-D9CB894F618D}"/>
              </a:ext>
            </a:extLst>
          </p:cNvPr>
          <p:cNvSpPr>
            <a:spLocks noChangeArrowheads="1"/>
          </p:cNvSpPr>
          <p:nvPr/>
        </p:nvSpPr>
        <p:spPr bwMode="auto">
          <a:xfrm>
            <a:off x="1489361" y="3974701"/>
            <a:ext cx="556862" cy="556920"/>
          </a:xfrm>
          <a:custGeom>
            <a:avLst/>
            <a:gdLst>
              <a:gd name="connsiteX0" fmla="*/ 556368 w 1113724"/>
              <a:gd name="connsiteY0" fmla="*/ 579346 h 1113840"/>
              <a:gd name="connsiteX1" fmla="*/ 410333 w 1113724"/>
              <a:gd name="connsiteY1" fmla="*/ 725117 h 1113840"/>
              <a:gd name="connsiteX2" fmla="*/ 394107 w 1113724"/>
              <a:gd name="connsiteY2" fmla="*/ 728855 h 1113840"/>
              <a:gd name="connsiteX3" fmla="*/ 382874 w 1113724"/>
              <a:gd name="connsiteY3" fmla="*/ 713904 h 1113840"/>
              <a:gd name="connsiteX4" fmla="*/ 382874 w 1113724"/>
              <a:gd name="connsiteY4" fmla="*/ 612986 h 1113840"/>
              <a:gd name="connsiteX5" fmla="*/ 131993 w 1113724"/>
              <a:gd name="connsiteY5" fmla="*/ 864659 h 1113840"/>
              <a:gd name="connsiteX6" fmla="*/ 185664 w 1113724"/>
              <a:gd name="connsiteY6" fmla="*/ 926954 h 1113840"/>
              <a:gd name="connsiteX7" fmla="*/ 556368 w 1113724"/>
              <a:gd name="connsiteY7" fmla="*/ 1080201 h 1113840"/>
              <a:gd name="connsiteX8" fmla="*/ 915840 w 1113724"/>
              <a:gd name="connsiteY8" fmla="*/ 938167 h 1113840"/>
              <a:gd name="connsiteX9" fmla="*/ 834142 w 1113724"/>
              <a:gd name="connsiteY9" fmla="*/ 532823 h 1113840"/>
              <a:gd name="connsiteX10" fmla="*/ 854893 w 1113724"/>
              <a:gd name="connsiteY10" fmla="*/ 554795 h 1113840"/>
              <a:gd name="connsiteX11" fmla="*/ 834142 w 1113724"/>
              <a:gd name="connsiteY11" fmla="*/ 575546 h 1113840"/>
              <a:gd name="connsiteX12" fmla="*/ 812170 w 1113724"/>
              <a:gd name="connsiteY12" fmla="*/ 554795 h 1113840"/>
              <a:gd name="connsiteX13" fmla="*/ 834142 w 1113724"/>
              <a:gd name="connsiteY13" fmla="*/ 532823 h 1113840"/>
              <a:gd name="connsiteX14" fmla="*/ 937286 w 1113724"/>
              <a:gd name="connsiteY14" fmla="*/ 461415 h 1113840"/>
              <a:gd name="connsiteX15" fmla="*/ 959258 w 1113724"/>
              <a:gd name="connsiteY15" fmla="*/ 483387 h 1113840"/>
              <a:gd name="connsiteX16" fmla="*/ 937286 w 1113724"/>
              <a:gd name="connsiteY16" fmla="*/ 504138 h 1113840"/>
              <a:gd name="connsiteX17" fmla="*/ 916535 w 1113724"/>
              <a:gd name="connsiteY17" fmla="*/ 483387 h 1113840"/>
              <a:gd name="connsiteX18" fmla="*/ 937286 w 1113724"/>
              <a:gd name="connsiteY18" fmla="*/ 461415 h 1113840"/>
              <a:gd name="connsiteX19" fmla="*/ 830638 w 1113724"/>
              <a:gd name="connsiteY19" fmla="*/ 451996 h 1113840"/>
              <a:gd name="connsiteX20" fmla="*/ 841719 w 1113724"/>
              <a:gd name="connsiteY20" fmla="*/ 456694 h 1113840"/>
              <a:gd name="connsiteX21" fmla="*/ 946371 w 1113724"/>
              <a:gd name="connsiteY21" fmla="*/ 564435 h 1113840"/>
              <a:gd name="connsiteX22" fmla="*/ 946371 w 1113724"/>
              <a:gd name="connsiteY22" fmla="*/ 586985 h 1113840"/>
              <a:gd name="connsiteX23" fmla="*/ 935290 w 1113724"/>
              <a:gd name="connsiteY23" fmla="*/ 591996 h 1113840"/>
              <a:gd name="connsiteX24" fmla="*/ 924209 w 1113724"/>
              <a:gd name="connsiteY24" fmla="*/ 586985 h 1113840"/>
              <a:gd name="connsiteX25" fmla="*/ 819557 w 1113724"/>
              <a:gd name="connsiteY25" fmla="*/ 480497 h 1113840"/>
              <a:gd name="connsiteX26" fmla="*/ 819557 w 1113724"/>
              <a:gd name="connsiteY26" fmla="*/ 456694 h 1113840"/>
              <a:gd name="connsiteX27" fmla="*/ 830638 w 1113724"/>
              <a:gd name="connsiteY27" fmla="*/ 451996 h 1113840"/>
              <a:gd name="connsiteX28" fmla="*/ 939555 w 1113724"/>
              <a:gd name="connsiteY28" fmla="*/ 198099 h 1113840"/>
              <a:gd name="connsiteX29" fmla="*/ 580084 w 1113724"/>
              <a:gd name="connsiteY29" fmla="*/ 556920 h 1113840"/>
              <a:gd name="connsiteX30" fmla="*/ 939555 w 1113724"/>
              <a:gd name="connsiteY30" fmla="*/ 915741 h 1113840"/>
              <a:gd name="connsiteX31" fmla="*/ 939555 w 1113724"/>
              <a:gd name="connsiteY31" fmla="*/ 198099 h 1113840"/>
              <a:gd name="connsiteX32" fmla="*/ 174430 w 1113724"/>
              <a:gd name="connsiteY32" fmla="*/ 198099 h 1113840"/>
              <a:gd name="connsiteX33" fmla="*/ 113270 w 1113724"/>
              <a:gd name="connsiteY33" fmla="*/ 837249 h 1113840"/>
              <a:gd name="connsiteX34" fmla="*/ 387866 w 1113724"/>
              <a:gd name="connsiteY34" fmla="*/ 563150 h 1113840"/>
              <a:gd name="connsiteX35" fmla="*/ 406589 w 1113724"/>
              <a:gd name="connsiteY35" fmla="*/ 558166 h 1113840"/>
              <a:gd name="connsiteX36" fmla="*/ 416574 w 1113724"/>
              <a:gd name="connsiteY36" fmla="*/ 573117 h 1113840"/>
              <a:gd name="connsiteX37" fmla="*/ 416574 w 1113724"/>
              <a:gd name="connsiteY37" fmla="*/ 674035 h 1113840"/>
              <a:gd name="connsiteX38" fmla="*/ 533901 w 1113724"/>
              <a:gd name="connsiteY38" fmla="*/ 556920 h 1113840"/>
              <a:gd name="connsiteX39" fmla="*/ 573843 w 1113724"/>
              <a:gd name="connsiteY39" fmla="*/ 33639 h 1113840"/>
              <a:gd name="connsiteX40" fmla="*/ 573843 w 1113724"/>
              <a:gd name="connsiteY40" fmla="*/ 517051 h 1113840"/>
              <a:gd name="connsiteX41" fmla="*/ 915840 w 1113724"/>
              <a:gd name="connsiteY41" fmla="*/ 175673 h 1113840"/>
              <a:gd name="connsiteX42" fmla="*/ 573843 w 1113724"/>
              <a:gd name="connsiteY42" fmla="*/ 33639 h 1113840"/>
              <a:gd name="connsiteX43" fmla="*/ 540142 w 1113724"/>
              <a:gd name="connsiteY43" fmla="*/ 33639 h 1113840"/>
              <a:gd name="connsiteX44" fmla="*/ 198145 w 1113724"/>
              <a:gd name="connsiteY44" fmla="*/ 175673 h 1113840"/>
              <a:gd name="connsiteX45" fmla="*/ 540142 w 1113724"/>
              <a:gd name="connsiteY45" fmla="*/ 517051 h 1113840"/>
              <a:gd name="connsiteX46" fmla="*/ 556368 w 1113724"/>
              <a:gd name="connsiteY46" fmla="*/ 0 h 1113840"/>
              <a:gd name="connsiteX47" fmla="*/ 939555 w 1113724"/>
              <a:gd name="connsiteY47" fmla="*/ 152001 h 1113840"/>
              <a:gd name="connsiteX48" fmla="*/ 1023182 w 1113724"/>
              <a:gd name="connsiteY48" fmla="*/ 68525 h 1113840"/>
              <a:gd name="connsiteX49" fmla="*/ 993226 w 1113724"/>
              <a:gd name="connsiteY49" fmla="*/ 68525 h 1113840"/>
              <a:gd name="connsiteX50" fmla="*/ 977000 w 1113724"/>
              <a:gd name="connsiteY50" fmla="*/ 51082 h 1113840"/>
              <a:gd name="connsiteX51" fmla="*/ 993226 w 1113724"/>
              <a:gd name="connsiteY51" fmla="*/ 34885 h 1113840"/>
              <a:gd name="connsiteX52" fmla="*/ 1063123 w 1113724"/>
              <a:gd name="connsiteY52" fmla="*/ 34885 h 1113840"/>
              <a:gd name="connsiteX53" fmla="*/ 1079349 w 1113724"/>
              <a:gd name="connsiteY53" fmla="*/ 51082 h 1113840"/>
              <a:gd name="connsiteX54" fmla="*/ 1079349 w 1113724"/>
              <a:gd name="connsiteY54" fmla="*/ 120853 h 1113840"/>
              <a:gd name="connsiteX55" fmla="*/ 1063123 w 1113724"/>
              <a:gd name="connsiteY55" fmla="*/ 137050 h 1113840"/>
              <a:gd name="connsiteX56" fmla="*/ 1046897 w 1113724"/>
              <a:gd name="connsiteY56" fmla="*/ 120853 h 1113840"/>
              <a:gd name="connsiteX57" fmla="*/ 1046897 w 1113724"/>
              <a:gd name="connsiteY57" fmla="*/ 90951 h 1113840"/>
              <a:gd name="connsiteX58" fmla="*/ 962022 w 1113724"/>
              <a:gd name="connsiteY58" fmla="*/ 175673 h 1113840"/>
              <a:gd name="connsiteX59" fmla="*/ 950788 w 1113724"/>
              <a:gd name="connsiteY59" fmla="*/ 950626 h 1113840"/>
              <a:gd name="connsiteX60" fmla="*/ 556368 w 1113724"/>
              <a:gd name="connsiteY60" fmla="*/ 1113840 h 1113840"/>
              <a:gd name="connsiteX61" fmla="*/ 163197 w 1113724"/>
              <a:gd name="connsiteY61" fmla="*/ 950626 h 1113840"/>
              <a:gd name="connsiteX62" fmla="*/ 108278 w 1113724"/>
              <a:gd name="connsiteY62" fmla="*/ 887085 h 1113840"/>
              <a:gd name="connsiteX63" fmla="*/ 27147 w 1113724"/>
              <a:gd name="connsiteY63" fmla="*/ 968069 h 1113840"/>
              <a:gd name="connsiteX64" fmla="*/ 15914 w 1113724"/>
              <a:gd name="connsiteY64" fmla="*/ 974299 h 1113840"/>
              <a:gd name="connsiteX65" fmla="*/ 4680 w 1113724"/>
              <a:gd name="connsiteY65" fmla="*/ 968069 h 1113840"/>
              <a:gd name="connsiteX66" fmla="*/ 4680 w 1113724"/>
              <a:gd name="connsiteY66" fmla="*/ 945643 h 1113840"/>
              <a:gd name="connsiteX67" fmla="*/ 89555 w 1113724"/>
              <a:gd name="connsiteY67" fmla="*/ 859675 h 1113840"/>
              <a:gd name="connsiteX68" fmla="*/ 163197 w 1113724"/>
              <a:gd name="connsiteY68" fmla="*/ 163214 h 1113840"/>
              <a:gd name="connsiteX69" fmla="*/ 556368 w 1113724"/>
              <a:gd name="connsiteY69" fmla="*/ 0 h 11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13724" h="1113840">
                <a:moveTo>
                  <a:pt x="556368" y="579346"/>
                </a:moveTo>
                <a:lnTo>
                  <a:pt x="410333" y="725117"/>
                </a:lnTo>
                <a:cubicBezTo>
                  <a:pt x="406589" y="728855"/>
                  <a:pt x="399100" y="730101"/>
                  <a:pt x="394107" y="728855"/>
                </a:cubicBezTo>
                <a:cubicBezTo>
                  <a:pt x="387866" y="726363"/>
                  <a:pt x="382874" y="720134"/>
                  <a:pt x="382874" y="713904"/>
                </a:cubicBezTo>
                <a:lnTo>
                  <a:pt x="382874" y="612986"/>
                </a:lnTo>
                <a:lnTo>
                  <a:pt x="131993" y="864659"/>
                </a:lnTo>
                <a:cubicBezTo>
                  <a:pt x="148219" y="885839"/>
                  <a:pt x="165693" y="907020"/>
                  <a:pt x="185664" y="926954"/>
                </a:cubicBezTo>
                <a:cubicBezTo>
                  <a:pt x="285517" y="1025381"/>
                  <a:pt x="416574" y="1080201"/>
                  <a:pt x="556368" y="1080201"/>
                </a:cubicBezTo>
                <a:cubicBezTo>
                  <a:pt x="692418" y="1080201"/>
                  <a:pt x="818483" y="1029119"/>
                  <a:pt x="915840" y="938167"/>
                </a:cubicBezTo>
                <a:close/>
                <a:moveTo>
                  <a:pt x="834142" y="532823"/>
                </a:moveTo>
                <a:cubicBezTo>
                  <a:pt x="846349" y="532823"/>
                  <a:pt x="854893" y="542588"/>
                  <a:pt x="854893" y="554795"/>
                </a:cubicBezTo>
                <a:cubicBezTo>
                  <a:pt x="854893" y="565781"/>
                  <a:pt x="846349" y="575546"/>
                  <a:pt x="834142" y="575546"/>
                </a:cubicBezTo>
                <a:cubicBezTo>
                  <a:pt x="821935" y="575546"/>
                  <a:pt x="812170" y="565781"/>
                  <a:pt x="812170" y="554795"/>
                </a:cubicBezTo>
                <a:cubicBezTo>
                  <a:pt x="812170" y="542588"/>
                  <a:pt x="821935" y="532823"/>
                  <a:pt x="834142" y="532823"/>
                </a:cubicBezTo>
                <a:close/>
                <a:moveTo>
                  <a:pt x="937286" y="461415"/>
                </a:moveTo>
                <a:cubicBezTo>
                  <a:pt x="949493" y="461415"/>
                  <a:pt x="959258" y="471180"/>
                  <a:pt x="959258" y="483387"/>
                </a:cubicBezTo>
                <a:cubicBezTo>
                  <a:pt x="959258" y="495594"/>
                  <a:pt x="949493" y="504138"/>
                  <a:pt x="937286" y="504138"/>
                </a:cubicBezTo>
                <a:cubicBezTo>
                  <a:pt x="925080" y="504138"/>
                  <a:pt x="916535" y="495594"/>
                  <a:pt x="916535" y="483387"/>
                </a:cubicBezTo>
                <a:cubicBezTo>
                  <a:pt x="916535" y="471180"/>
                  <a:pt x="925080" y="461415"/>
                  <a:pt x="937286" y="461415"/>
                </a:cubicBezTo>
                <a:close/>
                <a:moveTo>
                  <a:pt x="830638" y="451996"/>
                </a:moveTo>
                <a:cubicBezTo>
                  <a:pt x="834640" y="451996"/>
                  <a:pt x="838641" y="453562"/>
                  <a:pt x="841719" y="456694"/>
                </a:cubicBezTo>
                <a:lnTo>
                  <a:pt x="946371" y="564435"/>
                </a:lnTo>
                <a:cubicBezTo>
                  <a:pt x="953758" y="569446"/>
                  <a:pt x="953758" y="580721"/>
                  <a:pt x="946371" y="586985"/>
                </a:cubicBezTo>
                <a:cubicBezTo>
                  <a:pt x="943908" y="590743"/>
                  <a:pt x="940215" y="591996"/>
                  <a:pt x="935290" y="591996"/>
                </a:cubicBezTo>
                <a:cubicBezTo>
                  <a:pt x="931596" y="591996"/>
                  <a:pt x="926672" y="590743"/>
                  <a:pt x="924209" y="586985"/>
                </a:cubicBezTo>
                <a:lnTo>
                  <a:pt x="819557" y="480497"/>
                </a:lnTo>
                <a:cubicBezTo>
                  <a:pt x="812170" y="474233"/>
                  <a:pt x="812170" y="462958"/>
                  <a:pt x="819557" y="456694"/>
                </a:cubicBezTo>
                <a:cubicBezTo>
                  <a:pt x="822635" y="453562"/>
                  <a:pt x="826637" y="451996"/>
                  <a:pt x="830638" y="451996"/>
                </a:cubicBezTo>
                <a:close/>
                <a:moveTo>
                  <a:pt x="939555" y="198099"/>
                </a:moveTo>
                <a:lnTo>
                  <a:pt x="580084" y="556920"/>
                </a:lnTo>
                <a:lnTo>
                  <a:pt x="939555" y="915741"/>
                </a:lnTo>
                <a:cubicBezTo>
                  <a:pt x="1128028" y="713904"/>
                  <a:pt x="1128028" y="399936"/>
                  <a:pt x="939555" y="198099"/>
                </a:cubicBezTo>
                <a:close/>
                <a:moveTo>
                  <a:pt x="174430" y="198099"/>
                </a:moveTo>
                <a:cubicBezTo>
                  <a:pt x="8425" y="373772"/>
                  <a:pt x="-11546" y="637904"/>
                  <a:pt x="113270" y="837249"/>
                </a:cubicBezTo>
                <a:lnTo>
                  <a:pt x="387866" y="563150"/>
                </a:lnTo>
                <a:cubicBezTo>
                  <a:pt x="392859" y="558166"/>
                  <a:pt x="400348" y="556920"/>
                  <a:pt x="406589" y="558166"/>
                </a:cubicBezTo>
                <a:cubicBezTo>
                  <a:pt x="412830" y="561904"/>
                  <a:pt x="416574" y="568133"/>
                  <a:pt x="416574" y="573117"/>
                </a:cubicBezTo>
                <a:lnTo>
                  <a:pt x="416574" y="674035"/>
                </a:lnTo>
                <a:lnTo>
                  <a:pt x="533901" y="556920"/>
                </a:lnTo>
                <a:close/>
                <a:moveTo>
                  <a:pt x="573843" y="33639"/>
                </a:moveTo>
                <a:lnTo>
                  <a:pt x="573843" y="517051"/>
                </a:lnTo>
                <a:lnTo>
                  <a:pt x="915840" y="175673"/>
                </a:lnTo>
                <a:cubicBezTo>
                  <a:pt x="822228" y="87213"/>
                  <a:pt x="702404" y="37377"/>
                  <a:pt x="573843" y="33639"/>
                </a:cubicBezTo>
                <a:close/>
                <a:moveTo>
                  <a:pt x="540142" y="33639"/>
                </a:moveTo>
                <a:cubicBezTo>
                  <a:pt x="411581" y="37377"/>
                  <a:pt x="291758" y="87213"/>
                  <a:pt x="198145" y="175673"/>
                </a:cubicBezTo>
                <a:lnTo>
                  <a:pt x="540142" y="517051"/>
                </a:lnTo>
                <a:close/>
                <a:moveTo>
                  <a:pt x="556368" y="0"/>
                </a:moveTo>
                <a:cubicBezTo>
                  <a:pt x="699907" y="0"/>
                  <a:pt x="835957" y="54820"/>
                  <a:pt x="939555" y="152001"/>
                </a:cubicBezTo>
                <a:lnTo>
                  <a:pt x="1023182" y="68525"/>
                </a:lnTo>
                <a:lnTo>
                  <a:pt x="993226" y="68525"/>
                </a:lnTo>
                <a:cubicBezTo>
                  <a:pt x="984489" y="68525"/>
                  <a:pt x="977000" y="59803"/>
                  <a:pt x="977000" y="51082"/>
                </a:cubicBezTo>
                <a:cubicBezTo>
                  <a:pt x="977000" y="42361"/>
                  <a:pt x="984489" y="34885"/>
                  <a:pt x="993226" y="34885"/>
                </a:cubicBezTo>
                <a:lnTo>
                  <a:pt x="1063123" y="34885"/>
                </a:lnTo>
                <a:cubicBezTo>
                  <a:pt x="1071860" y="34885"/>
                  <a:pt x="1079349" y="42361"/>
                  <a:pt x="1079349" y="51082"/>
                </a:cubicBezTo>
                <a:lnTo>
                  <a:pt x="1079349" y="120853"/>
                </a:lnTo>
                <a:cubicBezTo>
                  <a:pt x="1079349" y="130820"/>
                  <a:pt x="1071860" y="137050"/>
                  <a:pt x="1063123" y="137050"/>
                </a:cubicBezTo>
                <a:cubicBezTo>
                  <a:pt x="1053138" y="137050"/>
                  <a:pt x="1046897" y="130820"/>
                  <a:pt x="1046897" y="120853"/>
                </a:cubicBezTo>
                <a:lnTo>
                  <a:pt x="1046897" y="90951"/>
                </a:lnTo>
                <a:lnTo>
                  <a:pt x="962022" y="175673"/>
                </a:lnTo>
                <a:cubicBezTo>
                  <a:pt x="1167969" y="392460"/>
                  <a:pt x="1164225" y="736331"/>
                  <a:pt x="950788" y="950626"/>
                </a:cubicBezTo>
                <a:cubicBezTo>
                  <a:pt x="845943" y="1055283"/>
                  <a:pt x="706148" y="1113840"/>
                  <a:pt x="556368" y="1113840"/>
                </a:cubicBezTo>
                <a:cubicBezTo>
                  <a:pt x="407837" y="1113840"/>
                  <a:pt x="268043" y="1055283"/>
                  <a:pt x="163197" y="950626"/>
                </a:cubicBezTo>
                <a:cubicBezTo>
                  <a:pt x="143226" y="930692"/>
                  <a:pt x="124504" y="909511"/>
                  <a:pt x="108278" y="887085"/>
                </a:cubicBezTo>
                <a:lnTo>
                  <a:pt x="27147" y="968069"/>
                </a:lnTo>
                <a:cubicBezTo>
                  <a:pt x="23403" y="971807"/>
                  <a:pt x="20906" y="974299"/>
                  <a:pt x="15914" y="974299"/>
                </a:cubicBezTo>
                <a:cubicBezTo>
                  <a:pt x="12169" y="974299"/>
                  <a:pt x="7176" y="971807"/>
                  <a:pt x="4680" y="968069"/>
                </a:cubicBezTo>
                <a:cubicBezTo>
                  <a:pt x="-1561" y="963085"/>
                  <a:pt x="-1561" y="951872"/>
                  <a:pt x="4680" y="945643"/>
                </a:cubicBezTo>
                <a:lnTo>
                  <a:pt x="89555" y="859675"/>
                </a:lnTo>
                <a:cubicBezTo>
                  <a:pt x="-50239" y="644133"/>
                  <a:pt x="-26524" y="351346"/>
                  <a:pt x="163197" y="163214"/>
                </a:cubicBezTo>
                <a:cubicBezTo>
                  <a:pt x="268043" y="57311"/>
                  <a:pt x="407837" y="0"/>
                  <a:pt x="556368" y="0"/>
                </a:cubicBezTo>
                <a:close/>
              </a:path>
            </a:pathLst>
          </a:custGeom>
          <a:solidFill>
            <a:schemeClr val="tx2"/>
          </a:solidFill>
          <a:ln>
            <a:noFill/>
          </a:ln>
          <a:effectLst/>
        </p:spPr>
        <p:txBody>
          <a:bodyPr wrap="square" anchor="ctr">
            <a:noAutofit/>
          </a:bodyPr>
          <a:lstStyle/>
          <a:p>
            <a:endParaRPr lang="en-US" dirty="0"/>
          </a:p>
        </p:txBody>
      </p:sp>
      <p:sp>
        <p:nvSpPr>
          <p:cNvPr id="18" name="Freeform 26">
            <a:extLst>
              <a:ext uri="{FF2B5EF4-FFF2-40B4-BE49-F238E27FC236}">
                <a16:creationId xmlns:a16="http://schemas.microsoft.com/office/drawing/2014/main" id="{D2A80F0A-5B51-CE39-2E1E-798C03B25305}"/>
              </a:ext>
            </a:extLst>
          </p:cNvPr>
          <p:cNvSpPr>
            <a:spLocks noChangeArrowheads="1"/>
          </p:cNvSpPr>
          <p:nvPr/>
        </p:nvSpPr>
        <p:spPr bwMode="auto">
          <a:xfrm>
            <a:off x="7932305" y="3958221"/>
            <a:ext cx="587135" cy="587134"/>
          </a:xfrm>
          <a:custGeom>
            <a:avLst/>
            <a:gdLst>
              <a:gd name="connsiteX0" fmla="*/ 253762 w 1174270"/>
              <a:gd name="connsiteY0" fmla="*/ 942897 h 1174268"/>
              <a:gd name="connsiteX1" fmla="*/ 207736 w 1174270"/>
              <a:gd name="connsiteY1" fmla="*/ 990167 h 1174268"/>
              <a:gd name="connsiteX2" fmla="*/ 587135 w 1174270"/>
              <a:gd name="connsiteY2" fmla="*/ 1140682 h 1174268"/>
              <a:gd name="connsiteX3" fmla="*/ 966532 w 1174270"/>
              <a:gd name="connsiteY3" fmla="*/ 990167 h 1174268"/>
              <a:gd name="connsiteX4" fmla="*/ 920508 w 1174270"/>
              <a:gd name="connsiteY4" fmla="*/ 942897 h 1174268"/>
              <a:gd name="connsiteX5" fmla="*/ 587135 w 1174270"/>
              <a:gd name="connsiteY5" fmla="*/ 1074754 h 1174268"/>
              <a:gd name="connsiteX6" fmla="*/ 253762 w 1174270"/>
              <a:gd name="connsiteY6" fmla="*/ 942897 h 1174268"/>
              <a:gd name="connsiteX7" fmla="*/ 686626 w 1174270"/>
              <a:gd name="connsiteY7" fmla="*/ 653048 h 1174268"/>
              <a:gd name="connsiteX8" fmla="*/ 653046 w 1174270"/>
              <a:gd name="connsiteY8" fmla="*/ 685385 h 1174268"/>
              <a:gd name="connsiteX9" fmla="*/ 686626 w 1174270"/>
              <a:gd name="connsiteY9" fmla="*/ 718965 h 1174268"/>
              <a:gd name="connsiteX10" fmla="*/ 718963 w 1174270"/>
              <a:gd name="connsiteY10" fmla="*/ 685385 h 1174268"/>
              <a:gd name="connsiteX11" fmla="*/ 686626 w 1174270"/>
              <a:gd name="connsiteY11" fmla="*/ 653048 h 1174268"/>
              <a:gd name="connsiteX12" fmla="*/ 686626 w 1174270"/>
              <a:gd name="connsiteY12" fmla="*/ 620712 h 1174268"/>
              <a:gd name="connsiteX13" fmla="*/ 751299 w 1174270"/>
              <a:gd name="connsiteY13" fmla="*/ 685385 h 1174268"/>
              <a:gd name="connsiteX14" fmla="*/ 686626 w 1174270"/>
              <a:gd name="connsiteY14" fmla="*/ 751301 h 1174268"/>
              <a:gd name="connsiteX15" fmla="*/ 620710 w 1174270"/>
              <a:gd name="connsiteY15" fmla="*/ 685385 h 1174268"/>
              <a:gd name="connsiteX16" fmla="*/ 686626 w 1174270"/>
              <a:gd name="connsiteY16" fmla="*/ 620712 h 1174268"/>
              <a:gd name="connsiteX17" fmla="*/ 487635 w 1174270"/>
              <a:gd name="connsiteY17" fmla="*/ 455607 h 1174268"/>
              <a:gd name="connsiteX18" fmla="*/ 455298 w 1174270"/>
              <a:gd name="connsiteY18" fmla="*/ 488252 h 1174268"/>
              <a:gd name="connsiteX19" fmla="*/ 487635 w 1174270"/>
              <a:gd name="connsiteY19" fmla="*/ 522152 h 1174268"/>
              <a:gd name="connsiteX20" fmla="*/ 521215 w 1174270"/>
              <a:gd name="connsiteY20" fmla="*/ 488252 h 1174268"/>
              <a:gd name="connsiteX21" fmla="*/ 487635 w 1174270"/>
              <a:gd name="connsiteY21" fmla="*/ 455607 h 1174268"/>
              <a:gd name="connsiteX22" fmla="*/ 667593 w 1174270"/>
              <a:gd name="connsiteY22" fmla="*/ 425616 h 1174268"/>
              <a:gd name="connsiteX23" fmla="*/ 679624 w 1174270"/>
              <a:gd name="connsiteY23" fmla="*/ 426708 h 1174268"/>
              <a:gd name="connsiteX24" fmla="*/ 685873 w 1174270"/>
              <a:gd name="connsiteY24" fmla="*/ 449180 h 1174268"/>
              <a:gd name="connsiteX25" fmla="*/ 515886 w 1174270"/>
              <a:gd name="connsiteY25" fmla="*/ 743806 h 1174268"/>
              <a:gd name="connsiteX26" fmla="*/ 502137 w 1174270"/>
              <a:gd name="connsiteY26" fmla="*/ 751297 h 1174268"/>
              <a:gd name="connsiteX27" fmla="*/ 494637 w 1174270"/>
              <a:gd name="connsiteY27" fmla="*/ 748800 h 1174268"/>
              <a:gd name="connsiteX28" fmla="*/ 488388 w 1174270"/>
              <a:gd name="connsiteY28" fmla="*/ 727577 h 1174268"/>
              <a:gd name="connsiteX29" fmla="*/ 658375 w 1174270"/>
              <a:gd name="connsiteY29" fmla="*/ 432950 h 1174268"/>
              <a:gd name="connsiteX30" fmla="*/ 667593 w 1174270"/>
              <a:gd name="connsiteY30" fmla="*/ 425616 h 1174268"/>
              <a:gd name="connsiteX31" fmla="*/ 487635 w 1174270"/>
              <a:gd name="connsiteY31" fmla="*/ 422963 h 1174268"/>
              <a:gd name="connsiteX32" fmla="*/ 553551 w 1174270"/>
              <a:gd name="connsiteY32" fmla="*/ 488252 h 1174268"/>
              <a:gd name="connsiteX33" fmla="*/ 487635 w 1174270"/>
              <a:gd name="connsiteY33" fmla="*/ 553540 h 1174268"/>
              <a:gd name="connsiteX34" fmla="*/ 422962 w 1174270"/>
              <a:gd name="connsiteY34" fmla="*/ 488252 h 1174268"/>
              <a:gd name="connsiteX35" fmla="*/ 487635 w 1174270"/>
              <a:gd name="connsiteY35" fmla="*/ 422963 h 1174268"/>
              <a:gd name="connsiteX36" fmla="*/ 587135 w 1174270"/>
              <a:gd name="connsiteY36" fmla="*/ 131856 h 1174268"/>
              <a:gd name="connsiteX37" fmla="*/ 133100 w 1174270"/>
              <a:gd name="connsiteY37" fmla="*/ 587134 h 1174268"/>
              <a:gd name="connsiteX38" fmla="*/ 587135 w 1174270"/>
              <a:gd name="connsiteY38" fmla="*/ 1041168 h 1174268"/>
              <a:gd name="connsiteX39" fmla="*/ 1042412 w 1174270"/>
              <a:gd name="connsiteY39" fmla="*/ 587134 h 1174268"/>
              <a:gd name="connsiteX40" fmla="*/ 587135 w 1174270"/>
              <a:gd name="connsiteY40" fmla="*/ 131856 h 1174268"/>
              <a:gd name="connsiteX41" fmla="*/ 603306 w 1174270"/>
              <a:gd name="connsiteY41" fmla="*/ 32342 h 1174268"/>
              <a:gd name="connsiteX42" fmla="*/ 603306 w 1174270"/>
              <a:gd name="connsiteY42" fmla="*/ 100758 h 1174268"/>
              <a:gd name="connsiteX43" fmla="*/ 1074754 w 1174270"/>
              <a:gd name="connsiteY43" fmla="*/ 587134 h 1174268"/>
              <a:gd name="connsiteX44" fmla="*/ 942898 w 1174270"/>
              <a:gd name="connsiteY44" fmla="*/ 919263 h 1174268"/>
              <a:gd name="connsiteX45" fmla="*/ 990168 w 1174270"/>
              <a:gd name="connsiteY45" fmla="*/ 966532 h 1174268"/>
              <a:gd name="connsiteX46" fmla="*/ 1141926 w 1174270"/>
              <a:gd name="connsiteY46" fmla="*/ 587134 h 1174268"/>
              <a:gd name="connsiteX47" fmla="*/ 603306 w 1174270"/>
              <a:gd name="connsiteY47" fmla="*/ 32342 h 1174268"/>
              <a:gd name="connsiteX48" fmla="*/ 570963 w 1174270"/>
              <a:gd name="connsiteY48" fmla="*/ 32342 h 1174268"/>
              <a:gd name="connsiteX49" fmla="*/ 32342 w 1174270"/>
              <a:gd name="connsiteY49" fmla="*/ 587134 h 1174268"/>
              <a:gd name="connsiteX50" fmla="*/ 184102 w 1174270"/>
              <a:gd name="connsiteY50" fmla="*/ 966532 h 1174268"/>
              <a:gd name="connsiteX51" fmla="*/ 231371 w 1174270"/>
              <a:gd name="connsiteY51" fmla="*/ 919263 h 1174268"/>
              <a:gd name="connsiteX52" fmla="*/ 99514 w 1174270"/>
              <a:gd name="connsiteY52" fmla="*/ 587134 h 1174268"/>
              <a:gd name="connsiteX53" fmla="*/ 570963 w 1174270"/>
              <a:gd name="connsiteY53" fmla="*/ 100758 h 1174268"/>
              <a:gd name="connsiteX54" fmla="*/ 587135 w 1174270"/>
              <a:gd name="connsiteY54" fmla="*/ 0 h 1174268"/>
              <a:gd name="connsiteX55" fmla="*/ 1174270 w 1174270"/>
              <a:gd name="connsiteY55" fmla="*/ 587134 h 1174268"/>
              <a:gd name="connsiteX56" fmla="*/ 1002606 w 1174270"/>
              <a:gd name="connsiteY56" fmla="*/ 1000118 h 1174268"/>
              <a:gd name="connsiteX57" fmla="*/ 1001362 w 1174270"/>
              <a:gd name="connsiteY57" fmla="*/ 1001362 h 1174268"/>
              <a:gd name="connsiteX58" fmla="*/ 1000118 w 1174270"/>
              <a:gd name="connsiteY58" fmla="*/ 1002606 h 1174268"/>
              <a:gd name="connsiteX59" fmla="*/ 587135 w 1174270"/>
              <a:gd name="connsiteY59" fmla="*/ 1174268 h 1174268"/>
              <a:gd name="connsiteX60" fmla="*/ 174150 w 1174270"/>
              <a:gd name="connsiteY60" fmla="*/ 1002606 h 1174268"/>
              <a:gd name="connsiteX61" fmla="*/ 171662 w 1174270"/>
              <a:gd name="connsiteY61" fmla="*/ 1001362 h 1174268"/>
              <a:gd name="connsiteX62" fmla="*/ 171662 w 1174270"/>
              <a:gd name="connsiteY62" fmla="*/ 1000118 h 1174268"/>
              <a:gd name="connsiteX63" fmla="*/ 0 w 1174270"/>
              <a:gd name="connsiteY63" fmla="*/ 587134 h 1174268"/>
              <a:gd name="connsiteX64" fmla="*/ 587135 w 1174270"/>
              <a:gd name="connsiteY64" fmla="*/ 0 h 117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174270" h="1174268">
                <a:moveTo>
                  <a:pt x="253762" y="942897"/>
                </a:moveTo>
                <a:lnTo>
                  <a:pt x="207736" y="990167"/>
                </a:lnTo>
                <a:cubicBezTo>
                  <a:pt x="307250" y="1083461"/>
                  <a:pt x="440351" y="1140682"/>
                  <a:pt x="587135" y="1140682"/>
                </a:cubicBezTo>
                <a:cubicBezTo>
                  <a:pt x="733918" y="1140682"/>
                  <a:pt x="868262" y="1083461"/>
                  <a:pt x="966532" y="990167"/>
                </a:cubicBezTo>
                <a:lnTo>
                  <a:pt x="920508" y="942897"/>
                </a:lnTo>
                <a:cubicBezTo>
                  <a:pt x="832189" y="1023753"/>
                  <a:pt x="715259" y="1074754"/>
                  <a:pt x="587135" y="1074754"/>
                </a:cubicBezTo>
                <a:cubicBezTo>
                  <a:pt x="459010" y="1074754"/>
                  <a:pt x="342080" y="1023753"/>
                  <a:pt x="253762" y="942897"/>
                </a:cubicBezTo>
                <a:close/>
                <a:moveTo>
                  <a:pt x="686626" y="653048"/>
                </a:moveTo>
                <a:cubicBezTo>
                  <a:pt x="667971" y="653048"/>
                  <a:pt x="653046" y="667973"/>
                  <a:pt x="653046" y="685385"/>
                </a:cubicBezTo>
                <a:cubicBezTo>
                  <a:pt x="653046" y="704040"/>
                  <a:pt x="667971" y="718965"/>
                  <a:pt x="686626" y="718965"/>
                </a:cubicBezTo>
                <a:cubicBezTo>
                  <a:pt x="704038" y="718965"/>
                  <a:pt x="718963" y="704040"/>
                  <a:pt x="718963" y="685385"/>
                </a:cubicBezTo>
                <a:cubicBezTo>
                  <a:pt x="718963" y="667973"/>
                  <a:pt x="704038" y="653048"/>
                  <a:pt x="686626" y="653048"/>
                </a:cubicBezTo>
                <a:close/>
                <a:moveTo>
                  <a:pt x="686626" y="620712"/>
                </a:moveTo>
                <a:cubicBezTo>
                  <a:pt x="721450" y="620712"/>
                  <a:pt x="751299" y="650561"/>
                  <a:pt x="751299" y="685385"/>
                </a:cubicBezTo>
                <a:cubicBezTo>
                  <a:pt x="751299" y="721452"/>
                  <a:pt x="721450" y="751301"/>
                  <a:pt x="686626" y="751301"/>
                </a:cubicBezTo>
                <a:cubicBezTo>
                  <a:pt x="650559" y="751301"/>
                  <a:pt x="620710" y="721452"/>
                  <a:pt x="620710" y="685385"/>
                </a:cubicBezTo>
                <a:cubicBezTo>
                  <a:pt x="620710" y="650561"/>
                  <a:pt x="650559" y="620712"/>
                  <a:pt x="686626" y="620712"/>
                </a:cubicBezTo>
                <a:close/>
                <a:moveTo>
                  <a:pt x="487635" y="455607"/>
                </a:moveTo>
                <a:cubicBezTo>
                  <a:pt x="470223" y="455607"/>
                  <a:pt x="455298" y="470674"/>
                  <a:pt x="455298" y="488252"/>
                </a:cubicBezTo>
                <a:cubicBezTo>
                  <a:pt x="455298" y="505829"/>
                  <a:pt x="470223" y="522152"/>
                  <a:pt x="487635" y="522152"/>
                </a:cubicBezTo>
                <a:cubicBezTo>
                  <a:pt x="506290" y="522152"/>
                  <a:pt x="521215" y="505829"/>
                  <a:pt x="521215" y="488252"/>
                </a:cubicBezTo>
                <a:cubicBezTo>
                  <a:pt x="521215" y="470674"/>
                  <a:pt x="506290" y="455607"/>
                  <a:pt x="487635" y="455607"/>
                </a:cubicBezTo>
                <a:close/>
                <a:moveTo>
                  <a:pt x="667593" y="425616"/>
                </a:moveTo>
                <a:cubicBezTo>
                  <a:pt x="671499" y="424524"/>
                  <a:pt x="675874" y="424836"/>
                  <a:pt x="679624" y="426708"/>
                </a:cubicBezTo>
                <a:cubicBezTo>
                  <a:pt x="688373" y="431702"/>
                  <a:pt x="690873" y="441689"/>
                  <a:pt x="685873" y="449180"/>
                </a:cubicBezTo>
                <a:lnTo>
                  <a:pt x="515886" y="743806"/>
                </a:lnTo>
                <a:cubicBezTo>
                  <a:pt x="513386" y="748800"/>
                  <a:pt x="508386" y="751297"/>
                  <a:pt x="502137" y="751297"/>
                </a:cubicBezTo>
                <a:cubicBezTo>
                  <a:pt x="499637" y="751297"/>
                  <a:pt x="497137" y="751297"/>
                  <a:pt x="494637" y="748800"/>
                </a:cubicBezTo>
                <a:cubicBezTo>
                  <a:pt x="485888" y="746303"/>
                  <a:pt x="483388" y="735067"/>
                  <a:pt x="488388" y="727577"/>
                </a:cubicBezTo>
                <a:lnTo>
                  <a:pt x="658375" y="432950"/>
                </a:lnTo>
                <a:cubicBezTo>
                  <a:pt x="660250" y="429205"/>
                  <a:pt x="663687" y="426708"/>
                  <a:pt x="667593" y="425616"/>
                </a:cubicBezTo>
                <a:close/>
                <a:moveTo>
                  <a:pt x="487635" y="422963"/>
                </a:moveTo>
                <a:cubicBezTo>
                  <a:pt x="523702" y="422963"/>
                  <a:pt x="553551" y="451841"/>
                  <a:pt x="553551" y="488252"/>
                </a:cubicBezTo>
                <a:cubicBezTo>
                  <a:pt x="553551" y="524663"/>
                  <a:pt x="523702" y="553540"/>
                  <a:pt x="487635" y="553540"/>
                </a:cubicBezTo>
                <a:cubicBezTo>
                  <a:pt x="452811" y="553540"/>
                  <a:pt x="422962" y="524663"/>
                  <a:pt x="422962" y="488252"/>
                </a:cubicBezTo>
                <a:cubicBezTo>
                  <a:pt x="422962" y="451841"/>
                  <a:pt x="452811" y="422963"/>
                  <a:pt x="487635" y="422963"/>
                </a:cubicBezTo>
                <a:close/>
                <a:moveTo>
                  <a:pt x="587135" y="131856"/>
                </a:moveTo>
                <a:cubicBezTo>
                  <a:pt x="335861" y="131856"/>
                  <a:pt x="133100" y="335861"/>
                  <a:pt x="133100" y="587134"/>
                </a:cubicBezTo>
                <a:cubicBezTo>
                  <a:pt x="133100" y="837164"/>
                  <a:pt x="335861" y="1041168"/>
                  <a:pt x="587135" y="1041168"/>
                </a:cubicBezTo>
                <a:cubicBezTo>
                  <a:pt x="837164" y="1041168"/>
                  <a:pt x="1042412" y="837164"/>
                  <a:pt x="1042412" y="587134"/>
                </a:cubicBezTo>
                <a:cubicBezTo>
                  <a:pt x="1042412" y="335861"/>
                  <a:pt x="837164" y="131856"/>
                  <a:pt x="587135" y="131856"/>
                </a:cubicBezTo>
                <a:close/>
                <a:moveTo>
                  <a:pt x="603306" y="32342"/>
                </a:moveTo>
                <a:lnTo>
                  <a:pt x="603306" y="100758"/>
                </a:lnTo>
                <a:cubicBezTo>
                  <a:pt x="864531" y="108222"/>
                  <a:pt x="1074754" y="323421"/>
                  <a:pt x="1074754" y="587134"/>
                </a:cubicBezTo>
                <a:cubicBezTo>
                  <a:pt x="1074754" y="715259"/>
                  <a:pt x="1023754" y="832188"/>
                  <a:pt x="942898" y="919263"/>
                </a:cubicBezTo>
                <a:lnTo>
                  <a:pt x="990168" y="966532"/>
                </a:lnTo>
                <a:cubicBezTo>
                  <a:pt x="1084706" y="867018"/>
                  <a:pt x="1141926" y="733918"/>
                  <a:pt x="1141926" y="587134"/>
                </a:cubicBezTo>
                <a:cubicBezTo>
                  <a:pt x="1141926" y="287347"/>
                  <a:pt x="901848" y="42294"/>
                  <a:pt x="603306" y="32342"/>
                </a:cubicBezTo>
                <a:close/>
                <a:moveTo>
                  <a:pt x="570963" y="32342"/>
                </a:moveTo>
                <a:cubicBezTo>
                  <a:pt x="272420" y="42294"/>
                  <a:pt x="32342" y="287347"/>
                  <a:pt x="32342" y="587134"/>
                </a:cubicBezTo>
                <a:cubicBezTo>
                  <a:pt x="32342" y="733918"/>
                  <a:pt x="90807" y="867018"/>
                  <a:pt x="184102" y="966532"/>
                </a:cubicBezTo>
                <a:lnTo>
                  <a:pt x="231371" y="919263"/>
                </a:lnTo>
                <a:cubicBezTo>
                  <a:pt x="150515" y="832188"/>
                  <a:pt x="99514" y="715259"/>
                  <a:pt x="99514" y="587134"/>
                </a:cubicBezTo>
                <a:cubicBezTo>
                  <a:pt x="99514" y="323421"/>
                  <a:pt x="309738" y="108222"/>
                  <a:pt x="570963" y="100758"/>
                </a:cubicBezTo>
                <a:close/>
                <a:moveTo>
                  <a:pt x="587135" y="0"/>
                </a:moveTo>
                <a:cubicBezTo>
                  <a:pt x="910556" y="0"/>
                  <a:pt x="1174270" y="263713"/>
                  <a:pt x="1174270" y="587134"/>
                </a:cubicBezTo>
                <a:cubicBezTo>
                  <a:pt x="1174270" y="747601"/>
                  <a:pt x="1108340" y="894384"/>
                  <a:pt x="1002606" y="1000118"/>
                </a:cubicBezTo>
                <a:cubicBezTo>
                  <a:pt x="1002606" y="1001362"/>
                  <a:pt x="1002606" y="1001362"/>
                  <a:pt x="1001362" y="1001362"/>
                </a:cubicBezTo>
                <a:cubicBezTo>
                  <a:pt x="1001362" y="1001362"/>
                  <a:pt x="1001362" y="1002606"/>
                  <a:pt x="1000118" y="1002606"/>
                </a:cubicBezTo>
                <a:cubicBezTo>
                  <a:pt x="894386" y="1108340"/>
                  <a:pt x="748845" y="1174268"/>
                  <a:pt x="587135" y="1174268"/>
                </a:cubicBezTo>
                <a:cubicBezTo>
                  <a:pt x="426668" y="1174268"/>
                  <a:pt x="279884" y="1108340"/>
                  <a:pt x="174150" y="1002606"/>
                </a:cubicBezTo>
                <a:cubicBezTo>
                  <a:pt x="172906" y="1002606"/>
                  <a:pt x="171662" y="1001362"/>
                  <a:pt x="171662" y="1001362"/>
                </a:cubicBezTo>
                <a:cubicBezTo>
                  <a:pt x="171662" y="1001362"/>
                  <a:pt x="171662" y="1001362"/>
                  <a:pt x="171662" y="1000118"/>
                </a:cubicBezTo>
                <a:cubicBezTo>
                  <a:pt x="65928" y="894384"/>
                  <a:pt x="0" y="747601"/>
                  <a:pt x="0" y="587134"/>
                </a:cubicBezTo>
                <a:cubicBezTo>
                  <a:pt x="0" y="263713"/>
                  <a:pt x="263713" y="0"/>
                  <a:pt x="587135" y="0"/>
                </a:cubicBezTo>
                <a:close/>
              </a:path>
            </a:pathLst>
          </a:custGeom>
          <a:solidFill>
            <a:schemeClr val="tx2"/>
          </a:solidFill>
          <a:ln>
            <a:noFill/>
          </a:ln>
          <a:effectLst/>
        </p:spPr>
        <p:txBody>
          <a:bodyPr wrap="square" anchor="ctr">
            <a:noAutofit/>
          </a:bodyPr>
          <a:lstStyle/>
          <a:p>
            <a:endParaRPr lang="en-US" dirty="0"/>
          </a:p>
        </p:txBody>
      </p:sp>
      <p:sp>
        <p:nvSpPr>
          <p:cNvPr id="21" name="Freeform 29">
            <a:extLst>
              <a:ext uri="{FF2B5EF4-FFF2-40B4-BE49-F238E27FC236}">
                <a16:creationId xmlns:a16="http://schemas.microsoft.com/office/drawing/2014/main" id="{903A3718-B68B-D07D-CA9F-FAA821C229A8}"/>
              </a:ext>
            </a:extLst>
          </p:cNvPr>
          <p:cNvSpPr>
            <a:spLocks noChangeArrowheads="1"/>
          </p:cNvSpPr>
          <p:nvPr/>
        </p:nvSpPr>
        <p:spPr bwMode="auto">
          <a:xfrm>
            <a:off x="5792760" y="3972944"/>
            <a:ext cx="558678" cy="558676"/>
          </a:xfrm>
          <a:custGeom>
            <a:avLst/>
            <a:gdLst>
              <a:gd name="connsiteX0" fmla="*/ 521842 w 1117356"/>
              <a:gd name="connsiteY0" fmla="*/ 964794 h 1117352"/>
              <a:gd name="connsiteX1" fmla="*/ 537144 w 1117356"/>
              <a:gd name="connsiteY1" fmla="*/ 979884 h 1117352"/>
              <a:gd name="connsiteX2" fmla="*/ 537144 w 1117356"/>
              <a:gd name="connsiteY2" fmla="*/ 1051559 h 1117352"/>
              <a:gd name="connsiteX3" fmla="*/ 521842 w 1117356"/>
              <a:gd name="connsiteY3" fmla="*/ 1067907 h 1117352"/>
              <a:gd name="connsiteX4" fmla="*/ 505362 w 1117356"/>
              <a:gd name="connsiteY4" fmla="*/ 1051559 h 1117352"/>
              <a:gd name="connsiteX5" fmla="*/ 505362 w 1117356"/>
              <a:gd name="connsiteY5" fmla="*/ 979884 h 1117352"/>
              <a:gd name="connsiteX6" fmla="*/ 521842 w 1117356"/>
              <a:gd name="connsiteY6" fmla="*/ 964794 h 1117352"/>
              <a:gd name="connsiteX7" fmla="*/ 963700 w 1117356"/>
              <a:gd name="connsiteY7" fmla="*/ 663635 h 1117352"/>
              <a:gd name="connsiteX8" fmla="*/ 936308 w 1117356"/>
              <a:gd name="connsiteY8" fmla="*/ 679839 h 1117352"/>
              <a:gd name="connsiteX9" fmla="*/ 936308 w 1117356"/>
              <a:gd name="connsiteY9" fmla="*/ 682332 h 1117352"/>
              <a:gd name="connsiteX10" fmla="*/ 935063 w 1117356"/>
              <a:gd name="connsiteY10" fmla="*/ 683579 h 1117352"/>
              <a:gd name="connsiteX11" fmla="*/ 933818 w 1117356"/>
              <a:gd name="connsiteY11" fmla="*/ 689811 h 1117352"/>
              <a:gd name="connsiteX12" fmla="*/ 933818 w 1117356"/>
              <a:gd name="connsiteY12" fmla="*/ 692304 h 1117352"/>
              <a:gd name="connsiteX13" fmla="*/ 933818 w 1117356"/>
              <a:gd name="connsiteY13" fmla="*/ 694797 h 1117352"/>
              <a:gd name="connsiteX14" fmla="*/ 957475 w 1117356"/>
              <a:gd name="connsiteY14" fmla="*/ 720973 h 1117352"/>
              <a:gd name="connsiteX15" fmla="*/ 1047122 w 1117356"/>
              <a:gd name="connsiteY15" fmla="*/ 739670 h 1117352"/>
              <a:gd name="connsiteX16" fmla="*/ 1040896 w 1117356"/>
              <a:gd name="connsiteY16" fmla="*/ 728452 h 1117352"/>
              <a:gd name="connsiteX17" fmla="*/ 1048367 w 1117356"/>
              <a:gd name="connsiteY17" fmla="*/ 689811 h 1117352"/>
              <a:gd name="connsiteX18" fmla="*/ 1059572 w 1117356"/>
              <a:gd name="connsiteY18" fmla="*/ 682332 h 1117352"/>
              <a:gd name="connsiteX19" fmla="*/ 968681 w 1117356"/>
              <a:gd name="connsiteY19" fmla="*/ 664882 h 1117352"/>
              <a:gd name="connsiteX20" fmla="*/ 963700 w 1117356"/>
              <a:gd name="connsiteY20" fmla="*/ 663635 h 1117352"/>
              <a:gd name="connsiteX21" fmla="*/ 627526 w 1117356"/>
              <a:gd name="connsiteY21" fmla="*/ 510319 h 1117352"/>
              <a:gd name="connsiteX22" fmla="*/ 560291 w 1117356"/>
              <a:gd name="connsiteY22" fmla="*/ 578875 h 1117352"/>
              <a:gd name="connsiteX23" fmla="*/ 562781 w 1117356"/>
              <a:gd name="connsiteY23" fmla="*/ 590093 h 1117352"/>
              <a:gd name="connsiteX24" fmla="*/ 657408 w 1117356"/>
              <a:gd name="connsiteY24" fmla="*/ 611283 h 1117352"/>
              <a:gd name="connsiteX25" fmla="*/ 657408 w 1117356"/>
              <a:gd name="connsiteY25" fmla="*/ 597572 h 1117352"/>
              <a:gd name="connsiteX26" fmla="*/ 627526 w 1117356"/>
              <a:gd name="connsiteY26" fmla="*/ 510319 h 1117352"/>
              <a:gd name="connsiteX27" fmla="*/ 519203 w 1117356"/>
              <a:gd name="connsiteY27" fmla="*/ 456720 h 1117352"/>
              <a:gd name="connsiteX28" fmla="*/ 378508 w 1117356"/>
              <a:gd name="connsiteY28" fmla="*/ 597572 h 1117352"/>
              <a:gd name="connsiteX29" fmla="*/ 519203 w 1117356"/>
              <a:gd name="connsiteY29" fmla="*/ 738424 h 1117352"/>
              <a:gd name="connsiteX30" fmla="*/ 649938 w 1117356"/>
              <a:gd name="connsiteY30" fmla="*/ 642445 h 1117352"/>
              <a:gd name="connsiteX31" fmla="*/ 556556 w 1117356"/>
              <a:gd name="connsiteY31" fmla="*/ 622502 h 1117352"/>
              <a:gd name="connsiteX32" fmla="*/ 519203 w 1117356"/>
              <a:gd name="connsiteY32" fmla="*/ 642445 h 1117352"/>
              <a:gd name="connsiteX33" fmla="*/ 473135 w 1117356"/>
              <a:gd name="connsiteY33" fmla="*/ 597572 h 1117352"/>
              <a:gd name="connsiteX34" fmla="*/ 519203 w 1117356"/>
              <a:gd name="connsiteY34" fmla="*/ 552699 h 1117352"/>
              <a:gd name="connsiteX35" fmla="*/ 536634 w 1117356"/>
              <a:gd name="connsiteY35" fmla="*/ 556438 h 1117352"/>
              <a:gd name="connsiteX36" fmla="*/ 603869 w 1117356"/>
              <a:gd name="connsiteY36" fmla="*/ 487882 h 1117352"/>
              <a:gd name="connsiteX37" fmla="*/ 581458 w 1117356"/>
              <a:gd name="connsiteY37" fmla="*/ 472924 h 1117352"/>
              <a:gd name="connsiteX38" fmla="*/ 519203 w 1117356"/>
              <a:gd name="connsiteY38" fmla="*/ 456720 h 1117352"/>
              <a:gd name="connsiteX39" fmla="*/ 750790 w 1117356"/>
              <a:gd name="connsiteY39" fmla="*/ 386918 h 1117352"/>
              <a:gd name="connsiteX40" fmla="*/ 651183 w 1117356"/>
              <a:gd name="connsiteY40" fmla="*/ 486636 h 1117352"/>
              <a:gd name="connsiteX41" fmla="*/ 691026 w 1117356"/>
              <a:gd name="connsiteY41" fmla="*/ 597572 h 1117352"/>
              <a:gd name="connsiteX42" fmla="*/ 688535 w 1117356"/>
              <a:gd name="connsiteY42" fmla="*/ 617516 h 1117352"/>
              <a:gd name="connsiteX43" fmla="*/ 827986 w 1117356"/>
              <a:gd name="connsiteY43" fmla="*/ 647431 h 1117352"/>
              <a:gd name="connsiteX44" fmla="*/ 831721 w 1117356"/>
              <a:gd name="connsiteY44" fmla="*/ 597572 h 1117352"/>
              <a:gd name="connsiteX45" fmla="*/ 750790 w 1117356"/>
              <a:gd name="connsiteY45" fmla="*/ 386918 h 1117352"/>
              <a:gd name="connsiteX46" fmla="*/ 519203 w 1117356"/>
              <a:gd name="connsiteY46" fmla="*/ 282214 h 1117352"/>
              <a:gd name="connsiteX47" fmla="*/ 204195 w 1117356"/>
              <a:gd name="connsiteY47" fmla="*/ 597572 h 1117352"/>
              <a:gd name="connsiteX48" fmla="*/ 519203 w 1117356"/>
              <a:gd name="connsiteY48" fmla="*/ 911684 h 1117352"/>
              <a:gd name="connsiteX49" fmla="*/ 667942 w 1117356"/>
              <a:gd name="connsiteY49" fmla="*/ 873494 h 1117352"/>
              <a:gd name="connsiteX50" fmla="*/ 668017 w 1117356"/>
              <a:gd name="connsiteY50" fmla="*/ 873444 h 1117352"/>
              <a:gd name="connsiteX51" fmla="*/ 710013 w 1117356"/>
              <a:gd name="connsiteY51" fmla="*/ 845776 h 1117352"/>
              <a:gd name="connsiteX52" fmla="*/ 820515 w 1117356"/>
              <a:gd name="connsiteY52" fmla="*/ 679839 h 1117352"/>
              <a:gd name="connsiteX53" fmla="*/ 807103 w 1117356"/>
              <a:gd name="connsiteY53" fmla="*/ 676936 h 1117352"/>
              <a:gd name="connsiteX54" fmla="*/ 682310 w 1117356"/>
              <a:gd name="connsiteY54" fmla="*/ 649924 h 1117352"/>
              <a:gd name="connsiteX55" fmla="*/ 519203 w 1117356"/>
              <a:gd name="connsiteY55" fmla="*/ 770832 h 1117352"/>
              <a:gd name="connsiteX56" fmla="*/ 344890 w 1117356"/>
              <a:gd name="connsiteY56" fmla="*/ 597572 h 1117352"/>
              <a:gd name="connsiteX57" fmla="*/ 519203 w 1117356"/>
              <a:gd name="connsiteY57" fmla="*/ 424312 h 1117352"/>
              <a:gd name="connsiteX58" fmla="*/ 596399 w 1117356"/>
              <a:gd name="connsiteY58" fmla="*/ 443009 h 1117352"/>
              <a:gd name="connsiteX59" fmla="*/ 627526 w 1117356"/>
              <a:gd name="connsiteY59" fmla="*/ 464199 h 1117352"/>
              <a:gd name="connsiteX60" fmla="*/ 728378 w 1117356"/>
              <a:gd name="connsiteY60" fmla="*/ 364481 h 1117352"/>
              <a:gd name="connsiteX61" fmla="*/ 519203 w 1117356"/>
              <a:gd name="connsiteY61" fmla="*/ 282214 h 1117352"/>
              <a:gd name="connsiteX62" fmla="*/ 872809 w 1117356"/>
              <a:gd name="connsiteY62" fmla="*/ 264763 h 1117352"/>
              <a:gd name="connsiteX63" fmla="*/ 774447 w 1117356"/>
              <a:gd name="connsiteY63" fmla="*/ 364481 h 1117352"/>
              <a:gd name="connsiteX64" fmla="*/ 864093 w 1117356"/>
              <a:gd name="connsiteY64" fmla="*/ 597572 h 1117352"/>
              <a:gd name="connsiteX65" fmla="*/ 859113 w 1117356"/>
              <a:gd name="connsiteY65" fmla="*/ 653663 h 1117352"/>
              <a:gd name="connsiteX66" fmla="*/ 907671 w 1117356"/>
              <a:gd name="connsiteY66" fmla="*/ 664882 h 1117352"/>
              <a:gd name="connsiteX67" fmla="*/ 974906 w 1117356"/>
              <a:gd name="connsiteY67" fmla="*/ 632473 h 1117352"/>
              <a:gd name="connsiteX68" fmla="*/ 1002298 w 1117356"/>
              <a:gd name="connsiteY68" fmla="*/ 637459 h 1117352"/>
              <a:gd name="connsiteX69" fmla="*/ 1003543 w 1117356"/>
              <a:gd name="connsiteY69" fmla="*/ 597572 h 1117352"/>
              <a:gd name="connsiteX70" fmla="*/ 872809 w 1117356"/>
              <a:gd name="connsiteY70" fmla="*/ 264763 h 1117352"/>
              <a:gd name="connsiteX71" fmla="*/ 521842 w 1117356"/>
              <a:gd name="connsiteY71" fmla="*/ 129851 h 1117352"/>
              <a:gd name="connsiteX72" fmla="*/ 537144 w 1117356"/>
              <a:gd name="connsiteY72" fmla="*/ 146004 h 1117352"/>
              <a:gd name="connsiteX73" fmla="*/ 537144 w 1117356"/>
              <a:gd name="connsiteY73" fmla="*/ 215584 h 1117352"/>
              <a:gd name="connsiteX74" fmla="*/ 521842 w 1117356"/>
              <a:gd name="connsiteY74" fmla="*/ 232978 h 1117352"/>
              <a:gd name="connsiteX75" fmla="*/ 505362 w 1117356"/>
              <a:gd name="connsiteY75" fmla="*/ 215584 h 1117352"/>
              <a:gd name="connsiteX76" fmla="*/ 505362 w 1117356"/>
              <a:gd name="connsiteY76" fmla="*/ 146004 h 1117352"/>
              <a:gd name="connsiteX77" fmla="*/ 521842 w 1117356"/>
              <a:gd name="connsiteY77" fmla="*/ 129851 h 1117352"/>
              <a:gd name="connsiteX78" fmla="*/ 519203 w 1117356"/>
              <a:gd name="connsiteY78" fmla="*/ 110200 h 1117352"/>
              <a:gd name="connsiteX79" fmla="*/ 32372 w 1117356"/>
              <a:gd name="connsiteY79" fmla="*/ 597572 h 1117352"/>
              <a:gd name="connsiteX80" fmla="*/ 519203 w 1117356"/>
              <a:gd name="connsiteY80" fmla="*/ 1083698 h 1117352"/>
              <a:gd name="connsiteX81" fmla="*/ 976151 w 1117356"/>
              <a:gd name="connsiteY81" fmla="*/ 758367 h 1117352"/>
              <a:gd name="connsiteX82" fmla="*/ 951250 w 1117356"/>
              <a:gd name="connsiteY82" fmla="*/ 753382 h 1117352"/>
              <a:gd name="connsiteX83" fmla="*/ 901446 w 1117356"/>
              <a:gd name="connsiteY83" fmla="*/ 697290 h 1117352"/>
              <a:gd name="connsiteX84" fmla="*/ 901446 w 1117356"/>
              <a:gd name="connsiteY84" fmla="*/ 696044 h 1117352"/>
              <a:gd name="connsiteX85" fmla="*/ 852887 w 1117356"/>
              <a:gd name="connsiteY85" fmla="*/ 686072 h 1117352"/>
              <a:gd name="connsiteX86" fmla="*/ 633148 w 1117356"/>
              <a:gd name="connsiteY86" fmla="*/ 925687 h 1117352"/>
              <a:gd name="connsiteX87" fmla="*/ 630558 w 1117356"/>
              <a:gd name="connsiteY87" fmla="*/ 926370 h 1117352"/>
              <a:gd name="connsiteX88" fmla="*/ 577715 w 1117356"/>
              <a:gd name="connsiteY88" fmla="*/ 940282 h 1117352"/>
              <a:gd name="connsiteX89" fmla="*/ 519203 w 1117356"/>
              <a:gd name="connsiteY89" fmla="*/ 945339 h 1117352"/>
              <a:gd name="connsiteX90" fmla="*/ 171823 w 1117356"/>
              <a:gd name="connsiteY90" fmla="*/ 597572 h 1117352"/>
              <a:gd name="connsiteX91" fmla="*/ 519203 w 1117356"/>
              <a:gd name="connsiteY91" fmla="*/ 249805 h 1117352"/>
              <a:gd name="connsiteX92" fmla="*/ 750790 w 1117356"/>
              <a:gd name="connsiteY92" fmla="*/ 340798 h 1117352"/>
              <a:gd name="connsiteX93" fmla="*/ 849152 w 1117356"/>
              <a:gd name="connsiteY93" fmla="*/ 242326 h 1117352"/>
              <a:gd name="connsiteX94" fmla="*/ 519203 w 1117356"/>
              <a:gd name="connsiteY94" fmla="*/ 110200 h 1117352"/>
              <a:gd name="connsiteX95" fmla="*/ 1029690 w 1117356"/>
              <a:gd name="connsiteY95" fmla="*/ 46629 h 1117352"/>
              <a:gd name="connsiteX96" fmla="*/ 963700 w 1117356"/>
              <a:gd name="connsiteY96" fmla="*/ 112693 h 1117352"/>
              <a:gd name="connsiteX97" fmla="*/ 958720 w 1117356"/>
              <a:gd name="connsiteY97" fmla="*/ 148841 h 1117352"/>
              <a:gd name="connsiteX98" fmla="*/ 959965 w 1117356"/>
              <a:gd name="connsiteY98" fmla="*/ 150087 h 1117352"/>
              <a:gd name="connsiteX99" fmla="*/ 959965 w 1117356"/>
              <a:gd name="connsiteY99" fmla="*/ 152580 h 1117352"/>
              <a:gd name="connsiteX100" fmla="*/ 966191 w 1117356"/>
              <a:gd name="connsiteY100" fmla="*/ 156319 h 1117352"/>
              <a:gd name="connsiteX101" fmla="*/ 967436 w 1117356"/>
              <a:gd name="connsiteY101" fmla="*/ 157566 h 1117352"/>
              <a:gd name="connsiteX102" fmla="*/ 969926 w 1117356"/>
              <a:gd name="connsiteY102" fmla="*/ 158812 h 1117352"/>
              <a:gd name="connsiteX103" fmla="*/ 1004788 w 1117356"/>
              <a:gd name="connsiteY103" fmla="*/ 153827 h 1117352"/>
              <a:gd name="connsiteX104" fmla="*/ 1070778 w 1117356"/>
              <a:gd name="connsiteY104" fmla="*/ 89010 h 1117352"/>
              <a:gd name="connsiteX105" fmla="*/ 1057082 w 1117356"/>
              <a:gd name="connsiteY105" fmla="*/ 89010 h 1117352"/>
              <a:gd name="connsiteX106" fmla="*/ 1029690 w 1117356"/>
              <a:gd name="connsiteY106" fmla="*/ 61587 h 1117352"/>
              <a:gd name="connsiteX107" fmla="*/ 1034359 w 1117356"/>
              <a:gd name="connsiteY107" fmla="*/ 510 h 1117352"/>
              <a:gd name="connsiteX108" fmla="*/ 1047122 w 1117356"/>
              <a:gd name="connsiteY108" fmla="*/ 1756 h 1117352"/>
              <a:gd name="connsiteX109" fmla="*/ 1062063 w 1117356"/>
              <a:gd name="connsiteY109" fmla="*/ 22946 h 1117352"/>
              <a:gd name="connsiteX110" fmla="*/ 1062063 w 1117356"/>
              <a:gd name="connsiteY110" fmla="*/ 56601 h 1117352"/>
              <a:gd name="connsiteX111" fmla="*/ 1094435 w 1117356"/>
              <a:gd name="connsiteY111" fmla="*/ 56601 h 1117352"/>
              <a:gd name="connsiteX112" fmla="*/ 1115602 w 1117356"/>
              <a:gd name="connsiteY112" fmla="*/ 70313 h 1117352"/>
              <a:gd name="connsiteX113" fmla="*/ 1110621 w 1117356"/>
              <a:gd name="connsiteY113" fmla="*/ 95242 h 1117352"/>
              <a:gd name="connsiteX114" fmla="*/ 1028445 w 1117356"/>
              <a:gd name="connsiteY114" fmla="*/ 177510 h 1117352"/>
              <a:gd name="connsiteX115" fmla="*/ 984867 w 1117356"/>
              <a:gd name="connsiteY115" fmla="*/ 194960 h 1117352"/>
              <a:gd name="connsiteX116" fmla="*/ 953740 w 1117356"/>
              <a:gd name="connsiteY116" fmla="*/ 187481 h 1117352"/>
              <a:gd name="connsiteX117" fmla="*/ 951250 w 1117356"/>
              <a:gd name="connsiteY117" fmla="*/ 186235 h 1117352"/>
              <a:gd name="connsiteX118" fmla="*/ 895220 w 1117356"/>
              <a:gd name="connsiteY118" fmla="*/ 242326 h 1117352"/>
              <a:gd name="connsiteX119" fmla="*/ 1035916 w 1117356"/>
              <a:gd name="connsiteY119" fmla="*/ 597572 h 1117352"/>
              <a:gd name="connsiteX120" fmla="*/ 1033426 w 1117356"/>
              <a:gd name="connsiteY120" fmla="*/ 643692 h 1117352"/>
              <a:gd name="connsiteX121" fmla="*/ 1090700 w 1117356"/>
              <a:gd name="connsiteY121" fmla="*/ 654910 h 1117352"/>
              <a:gd name="connsiteX122" fmla="*/ 1108131 w 1117356"/>
              <a:gd name="connsiteY122" fmla="*/ 672361 h 1117352"/>
              <a:gd name="connsiteX123" fmla="*/ 1098170 w 1117356"/>
              <a:gd name="connsiteY123" fmla="*/ 696044 h 1117352"/>
              <a:gd name="connsiteX124" fmla="*/ 1070778 w 1117356"/>
              <a:gd name="connsiteY124" fmla="*/ 714741 h 1117352"/>
              <a:gd name="connsiteX125" fmla="*/ 1088210 w 1117356"/>
              <a:gd name="connsiteY125" fmla="*/ 742163 h 1117352"/>
              <a:gd name="connsiteX126" fmla="*/ 1088210 w 1117356"/>
              <a:gd name="connsiteY126" fmla="*/ 767093 h 1117352"/>
              <a:gd name="connsiteX127" fmla="*/ 1070778 w 1117356"/>
              <a:gd name="connsiteY127" fmla="*/ 777065 h 1117352"/>
              <a:gd name="connsiteX128" fmla="*/ 1065798 w 1117356"/>
              <a:gd name="connsiteY128" fmla="*/ 777065 h 1117352"/>
              <a:gd name="connsiteX129" fmla="*/ 1008524 w 1117356"/>
              <a:gd name="connsiteY129" fmla="*/ 765846 h 1117352"/>
              <a:gd name="connsiteX130" fmla="*/ 519203 w 1117356"/>
              <a:gd name="connsiteY130" fmla="*/ 1117352 h 1117352"/>
              <a:gd name="connsiteX131" fmla="*/ 0 w 1117356"/>
              <a:gd name="connsiteY131" fmla="*/ 597572 h 1117352"/>
              <a:gd name="connsiteX132" fmla="*/ 519203 w 1117356"/>
              <a:gd name="connsiteY132" fmla="*/ 77791 h 1117352"/>
              <a:gd name="connsiteX133" fmla="*/ 872809 w 1117356"/>
              <a:gd name="connsiteY133" fmla="*/ 218643 h 1117352"/>
              <a:gd name="connsiteX134" fmla="*/ 930083 w 1117356"/>
              <a:gd name="connsiteY134" fmla="*/ 161305 h 1117352"/>
              <a:gd name="connsiteX135" fmla="*/ 940044 w 1117356"/>
              <a:gd name="connsiteY135" fmla="*/ 89010 h 1117352"/>
              <a:gd name="connsiteX136" fmla="*/ 1023465 w 1117356"/>
              <a:gd name="connsiteY136" fmla="*/ 6742 h 1117352"/>
              <a:gd name="connsiteX137" fmla="*/ 1034359 w 1117356"/>
              <a:gd name="connsiteY137" fmla="*/ 510 h 11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17356" h="1117352">
                <a:moveTo>
                  <a:pt x="521842" y="964794"/>
                </a:moveTo>
                <a:cubicBezTo>
                  <a:pt x="528904" y="964794"/>
                  <a:pt x="537144" y="971081"/>
                  <a:pt x="537144" y="979884"/>
                </a:cubicBezTo>
                <a:lnTo>
                  <a:pt x="537144" y="1051559"/>
                </a:lnTo>
                <a:cubicBezTo>
                  <a:pt x="537144" y="1060362"/>
                  <a:pt x="528904" y="1067907"/>
                  <a:pt x="521842" y="1067907"/>
                </a:cubicBezTo>
                <a:cubicBezTo>
                  <a:pt x="512425" y="1067907"/>
                  <a:pt x="505362" y="1060362"/>
                  <a:pt x="505362" y="1051559"/>
                </a:cubicBezTo>
                <a:lnTo>
                  <a:pt x="505362" y="979884"/>
                </a:lnTo>
                <a:cubicBezTo>
                  <a:pt x="505362" y="971081"/>
                  <a:pt x="512425" y="964794"/>
                  <a:pt x="521842" y="964794"/>
                </a:cubicBezTo>
                <a:close/>
                <a:moveTo>
                  <a:pt x="963700" y="663635"/>
                </a:moveTo>
                <a:cubicBezTo>
                  <a:pt x="952495" y="663635"/>
                  <a:pt x="941289" y="669868"/>
                  <a:pt x="936308" y="679839"/>
                </a:cubicBezTo>
                <a:lnTo>
                  <a:pt x="936308" y="682332"/>
                </a:lnTo>
                <a:cubicBezTo>
                  <a:pt x="935063" y="682332"/>
                  <a:pt x="935063" y="683579"/>
                  <a:pt x="935063" y="683579"/>
                </a:cubicBezTo>
                <a:lnTo>
                  <a:pt x="933818" y="689811"/>
                </a:lnTo>
                <a:cubicBezTo>
                  <a:pt x="933818" y="691058"/>
                  <a:pt x="933818" y="691058"/>
                  <a:pt x="933818" y="692304"/>
                </a:cubicBezTo>
                <a:lnTo>
                  <a:pt x="933818" y="694797"/>
                </a:lnTo>
                <a:cubicBezTo>
                  <a:pt x="935063" y="707262"/>
                  <a:pt x="943779" y="718480"/>
                  <a:pt x="957475" y="720973"/>
                </a:cubicBezTo>
                <a:lnTo>
                  <a:pt x="1047122" y="739670"/>
                </a:lnTo>
                <a:lnTo>
                  <a:pt x="1040896" y="728452"/>
                </a:lnTo>
                <a:cubicBezTo>
                  <a:pt x="1030935" y="715987"/>
                  <a:pt x="1035916" y="698537"/>
                  <a:pt x="1048367" y="689811"/>
                </a:cubicBezTo>
                <a:lnTo>
                  <a:pt x="1059572" y="682332"/>
                </a:lnTo>
                <a:lnTo>
                  <a:pt x="968681" y="664882"/>
                </a:lnTo>
                <a:cubicBezTo>
                  <a:pt x="966191" y="663635"/>
                  <a:pt x="964946" y="663635"/>
                  <a:pt x="963700" y="663635"/>
                </a:cubicBezTo>
                <a:close/>
                <a:moveTo>
                  <a:pt x="627526" y="510319"/>
                </a:moveTo>
                <a:lnTo>
                  <a:pt x="560291" y="578875"/>
                </a:lnTo>
                <a:cubicBezTo>
                  <a:pt x="561536" y="582614"/>
                  <a:pt x="561536" y="586354"/>
                  <a:pt x="562781" y="590093"/>
                </a:cubicBezTo>
                <a:lnTo>
                  <a:pt x="657408" y="611283"/>
                </a:lnTo>
                <a:cubicBezTo>
                  <a:pt x="657408" y="606297"/>
                  <a:pt x="657408" y="601311"/>
                  <a:pt x="657408" y="597572"/>
                </a:cubicBezTo>
                <a:cubicBezTo>
                  <a:pt x="657408" y="565164"/>
                  <a:pt x="647447" y="535248"/>
                  <a:pt x="627526" y="510319"/>
                </a:cubicBezTo>
                <a:close/>
                <a:moveTo>
                  <a:pt x="519203" y="456720"/>
                </a:moveTo>
                <a:cubicBezTo>
                  <a:pt x="440762" y="456720"/>
                  <a:pt x="378508" y="520290"/>
                  <a:pt x="378508" y="597572"/>
                </a:cubicBezTo>
                <a:cubicBezTo>
                  <a:pt x="378508" y="674854"/>
                  <a:pt x="440762" y="738424"/>
                  <a:pt x="519203" y="738424"/>
                </a:cubicBezTo>
                <a:cubicBezTo>
                  <a:pt x="578967" y="738424"/>
                  <a:pt x="631261" y="697290"/>
                  <a:pt x="649938" y="642445"/>
                </a:cubicBezTo>
                <a:lnTo>
                  <a:pt x="556556" y="622502"/>
                </a:lnTo>
                <a:cubicBezTo>
                  <a:pt x="549085" y="634966"/>
                  <a:pt x="534144" y="642445"/>
                  <a:pt x="519203" y="642445"/>
                </a:cubicBezTo>
                <a:cubicBezTo>
                  <a:pt x="494301" y="642445"/>
                  <a:pt x="473135" y="622502"/>
                  <a:pt x="473135" y="597572"/>
                </a:cubicBezTo>
                <a:cubicBezTo>
                  <a:pt x="473135" y="572642"/>
                  <a:pt x="494301" y="552699"/>
                  <a:pt x="519203" y="552699"/>
                </a:cubicBezTo>
                <a:cubicBezTo>
                  <a:pt x="525428" y="552699"/>
                  <a:pt x="530409" y="553945"/>
                  <a:pt x="536634" y="556438"/>
                </a:cubicBezTo>
                <a:lnTo>
                  <a:pt x="603869" y="487882"/>
                </a:lnTo>
                <a:cubicBezTo>
                  <a:pt x="597644" y="481650"/>
                  <a:pt x="590173" y="476664"/>
                  <a:pt x="581458" y="472924"/>
                </a:cubicBezTo>
                <a:cubicBezTo>
                  <a:pt x="562781" y="461706"/>
                  <a:pt x="540370" y="456720"/>
                  <a:pt x="519203" y="456720"/>
                </a:cubicBezTo>
                <a:close/>
                <a:moveTo>
                  <a:pt x="750790" y="386918"/>
                </a:moveTo>
                <a:lnTo>
                  <a:pt x="651183" y="486636"/>
                </a:lnTo>
                <a:cubicBezTo>
                  <a:pt x="676084" y="516551"/>
                  <a:pt x="691026" y="556438"/>
                  <a:pt x="691026" y="597572"/>
                </a:cubicBezTo>
                <a:cubicBezTo>
                  <a:pt x="691026" y="603804"/>
                  <a:pt x="689780" y="611283"/>
                  <a:pt x="688535" y="617516"/>
                </a:cubicBezTo>
                <a:lnTo>
                  <a:pt x="827986" y="647431"/>
                </a:lnTo>
                <a:cubicBezTo>
                  <a:pt x="830476" y="631227"/>
                  <a:pt x="831721" y="615023"/>
                  <a:pt x="831721" y="597572"/>
                </a:cubicBezTo>
                <a:cubicBezTo>
                  <a:pt x="831721" y="516551"/>
                  <a:pt x="800594" y="443009"/>
                  <a:pt x="750790" y="386918"/>
                </a:cubicBezTo>
                <a:close/>
                <a:moveTo>
                  <a:pt x="519203" y="282214"/>
                </a:moveTo>
                <a:cubicBezTo>
                  <a:pt x="344890" y="282214"/>
                  <a:pt x="204195" y="424312"/>
                  <a:pt x="204195" y="597572"/>
                </a:cubicBezTo>
                <a:cubicBezTo>
                  <a:pt x="204195" y="770832"/>
                  <a:pt x="344890" y="911684"/>
                  <a:pt x="519203" y="911684"/>
                </a:cubicBezTo>
                <a:cubicBezTo>
                  <a:pt x="572897" y="911684"/>
                  <a:pt x="623615" y="897836"/>
                  <a:pt x="667942" y="873494"/>
                </a:cubicBezTo>
                <a:lnTo>
                  <a:pt x="668017" y="873444"/>
                </a:lnTo>
                <a:lnTo>
                  <a:pt x="710013" y="845776"/>
                </a:lnTo>
                <a:cubicBezTo>
                  <a:pt x="762929" y="804487"/>
                  <a:pt x="802461" y="746525"/>
                  <a:pt x="820515" y="679839"/>
                </a:cubicBezTo>
                <a:lnTo>
                  <a:pt x="807103" y="676936"/>
                </a:lnTo>
                <a:lnTo>
                  <a:pt x="682310" y="649924"/>
                </a:lnTo>
                <a:cubicBezTo>
                  <a:pt x="659898" y="719727"/>
                  <a:pt x="593908" y="770832"/>
                  <a:pt x="519203" y="770832"/>
                </a:cubicBezTo>
                <a:cubicBezTo>
                  <a:pt x="423331" y="770832"/>
                  <a:pt x="344890" y="693551"/>
                  <a:pt x="344890" y="597572"/>
                </a:cubicBezTo>
                <a:cubicBezTo>
                  <a:pt x="344890" y="501593"/>
                  <a:pt x="423331" y="424312"/>
                  <a:pt x="519203" y="424312"/>
                </a:cubicBezTo>
                <a:cubicBezTo>
                  <a:pt x="546595" y="424312"/>
                  <a:pt x="572742" y="430544"/>
                  <a:pt x="596399" y="443009"/>
                </a:cubicBezTo>
                <a:cubicBezTo>
                  <a:pt x="607604" y="449241"/>
                  <a:pt x="617565" y="456720"/>
                  <a:pt x="627526" y="464199"/>
                </a:cubicBezTo>
                <a:lnTo>
                  <a:pt x="728378" y="364481"/>
                </a:lnTo>
                <a:cubicBezTo>
                  <a:pt x="672349" y="313375"/>
                  <a:pt x="598889" y="282214"/>
                  <a:pt x="519203" y="282214"/>
                </a:cubicBezTo>
                <a:close/>
                <a:moveTo>
                  <a:pt x="872809" y="264763"/>
                </a:moveTo>
                <a:lnTo>
                  <a:pt x="774447" y="364481"/>
                </a:lnTo>
                <a:cubicBezTo>
                  <a:pt x="829231" y="425558"/>
                  <a:pt x="864093" y="507826"/>
                  <a:pt x="864093" y="597572"/>
                </a:cubicBezTo>
                <a:cubicBezTo>
                  <a:pt x="864093" y="617516"/>
                  <a:pt x="862848" y="636213"/>
                  <a:pt x="859113" y="653663"/>
                </a:cubicBezTo>
                <a:lnTo>
                  <a:pt x="907671" y="664882"/>
                </a:lnTo>
                <a:cubicBezTo>
                  <a:pt x="920122" y="639952"/>
                  <a:pt x="947514" y="626241"/>
                  <a:pt x="974906" y="632473"/>
                </a:cubicBezTo>
                <a:lnTo>
                  <a:pt x="1002298" y="637459"/>
                </a:lnTo>
                <a:cubicBezTo>
                  <a:pt x="1002298" y="623748"/>
                  <a:pt x="1003543" y="611283"/>
                  <a:pt x="1003543" y="597572"/>
                </a:cubicBezTo>
                <a:cubicBezTo>
                  <a:pt x="1003543" y="469185"/>
                  <a:pt x="953740" y="352016"/>
                  <a:pt x="872809" y="264763"/>
                </a:cubicBezTo>
                <a:close/>
                <a:moveTo>
                  <a:pt x="521842" y="129851"/>
                </a:moveTo>
                <a:cubicBezTo>
                  <a:pt x="528904" y="129851"/>
                  <a:pt x="537144" y="137306"/>
                  <a:pt x="537144" y="146004"/>
                </a:cubicBezTo>
                <a:lnTo>
                  <a:pt x="537144" y="215584"/>
                </a:lnTo>
                <a:cubicBezTo>
                  <a:pt x="537144" y="224281"/>
                  <a:pt x="528904" y="232978"/>
                  <a:pt x="521842" y="232978"/>
                </a:cubicBezTo>
                <a:cubicBezTo>
                  <a:pt x="512425" y="232978"/>
                  <a:pt x="505362" y="224281"/>
                  <a:pt x="505362" y="215584"/>
                </a:cubicBezTo>
                <a:lnTo>
                  <a:pt x="505362" y="146004"/>
                </a:lnTo>
                <a:cubicBezTo>
                  <a:pt x="505362" y="137306"/>
                  <a:pt x="512425" y="129851"/>
                  <a:pt x="521842" y="129851"/>
                </a:cubicBezTo>
                <a:close/>
                <a:moveTo>
                  <a:pt x="519203" y="110200"/>
                </a:moveTo>
                <a:cubicBezTo>
                  <a:pt x="250263" y="110200"/>
                  <a:pt x="32372" y="329580"/>
                  <a:pt x="32372" y="597572"/>
                </a:cubicBezTo>
                <a:cubicBezTo>
                  <a:pt x="32372" y="866811"/>
                  <a:pt x="250263" y="1083698"/>
                  <a:pt x="519203" y="1083698"/>
                </a:cubicBezTo>
                <a:cubicBezTo>
                  <a:pt x="724643" y="1083698"/>
                  <a:pt x="907671" y="954064"/>
                  <a:pt x="976151" y="758367"/>
                </a:cubicBezTo>
                <a:lnTo>
                  <a:pt x="951250" y="753382"/>
                </a:lnTo>
                <a:cubicBezTo>
                  <a:pt x="923858" y="748396"/>
                  <a:pt x="903936" y="724713"/>
                  <a:pt x="901446" y="697290"/>
                </a:cubicBezTo>
                <a:cubicBezTo>
                  <a:pt x="901446" y="697290"/>
                  <a:pt x="901446" y="697290"/>
                  <a:pt x="901446" y="696044"/>
                </a:cubicBezTo>
                <a:lnTo>
                  <a:pt x="852887" y="686072"/>
                </a:lnTo>
                <a:cubicBezTo>
                  <a:pt x="823939" y="797320"/>
                  <a:pt x="740363" y="887533"/>
                  <a:pt x="633148" y="925687"/>
                </a:cubicBezTo>
                <a:lnTo>
                  <a:pt x="630558" y="926370"/>
                </a:lnTo>
                <a:lnTo>
                  <a:pt x="577715" y="940282"/>
                </a:lnTo>
                <a:cubicBezTo>
                  <a:pt x="558676" y="943606"/>
                  <a:pt x="539125" y="945339"/>
                  <a:pt x="519203" y="945339"/>
                </a:cubicBezTo>
                <a:cubicBezTo>
                  <a:pt x="327459" y="945339"/>
                  <a:pt x="171823" y="789529"/>
                  <a:pt x="171823" y="597572"/>
                </a:cubicBezTo>
                <a:cubicBezTo>
                  <a:pt x="171823" y="405615"/>
                  <a:pt x="327459" y="249805"/>
                  <a:pt x="519203" y="249805"/>
                </a:cubicBezTo>
                <a:cubicBezTo>
                  <a:pt x="607604" y="249805"/>
                  <a:pt x="688535" y="284706"/>
                  <a:pt x="750790" y="340798"/>
                </a:cubicBezTo>
                <a:lnTo>
                  <a:pt x="849152" y="242326"/>
                </a:lnTo>
                <a:cubicBezTo>
                  <a:pt x="761996" y="160059"/>
                  <a:pt x="644957" y="110200"/>
                  <a:pt x="519203" y="110200"/>
                </a:cubicBezTo>
                <a:close/>
                <a:moveTo>
                  <a:pt x="1029690" y="46629"/>
                </a:moveTo>
                <a:lnTo>
                  <a:pt x="963700" y="112693"/>
                </a:lnTo>
                <a:cubicBezTo>
                  <a:pt x="953740" y="122665"/>
                  <a:pt x="952495" y="136376"/>
                  <a:pt x="958720" y="148841"/>
                </a:cubicBezTo>
                <a:lnTo>
                  <a:pt x="959965" y="150087"/>
                </a:lnTo>
                <a:cubicBezTo>
                  <a:pt x="959965" y="151334"/>
                  <a:pt x="959965" y="151334"/>
                  <a:pt x="959965" y="152580"/>
                </a:cubicBezTo>
                <a:lnTo>
                  <a:pt x="966191" y="156319"/>
                </a:lnTo>
                <a:cubicBezTo>
                  <a:pt x="966191" y="157566"/>
                  <a:pt x="966191" y="157566"/>
                  <a:pt x="967436" y="157566"/>
                </a:cubicBezTo>
                <a:lnTo>
                  <a:pt x="969926" y="158812"/>
                </a:lnTo>
                <a:cubicBezTo>
                  <a:pt x="981132" y="166291"/>
                  <a:pt x="996073" y="163798"/>
                  <a:pt x="1004788" y="153827"/>
                </a:cubicBezTo>
                <a:lnTo>
                  <a:pt x="1070778" y="89010"/>
                </a:lnTo>
                <a:lnTo>
                  <a:pt x="1057082" y="89010"/>
                </a:lnTo>
                <a:cubicBezTo>
                  <a:pt x="1042141" y="89010"/>
                  <a:pt x="1029690" y="76545"/>
                  <a:pt x="1029690" y="61587"/>
                </a:cubicBezTo>
                <a:close/>
                <a:moveTo>
                  <a:pt x="1034359" y="510"/>
                </a:moveTo>
                <a:cubicBezTo>
                  <a:pt x="1038406" y="-425"/>
                  <a:pt x="1042764" y="-113"/>
                  <a:pt x="1047122" y="1756"/>
                </a:cubicBezTo>
                <a:cubicBezTo>
                  <a:pt x="1055837" y="5496"/>
                  <a:pt x="1062063" y="12974"/>
                  <a:pt x="1062063" y="22946"/>
                </a:cubicBezTo>
                <a:lnTo>
                  <a:pt x="1062063" y="56601"/>
                </a:lnTo>
                <a:lnTo>
                  <a:pt x="1094435" y="56601"/>
                </a:lnTo>
                <a:cubicBezTo>
                  <a:pt x="1103151" y="56601"/>
                  <a:pt x="1111866" y="61587"/>
                  <a:pt x="1115602" y="70313"/>
                </a:cubicBezTo>
                <a:cubicBezTo>
                  <a:pt x="1119337" y="77791"/>
                  <a:pt x="1116847" y="87763"/>
                  <a:pt x="1110621" y="95242"/>
                </a:cubicBezTo>
                <a:lnTo>
                  <a:pt x="1028445" y="177510"/>
                </a:lnTo>
                <a:cubicBezTo>
                  <a:pt x="1015994" y="188728"/>
                  <a:pt x="1001053" y="194960"/>
                  <a:pt x="984867" y="194960"/>
                </a:cubicBezTo>
                <a:cubicBezTo>
                  <a:pt x="974906" y="194960"/>
                  <a:pt x="963700" y="193714"/>
                  <a:pt x="953740" y="187481"/>
                </a:cubicBezTo>
                <a:cubicBezTo>
                  <a:pt x="952495" y="187481"/>
                  <a:pt x="952495" y="186235"/>
                  <a:pt x="951250" y="186235"/>
                </a:cubicBezTo>
                <a:lnTo>
                  <a:pt x="895220" y="242326"/>
                </a:lnTo>
                <a:cubicBezTo>
                  <a:pt x="982377" y="334566"/>
                  <a:pt x="1035916" y="460460"/>
                  <a:pt x="1035916" y="597572"/>
                </a:cubicBezTo>
                <a:cubicBezTo>
                  <a:pt x="1035916" y="613776"/>
                  <a:pt x="1035916" y="628734"/>
                  <a:pt x="1033426" y="643692"/>
                </a:cubicBezTo>
                <a:lnTo>
                  <a:pt x="1090700" y="654910"/>
                </a:lnTo>
                <a:cubicBezTo>
                  <a:pt x="1098170" y="656156"/>
                  <a:pt x="1105641" y="663635"/>
                  <a:pt x="1108131" y="672361"/>
                </a:cubicBezTo>
                <a:cubicBezTo>
                  <a:pt x="1109376" y="682332"/>
                  <a:pt x="1105641" y="691058"/>
                  <a:pt x="1098170" y="696044"/>
                </a:cubicBezTo>
                <a:lnTo>
                  <a:pt x="1070778" y="714741"/>
                </a:lnTo>
                <a:lnTo>
                  <a:pt x="1088210" y="742163"/>
                </a:lnTo>
                <a:cubicBezTo>
                  <a:pt x="1094435" y="749642"/>
                  <a:pt x="1094435" y="759614"/>
                  <a:pt x="1088210" y="767093"/>
                </a:cubicBezTo>
                <a:cubicBezTo>
                  <a:pt x="1084474" y="773325"/>
                  <a:pt x="1077004" y="777065"/>
                  <a:pt x="1070778" y="777065"/>
                </a:cubicBezTo>
                <a:cubicBezTo>
                  <a:pt x="1068288" y="777065"/>
                  <a:pt x="1067043" y="777065"/>
                  <a:pt x="1065798" y="777065"/>
                </a:cubicBezTo>
                <a:lnTo>
                  <a:pt x="1008524" y="765846"/>
                </a:lnTo>
                <a:cubicBezTo>
                  <a:pt x="937554" y="976501"/>
                  <a:pt x="739584" y="1117352"/>
                  <a:pt x="519203" y="1117352"/>
                </a:cubicBezTo>
                <a:cubicBezTo>
                  <a:pt x="232832" y="1117352"/>
                  <a:pt x="0" y="884262"/>
                  <a:pt x="0" y="597572"/>
                </a:cubicBezTo>
                <a:cubicBezTo>
                  <a:pt x="0" y="310882"/>
                  <a:pt x="232832" y="77791"/>
                  <a:pt x="519203" y="77791"/>
                </a:cubicBezTo>
                <a:cubicBezTo>
                  <a:pt x="654918" y="77791"/>
                  <a:pt x="779427" y="131390"/>
                  <a:pt x="872809" y="218643"/>
                </a:cubicBezTo>
                <a:lnTo>
                  <a:pt x="930083" y="161305"/>
                </a:lnTo>
                <a:cubicBezTo>
                  <a:pt x="917632" y="137622"/>
                  <a:pt x="921367" y="108953"/>
                  <a:pt x="940044" y="89010"/>
                </a:cubicBezTo>
                <a:lnTo>
                  <a:pt x="1023465" y="6742"/>
                </a:lnTo>
                <a:cubicBezTo>
                  <a:pt x="1026578" y="3626"/>
                  <a:pt x="1030313" y="1445"/>
                  <a:pt x="1034359" y="510"/>
                </a:cubicBezTo>
                <a:close/>
              </a:path>
            </a:pathLst>
          </a:custGeom>
          <a:solidFill>
            <a:schemeClr val="tx2"/>
          </a:solidFill>
          <a:ln>
            <a:noFill/>
          </a:ln>
          <a:effectLst/>
        </p:spPr>
        <p:txBody>
          <a:bodyPr wrap="square" anchor="ctr">
            <a:noAutofit/>
          </a:bodyPr>
          <a:lstStyle/>
          <a:p>
            <a:endParaRPr lang="en-US" dirty="0"/>
          </a:p>
        </p:txBody>
      </p:sp>
      <p:sp>
        <p:nvSpPr>
          <p:cNvPr id="24" name="Freeform 32">
            <a:extLst>
              <a:ext uri="{FF2B5EF4-FFF2-40B4-BE49-F238E27FC236}">
                <a16:creationId xmlns:a16="http://schemas.microsoft.com/office/drawing/2014/main" id="{A80C200E-E1FB-C086-04AA-3C7BBDB29D10}"/>
              </a:ext>
            </a:extLst>
          </p:cNvPr>
          <p:cNvSpPr>
            <a:spLocks noChangeArrowheads="1"/>
          </p:cNvSpPr>
          <p:nvPr/>
        </p:nvSpPr>
        <p:spPr bwMode="auto">
          <a:xfrm>
            <a:off x="10066352" y="3938996"/>
            <a:ext cx="625585" cy="625581"/>
          </a:xfrm>
          <a:custGeom>
            <a:avLst/>
            <a:gdLst>
              <a:gd name="connsiteX0" fmla="*/ 762924 w 1251170"/>
              <a:gd name="connsiteY0" fmla="*/ 1016214 h 1251162"/>
              <a:gd name="connsiteX1" fmla="*/ 778794 w 1251170"/>
              <a:gd name="connsiteY1" fmla="*/ 1032547 h 1251162"/>
              <a:gd name="connsiteX2" fmla="*/ 778794 w 1251170"/>
              <a:gd name="connsiteY2" fmla="*/ 1234824 h 1251162"/>
              <a:gd name="connsiteX3" fmla="*/ 762924 w 1251170"/>
              <a:gd name="connsiteY3" fmla="*/ 1251157 h 1251162"/>
              <a:gd name="connsiteX4" fmla="*/ 747056 w 1251170"/>
              <a:gd name="connsiteY4" fmla="*/ 1234824 h 1251162"/>
              <a:gd name="connsiteX5" fmla="*/ 747056 w 1251170"/>
              <a:gd name="connsiteY5" fmla="*/ 1032547 h 1251162"/>
              <a:gd name="connsiteX6" fmla="*/ 762924 w 1251170"/>
              <a:gd name="connsiteY6" fmla="*/ 1016214 h 1251162"/>
              <a:gd name="connsiteX7" fmla="*/ 482782 w 1251170"/>
              <a:gd name="connsiteY7" fmla="*/ 1016214 h 1251162"/>
              <a:gd name="connsiteX8" fmla="*/ 498650 w 1251170"/>
              <a:gd name="connsiteY8" fmla="*/ 1032547 h 1251162"/>
              <a:gd name="connsiteX9" fmla="*/ 498650 w 1251170"/>
              <a:gd name="connsiteY9" fmla="*/ 1234824 h 1251162"/>
              <a:gd name="connsiteX10" fmla="*/ 482782 w 1251170"/>
              <a:gd name="connsiteY10" fmla="*/ 1251157 h 1251162"/>
              <a:gd name="connsiteX11" fmla="*/ 466912 w 1251170"/>
              <a:gd name="connsiteY11" fmla="*/ 1234824 h 1251162"/>
              <a:gd name="connsiteX12" fmla="*/ 466912 w 1251170"/>
              <a:gd name="connsiteY12" fmla="*/ 1032547 h 1251162"/>
              <a:gd name="connsiteX13" fmla="*/ 482782 w 1251170"/>
              <a:gd name="connsiteY13" fmla="*/ 1016214 h 1251162"/>
              <a:gd name="connsiteX14" fmla="*/ 467394 w 1251170"/>
              <a:gd name="connsiteY14" fmla="*/ 829451 h 1251162"/>
              <a:gd name="connsiteX15" fmla="*/ 783774 w 1251170"/>
              <a:gd name="connsiteY15" fmla="*/ 829451 h 1251162"/>
              <a:gd name="connsiteX16" fmla="*/ 899614 w 1251170"/>
              <a:gd name="connsiteY16" fmla="*/ 945828 h 1251162"/>
              <a:gd name="connsiteX17" fmla="*/ 899614 w 1251170"/>
              <a:gd name="connsiteY17" fmla="*/ 1234894 h 1251162"/>
              <a:gd name="connsiteX18" fmla="*/ 883420 w 1251170"/>
              <a:gd name="connsiteY18" fmla="*/ 1251162 h 1251162"/>
              <a:gd name="connsiteX19" fmla="*/ 867228 w 1251170"/>
              <a:gd name="connsiteY19" fmla="*/ 1234894 h 1251162"/>
              <a:gd name="connsiteX20" fmla="*/ 867228 w 1251170"/>
              <a:gd name="connsiteY20" fmla="*/ 945828 h 1251162"/>
              <a:gd name="connsiteX21" fmla="*/ 783774 w 1251170"/>
              <a:gd name="connsiteY21" fmla="*/ 860735 h 1251162"/>
              <a:gd name="connsiteX22" fmla="*/ 467394 w 1251170"/>
              <a:gd name="connsiteY22" fmla="*/ 860735 h 1251162"/>
              <a:gd name="connsiteX23" fmla="*/ 383940 w 1251170"/>
              <a:gd name="connsiteY23" fmla="*/ 945828 h 1251162"/>
              <a:gd name="connsiteX24" fmla="*/ 383940 w 1251170"/>
              <a:gd name="connsiteY24" fmla="*/ 1234894 h 1251162"/>
              <a:gd name="connsiteX25" fmla="*/ 367748 w 1251170"/>
              <a:gd name="connsiteY25" fmla="*/ 1251162 h 1251162"/>
              <a:gd name="connsiteX26" fmla="*/ 351556 w 1251170"/>
              <a:gd name="connsiteY26" fmla="*/ 1234894 h 1251162"/>
              <a:gd name="connsiteX27" fmla="*/ 351556 w 1251170"/>
              <a:gd name="connsiteY27" fmla="*/ 945828 h 1251162"/>
              <a:gd name="connsiteX28" fmla="*/ 467394 w 1251170"/>
              <a:gd name="connsiteY28" fmla="*/ 829451 h 1251162"/>
              <a:gd name="connsiteX29" fmla="*/ 622834 w 1251170"/>
              <a:gd name="connsiteY29" fmla="*/ 533786 h 1251162"/>
              <a:gd name="connsiteX30" fmla="*/ 517310 w 1251170"/>
              <a:gd name="connsiteY30" fmla="*/ 639311 h 1251162"/>
              <a:gd name="connsiteX31" fmla="*/ 622834 w 1251170"/>
              <a:gd name="connsiteY31" fmla="*/ 744837 h 1251162"/>
              <a:gd name="connsiteX32" fmla="*/ 728360 w 1251170"/>
              <a:gd name="connsiteY32" fmla="*/ 639311 h 1251162"/>
              <a:gd name="connsiteX33" fmla="*/ 670572 w 1251170"/>
              <a:gd name="connsiteY33" fmla="*/ 545092 h 1251162"/>
              <a:gd name="connsiteX34" fmla="*/ 622834 w 1251170"/>
              <a:gd name="connsiteY34" fmla="*/ 533786 h 1251162"/>
              <a:gd name="connsiteX35" fmla="*/ 622834 w 1251170"/>
              <a:gd name="connsiteY35" fmla="*/ 499867 h 1251162"/>
              <a:gd name="connsiteX36" fmla="*/ 686904 w 1251170"/>
              <a:gd name="connsiteY36" fmla="*/ 516198 h 1251162"/>
              <a:gd name="connsiteX37" fmla="*/ 762280 w 1251170"/>
              <a:gd name="connsiteY37" fmla="*/ 639311 h 1251162"/>
              <a:gd name="connsiteX38" fmla="*/ 622834 w 1251170"/>
              <a:gd name="connsiteY38" fmla="*/ 778756 h 1251162"/>
              <a:gd name="connsiteX39" fmla="*/ 483390 w 1251170"/>
              <a:gd name="connsiteY39" fmla="*/ 639311 h 1251162"/>
              <a:gd name="connsiteX40" fmla="*/ 622834 w 1251170"/>
              <a:gd name="connsiteY40" fmla="*/ 499867 h 1251162"/>
              <a:gd name="connsiteX41" fmla="*/ 641752 w 1251170"/>
              <a:gd name="connsiteY41" fmla="*/ 113474 h 1251162"/>
              <a:gd name="connsiteX42" fmla="*/ 641752 w 1251170"/>
              <a:gd name="connsiteY42" fmla="*/ 265604 h 1251162"/>
              <a:gd name="connsiteX43" fmla="*/ 996210 w 1251170"/>
              <a:gd name="connsiteY43" fmla="*/ 620990 h 1251162"/>
              <a:gd name="connsiteX44" fmla="*/ 1146698 w 1251170"/>
              <a:gd name="connsiteY44" fmla="*/ 620990 h 1251162"/>
              <a:gd name="connsiteX45" fmla="*/ 641752 w 1251170"/>
              <a:gd name="connsiteY45" fmla="*/ 113474 h 1251162"/>
              <a:gd name="connsiteX46" fmla="*/ 609416 w 1251170"/>
              <a:gd name="connsiteY46" fmla="*/ 113474 h 1251162"/>
              <a:gd name="connsiteX47" fmla="*/ 103226 w 1251170"/>
              <a:gd name="connsiteY47" fmla="*/ 620990 h 1251162"/>
              <a:gd name="connsiteX48" fmla="*/ 254960 w 1251170"/>
              <a:gd name="connsiteY48" fmla="*/ 620990 h 1251162"/>
              <a:gd name="connsiteX49" fmla="*/ 609416 w 1251170"/>
              <a:gd name="connsiteY49" fmla="*/ 265604 h 1251162"/>
              <a:gd name="connsiteX50" fmla="*/ 625584 w 1251170"/>
              <a:gd name="connsiteY50" fmla="*/ 0 h 1251162"/>
              <a:gd name="connsiteX51" fmla="*/ 641752 w 1251170"/>
              <a:gd name="connsiteY51" fmla="*/ 16210 h 1251162"/>
              <a:gd name="connsiteX52" fmla="*/ 641752 w 1251170"/>
              <a:gd name="connsiteY52" fmla="*/ 81053 h 1251162"/>
              <a:gd name="connsiteX53" fmla="*/ 1180278 w 1251170"/>
              <a:gd name="connsiteY53" fmla="*/ 620990 h 1251162"/>
              <a:gd name="connsiteX54" fmla="*/ 1233758 w 1251170"/>
              <a:gd name="connsiteY54" fmla="*/ 620990 h 1251162"/>
              <a:gd name="connsiteX55" fmla="*/ 1251170 w 1251170"/>
              <a:gd name="connsiteY55" fmla="*/ 638448 h 1251162"/>
              <a:gd name="connsiteX56" fmla="*/ 1233758 w 1251170"/>
              <a:gd name="connsiteY56" fmla="*/ 654659 h 1251162"/>
              <a:gd name="connsiteX57" fmla="*/ 1180278 w 1251170"/>
              <a:gd name="connsiteY57" fmla="*/ 654659 h 1251162"/>
              <a:gd name="connsiteX58" fmla="*/ 981286 w 1251170"/>
              <a:gd name="connsiteY58" fmla="*/ 1064911 h 1251162"/>
              <a:gd name="connsiteX59" fmla="*/ 958898 w 1251170"/>
              <a:gd name="connsiteY59" fmla="*/ 1062417 h 1251162"/>
              <a:gd name="connsiteX60" fmla="*/ 960142 w 1251170"/>
              <a:gd name="connsiteY60" fmla="*/ 1038725 h 1251162"/>
              <a:gd name="connsiteX61" fmla="*/ 1146698 w 1251170"/>
              <a:gd name="connsiteY61" fmla="*/ 654659 h 1251162"/>
              <a:gd name="connsiteX62" fmla="*/ 996210 w 1251170"/>
              <a:gd name="connsiteY62" fmla="*/ 654659 h 1251162"/>
              <a:gd name="connsiteX63" fmla="*/ 950192 w 1251170"/>
              <a:gd name="connsiteY63" fmla="*/ 818011 h 1251162"/>
              <a:gd name="connsiteX64" fmla="*/ 935268 w 1251170"/>
              <a:gd name="connsiteY64" fmla="*/ 826740 h 1251162"/>
              <a:gd name="connsiteX65" fmla="*/ 927806 w 1251170"/>
              <a:gd name="connsiteY65" fmla="*/ 824246 h 1251162"/>
              <a:gd name="connsiteX66" fmla="*/ 921588 w 1251170"/>
              <a:gd name="connsiteY66" fmla="*/ 801801 h 1251162"/>
              <a:gd name="connsiteX67" fmla="*/ 962630 w 1251170"/>
              <a:gd name="connsiteY67" fmla="*/ 654659 h 1251162"/>
              <a:gd name="connsiteX68" fmla="*/ 851940 w 1251170"/>
              <a:gd name="connsiteY68" fmla="*/ 654659 h 1251162"/>
              <a:gd name="connsiteX69" fmla="*/ 835772 w 1251170"/>
              <a:gd name="connsiteY69" fmla="*/ 638448 h 1251162"/>
              <a:gd name="connsiteX70" fmla="*/ 851940 w 1251170"/>
              <a:gd name="connsiteY70" fmla="*/ 620990 h 1251162"/>
              <a:gd name="connsiteX71" fmla="*/ 962630 w 1251170"/>
              <a:gd name="connsiteY71" fmla="*/ 620990 h 1251162"/>
              <a:gd name="connsiteX72" fmla="*/ 641752 w 1251170"/>
              <a:gd name="connsiteY72" fmla="*/ 299272 h 1251162"/>
              <a:gd name="connsiteX73" fmla="*/ 641752 w 1251170"/>
              <a:gd name="connsiteY73" fmla="*/ 412747 h 1251162"/>
              <a:gd name="connsiteX74" fmla="*/ 625584 w 1251170"/>
              <a:gd name="connsiteY74" fmla="*/ 430204 h 1251162"/>
              <a:gd name="connsiteX75" fmla="*/ 609416 w 1251170"/>
              <a:gd name="connsiteY75" fmla="*/ 412747 h 1251162"/>
              <a:gd name="connsiteX76" fmla="*/ 609416 w 1251170"/>
              <a:gd name="connsiteY76" fmla="*/ 299272 h 1251162"/>
              <a:gd name="connsiteX77" fmla="*/ 287296 w 1251170"/>
              <a:gd name="connsiteY77" fmla="*/ 620990 h 1251162"/>
              <a:gd name="connsiteX78" fmla="*/ 399230 w 1251170"/>
              <a:gd name="connsiteY78" fmla="*/ 620990 h 1251162"/>
              <a:gd name="connsiteX79" fmla="*/ 415398 w 1251170"/>
              <a:gd name="connsiteY79" fmla="*/ 638448 h 1251162"/>
              <a:gd name="connsiteX80" fmla="*/ 399230 w 1251170"/>
              <a:gd name="connsiteY80" fmla="*/ 654659 h 1251162"/>
              <a:gd name="connsiteX81" fmla="*/ 287296 w 1251170"/>
              <a:gd name="connsiteY81" fmla="*/ 654659 h 1251162"/>
              <a:gd name="connsiteX82" fmla="*/ 329582 w 1251170"/>
              <a:gd name="connsiteY82" fmla="*/ 801801 h 1251162"/>
              <a:gd name="connsiteX83" fmla="*/ 323364 w 1251170"/>
              <a:gd name="connsiteY83" fmla="*/ 824246 h 1251162"/>
              <a:gd name="connsiteX84" fmla="*/ 300976 w 1251170"/>
              <a:gd name="connsiteY84" fmla="*/ 816764 h 1251162"/>
              <a:gd name="connsiteX85" fmla="*/ 256204 w 1251170"/>
              <a:gd name="connsiteY85" fmla="*/ 654659 h 1251162"/>
              <a:gd name="connsiteX86" fmla="*/ 103226 w 1251170"/>
              <a:gd name="connsiteY86" fmla="*/ 654659 h 1251162"/>
              <a:gd name="connsiteX87" fmla="*/ 292270 w 1251170"/>
              <a:gd name="connsiteY87" fmla="*/ 1039972 h 1251162"/>
              <a:gd name="connsiteX88" fmla="*/ 293514 w 1251170"/>
              <a:gd name="connsiteY88" fmla="*/ 1062417 h 1251162"/>
              <a:gd name="connsiteX89" fmla="*/ 281078 w 1251170"/>
              <a:gd name="connsiteY89" fmla="*/ 1068652 h 1251162"/>
              <a:gd name="connsiteX90" fmla="*/ 271128 w 1251170"/>
              <a:gd name="connsiteY90" fmla="*/ 1064911 h 1251162"/>
              <a:gd name="connsiteX91" fmla="*/ 70890 w 1251170"/>
              <a:gd name="connsiteY91" fmla="*/ 654659 h 1251162"/>
              <a:gd name="connsiteX92" fmla="*/ 17410 w 1251170"/>
              <a:gd name="connsiteY92" fmla="*/ 654659 h 1251162"/>
              <a:gd name="connsiteX93" fmla="*/ 0 w 1251170"/>
              <a:gd name="connsiteY93" fmla="*/ 638448 h 1251162"/>
              <a:gd name="connsiteX94" fmla="*/ 17410 w 1251170"/>
              <a:gd name="connsiteY94" fmla="*/ 620990 h 1251162"/>
              <a:gd name="connsiteX95" fmla="*/ 70890 w 1251170"/>
              <a:gd name="connsiteY95" fmla="*/ 620990 h 1251162"/>
              <a:gd name="connsiteX96" fmla="*/ 609416 w 1251170"/>
              <a:gd name="connsiteY96" fmla="*/ 81053 h 1251162"/>
              <a:gd name="connsiteX97" fmla="*/ 609416 w 1251170"/>
              <a:gd name="connsiteY97" fmla="*/ 16210 h 1251162"/>
              <a:gd name="connsiteX98" fmla="*/ 625584 w 1251170"/>
              <a:gd name="connsiteY98" fmla="*/ 0 h 12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51170" h="1251162">
                <a:moveTo>
                  <a:pt x="762924" y="1016214"/>
                </a:moveTo>
                <a:cubicBezTo>
                  <a:pt x="771470" y="1016214"/>
                  <a:pt x="778794" y="1023752"/>
                  <a:pt x="778794" y="1032547"/>
                </a:cubicBezTo>
                <a:lnTo>
                  <a:pt x="778794" y="1234824"/>
                </a:lnTo>
                <a:cubicBezTo>
                  <a:pt x="778794" y="1243618"/>
                  <a:pt x="771470" y="1251157"/>
                  <a:pt x="762924" y="1251157"/>
                </a:cubicBezTo>
                <a:cubicBezTo>
                  <a:pt x="754380" y="1251157"/>
                  <a:pt x="747056" y="1243618"/>
                  <a:pt x="747056" y="1234824"/>
                </a:cubicBezTo>
                <a:lnTo>
                  <a:pt x="747056" y="1032547"/>
                </a:lnTo>
                <a:cubicBezTo>
                  <a:pt x="747056" y="1023752"/>
                  <a:pt x="754380" y="1016214"/>
                  <a:pt x="762924" y="1016214"/>
                </a:cubicBezTo>
                <a:close/>
                <a:moveTo>
                  <a:pt x="482782" y="1016214"/>
                </a:moveTo>
                <a:cubicBezTo>
                  <a:pt x="491326" y="1016214"/>
                  <a:pt x="498650" y="1023752"/>
                  <a:pt x="498650" y="1032547"/>
                </a:cubicBezTo>
                <a:lnTo>
                  <a:pt x="498650" y="1234824"/>
                </a:lnTo>
                <a:cubicBezTo>
                  <a:pt x="498650" y="1243618"/>
                  <a:pt x="491326" y="1251157"/>
                  <a:pt x="482782" y="1251157"/>
                </a:cubicBezTo>
                <a:cubicBezTo>
                  <a:pt x="474236" y="1251157"/>
                  <a:pt x="466912" y="1243618"/>
                  <a:pt x="466912" y="1234824"/>
                </a:cubicBezTo>
                <a:lnTo>
                  <a:pt x="466912" y="1032547"/>
                </a:lnTo>
                <a:cubicBezTo>
                  <a:pt x="466912" y="1023752"/>
                  <a:pt x="474236" y="1016214"/>
                  <a:pt x="482782" y="1016214"/>
                </a:cubicBezTo>
                <a:close/>
                <a:moveTo>
                  <a:pt x="467394" y="829451"/>
                </a:moveTo>
                <a:lnTo>
                  <a:pt x="783774" y="829451"/>
                </a:lnTo>
                <a:cubicBezTo>
                  <a:pt x="847298" y="829451"/>
                  <a:pt x="899614" y="880757"/>
                  <a:pt x="899614" y="945828"/>
                </a:cubicBezTo>
                <a:lnTo>
                  <a:pt x="899614" y="1234894"/>
                </a:lnTo>
                <a:cubicBezTo>
                  <a:pt x="899614" y="1243653"/>
                  <a:pt x="893386" y="1251162"/>
                  <a:pt x="883420" y="1251162"/>
                </a:cubicBezTo>
                <a:cubicBezTo>
                  <a:pt x="874702" y="1251162"/>
                  <a:pt x="867228" y="1243653"/>
                  <a:pt x="867228" y="1234894"/>
                </a:cubicBezTo>
                <a:lnTo>
                  <a:pt x="867228" y="945828"/>
                </a:lnTo>
                <a:cubicBezTo>
                  <a:pt x="867228" y="899528"/>
                  <a:pt x="829860" y="860735"/>
                  <a:pt x="783774" y="860735"/>
                </a:cubicBezTo>
                <a:lnTo>
                  <a:pt x="467394" y="860735"/>
                </a:lnTo>
                <a:cubicBezTo>
                  <a:pt x="421308" y="860735"/>
                  <a:pt x="383940" y="899528"/>
                  <a:pt x="383940" y="945828"/>
                </a:cubicBezTo>
                <a:lnTo>
                  <a:pt x="383940" y="1234894"/>
                </a:lnTo>
                <a:cubicBezTo>
                  <a:pt x="383940" y="1243653"/>
                  <a:pt x="376466" y="1251162"/>
                  <a:pt x="367748" y="1251162"/>
                </a:cubicBezTo>
                <a:cubicBezTo>
                  <a:pt x="359028" y="1251162"/>
                  <a:pt x="351556" y="1243653"/>
                  <a:pt x="351556" y="1234894"/>
                </a:cubicBezTo>
                <a:lnTo>
                  <a:pt x="351556" y="945828"/>
                </a:lnTo>
                <a:cubicBezTo>
                  <a:pt x="351556" y="880757"/>
                  <a:pt x="403870" y="829451"/>
                  <a:pt x="467394" y="829451"/>
                </a:cubicBezTo>
                <a:close/>
                <a:moveTo>
                  <a:pt x="622834" y="533786"/>
                </a:moveTo>
                <a:cubicBezTo>
                  <a:pt x="563790" y="533786"/>
                  <a:pt x="517310" y="580267"/>
                  <a:pt x="517310" y="639311"/>
                </a:cubicBezTo>
                <a:cubicBezTo>
                  <a:pt x="517310" y="697099"/>
                  <a:pt x="563790" y="744837"/>
                  <a:pt x="622834" y="744837"/>
                </a:cubicBezTo>
                <a:cubicBezTo>
                  <a:pt x="680622" y="744837"/>
                  <a:pt x="728360" y="697099"/>
                  <a:pt x="728360" y="639311"/>
                </a:cubicBezTo>
                <a:cubicBezTo>
                  <a:pt x="728360" y="599111"/>
                  <a:pt x="707004" y="563936"/>
                  <a:pt x="670572" y="545092"/>
                </a:cubicBezTo>
                <a:cubicBezTo>
                  <a:pt x="656754" y="537555"/>
                  <a:pt x="639166" y="533786"/>
                  <a:pt x="622834" y="533786"/>
                </a:cubicBezTo>
                <a:close/>
                <a:moveTo>
                  <a:pt x="622834" y="499867"/>
                </a:moveTo>
                <a:cubicBezTo>
                  <a:pt x="645448" y="499867"/>
                  <a:pt x="666804" y="506148"/>
                  <a:pt x="686904" y="516198"/>
                </a:cubicBezTo>
                <a:cubicBezTo>
                  <a:pt x="732130" y="540067"/>
                  <a:pt x="762280" y="586549"/>
                  <a:pt x="762280" y="639311"/>
                </a:cubicBezTo>
                <a:cubicBezTo>
                  <a:pt x="762280" y="715943"/>
                  <a:pt x="699466" y="778756"/>
                  <a:pt x="622834" y="778756"/>
                </a:cubicBezTo>
                <a:cubicBezTo>
                  <a:pt x="546204" y="778756"/>
                  <a:pt x="483390" y="715943"/>
                  <a:pt x="483390" y="639311"/>
                </a:cubicBezTo>
                <a:cubicBezTo>
                  <a:pt x="483390" y="562680"/>
                  <a:pt x="546204" y="499867"/>
                  <a:pt x="622834" y="499867"/>
                </a:cubicBezTo>
                <a:close/>
                <a:moveTo>
                  <a:pt x="641752" y="113474"/>
                </a:moveTo>
                <a:lnTo>
                  <a:pt x="641752" y="265604"/>
                </a:lnTo>
                <a:cubicBezTo>
                  <a:pt x="833284" y="274333"/>
                  <a:pt x="987504" y="428957"/>
                  <a:pt x="996210" y="620990"/>
                </a:cubicBezTo>
                <a:lnTo>
                  <a:pt x="1146698" y="620990"/>
                </a:lnTo>
                <a:cubicBezTo>
                  <a:pt x="1139236" y="345410"/>
                  <a:pt x="916612" y="122203"/>
                  <a:pt x="641752" y="113474"/>
                </a:cubicBezTo>
                <a:close/>
                <a:moveTo>
                  <a:pt x="609416" y="113474"/>
                </a:moveTo>
                <a:cubicBezTo>
                  <a:pt x="334556" y="122203"/>
                  <a:pt x="111932" y="345410"/>
                  <a:pt x="103226" y="620990"/>
                </a:cubicBezTo>
                <a:lnTo>
                  <a:pt x="254960" y="620990"/>
                </a:lnTo>
                <a:cubicBezTo>
                  <a:pt x="263666" y="428957"/>
                  <a:pt x="417886" y="274333"/>
                  <a:pt x="609416" y="265604"/>
                </a:cubicBezTo>
                <a:close/>
                <a:moveTo>
                  <a:pt x="625584" y="0"/>
                </a:moveTo>
                <a:cubicBezTo>
                  <a:pt x="634290" y="0"/>
                  <a:pt x="641752" y="7482"/>
                  <a:pt x="641752" y="16210"/>
                </a:cubicBezTo>
                <a:lnTo>
                  <a:pt x="641752" y="81053"/>
                </a:lnTo>
                <a:cubicBezTo>
                  <a:pt x="935268" y="89781"/>
                  <a:pt x="1171572" y="327953"/>
                  <a:pt x="1180278" y="620990"/>
                </a:cubicBezTo>
                <a:lnTo>
                  <a:pt x="1233758" y="620990"/>
                </a:lnTo>
                <a:cubicBezTo>
                  <a:pt x="1243708" y="620990"/>
                  <a:pt x="1251170" y="628472"/>
                  <a:pt x="1251170" y="638448"/>
                </a:cubicBezTo>
                <a:cubicBezTo>
                  <a:pt x="1251170" y="647177"/>
                  <a:pt x="1243708" y="654659"/>
                  <a:pt x="1233758" y="654659"/>
                </a:cubicBezTo>
                <a:lnTo>
                  <a:pt x="1180278" y="654659"/>
                </a:lnTo>
                <a:cubicBezTo>
                  <a:pt x="1175304" y="813023"/>
                  <a:pt x="1103168" y="961413"/>
                  <a:pt x="981286" y="1064911"/>
                </a:cubicBezTo>
                <a:cubicBezTo>
                  <a:pt x="975066" y="1069899"/>
                  <a:pt x="963874" y="1068652"/>
                  <a:pt x="958898" y="1062417"/>
                </a:cubicBezTo>
                <a:cubicBezTo>
                  <a:pt x="952680" y="1054935"/>
                  <a:pt x="952680" y="1044960"/>
                  <a:pt x="960142" y="1038725"/>
                </a:cubicBezTo>
                <a:cubicBezTo>
                  <a:pt x="1074564" y="942708"/>
                  <a:pt x="1142968" y="803048"/>
                  <a:pt x="1146698" y="654659"/>
                </a:cubicBezTo>
                <a:lnTo>
                  <a:pt x="996210" y="654659"/>
                </a:lnTo>
                <a:cubicBezTo>
                  <a:pt x="992478" y="710772"/>
                  <a:pt x="977554" y="768133"/>
                  <a:pt x="950192" y="818011"/>
                </a:cubicBezTo>
                <a:cubicBezTo>
                  <a:pt x="946462" y="822999"/>
                  <a:pt x="941486" y="826740"/>
                  <a:pt x="935268" y="826740"/>
                </a:cubicBezTo>
                <a:cubicBezTo>
                  <a:pt x="932780" y="826740"/>
                  <a:pt x="930294" y="825493"/>
                  <a:pt x="927806" y="824246"/>
                </a:cubicBezTo>
                <a:cubicBezTo>
                  <a:pt x="920344" y="819258"/>
                  <a:pt x="916612" y="809283"/>
                  <a:pt x="921588" y="801801"/>
                </a:cubicBezTo>
                <a:cubicBezTo>
                  <a:pt x="946462" y="756910"/>
                  <a:pt x="960142" y="705784"/>
                  <a:pt x="962630" y="654659"/>
                </a:cubicBezTo>
                <a:lnTo>
                  <a:pt x="851940" y="654659"/>
                </a:lnTo>
                <a:cubicBezTo>
                  <a:pt x="843234" y="654659"/>
                  <a:pt x="835772" y="647177"/>
                  <a:pt x="835772" y="638448"/>
                </a:cubicBezTo>
                <a:cubicBezTo>
                  <a:pt x="835772" y="628472"/>
                  <a:pt x="843234" y="620990"/>
                  <a:pt x="851940" y="620990"/>
                </a:cubicBezTo>
                <a:lnTo>
                  <a:pt x="962630" y="620990"/>
                </a:lnTo>
                <a:cubicBezTo>
                  <a:pt x="955168" y="447662"/>
                  <a:pt x="815872" y="306754"/>
                  <a:pt x="641752" y="299272"/>
                </a:cubicBezTo>
                <a:lnTo>
                  <a:pt x="641752" y="412747"/>
                </a:lnTo>
                <a:cubicBezTo>
                  <a:pt x="641752" y="421475"/>
                  <a:pt x="634290" y="430204"/>
                  <a:pt x="625584" y="430204"/>
                </a:cubicBezTo>
                <a:cubicBezTo>
                  <a:pt x="616878" y="430204"/>
                  <a:pt x="609416" y="421475"/>
                  <a:pt x="609416" y="412747"/>
                </a:cubicBezTo>
                <a:lnTo>
                  <a:pt x="609416" y="299272"/>
                </a:lnTo>
                <a:cubicBezTo>
                  <a:pt x="435298" y="306754"/>
                  <a:pt x="296002" y="447662"/>
                  <a:pt x="287296" y="620990"/>
                </a:cubicBezTo>
                <a:lnTo>
                  <a:pt x="399230" y="620990"/>
                </a:lnTo>
                <a:cubicBezTo>
                  <a:pt x="409180" y="620990"/>
                  <a:pt x="415398" y="628472"/>
                  <a:pt x="415398" y="638448"/>
                </a:cubicBezTo>
                <a:cubicBezTo>
                  <a:pt x="415398" y="647177"/>
                  <a:pt x="409180" y="654659"/>
                  <a:pt x="399230" y="654659"/>
                </a:cubicBezTo>
                <a:lnTo>
                  <a:pt x="287296" y="654659"/>
                </a:lnTo>
                <a:cubicBezTo>
                  <a:pt x="291026" y="705784"/>
                  <a:pt x="304708" y="756910"/>
                  <a:pt x="329582" y="801801"/>
                </a:cubicBezTo>
                <a:cubicBezTo>
                  <a:pt x="334556" y="809283"/>
                  <a:pt x="332070" y="819258"/>
                  <a:pt x="323364" y="824246"/>
                </a:cubicBezTo>
                <a:cubicBezTo>
                  <a:pt x="315902" y="827987"/>
                  <a:pt x="305952" y="825493"/>
                  <a:pt x="300976" y="816764"/>
                </a:cubicBezTo>
                <a:cubicBezTo>
                  <a:pt x="273616" y="768133"/>
                  <a:pt x="258690" y="710772"/>
                  <a:pt x="256204" y="654659"/>
                </a:cubicBezTo>
                <a:lnTo>
                  <a:pt x="103226" y="654659"/>
                </a:lnTo>
                <a:cubicBezTo>
                  <a:pt x="109446" y="804295"/>
                  <a:pt x="176606" y="943955"/>
                  <a:pt x="292270" y="1039972"/>
                </a:cubicBezTo>
                <a:cubicBezTo>
                  <a:pt x="299732" y="1046207"/>
                  <a:pt x="299732" y="1056182"/>
                  <a:pt x="293514" y="1062417"/>
                </a:cubicBezTo>
                <a:cubicBezTo>
                  <a:pt x="291026" y="1067405"/>
                  <a:pt x="286052" y="1068652"/>
                  <a:pt x="281078" y="1068652"/>
                </a:cubicBezTo>
                <a:cubicBezTo>
                  <a:pt x="277346" y="1068652"/>
                  <a:pt x="273616" y="1068652"/>
                  <a:pt x="271128" y="1064911"/>
                </a:cubicBezTo>
                <a:cubicBezTo>
                  <a:pt x="148000" y="962660"/>
                  <a:pt x="75866" y="813023"/>
                  <a:pt x="70890" y="654659"/>
                </a:cubicBezTo>
                <a:lnTo>
                  <a:pt x="17410" y="654659"/>
                </a:lnTo>
                <a:cubicBezTo>
                  <a:pt x="7462" y="654659"/>
                  <a:pt x="0" y="647177"/>
                  <a:pt x="0" y="638448"/>
                </a:cubicBezTo>
                <a:cubicBezTo>
                  <a:pt x="0" y="628472"/>
                  <a:pt x="7462" y="620990"/>
                  <a:pt x="17410" y="620990"/>
                </a:cubicBezTo>
                <a:lnTo>
                  <a:pt x="70890" y="620990"/>
                </a:lnTo>
                <a:cubicBezTo>
                  <a:pt x="79596" y="327953"/>
                  <a:pt x="315902" y="89781"/>
                  <a:pt x="609416" y="81053"/>
                </a:cubicBezTo>
                <a:lnTo>
                  <a:pt x="609416" y="16210"/>
                </a:lnTo>
                <a:cubicBezTo>
                  <a:pt x="609416" y="7482"/>
                  <a:pt x="616878" y="0"/>
                  <a:pt x="625584" y="0"/>
                </a:cubicBezTo>
                <a:close/>
              </a:path>
            </a:pathLst>
          </a:custGeom>
          <a:solidFill>
            <a:schemeClr val="tx2"/>
          </a:solidFill>
          <a:ln>
            <a:noFill/>
          </a:ln>
          <a:effectLst/>
        </p:spPr>
        <p:txBody>
          <a:bodyPr wrap="square" anchor="ctr">
            <a:noAutofit/>
          </a:bodyPr>
          <a:lstStyle/>
          <a:p>
            <a:endParaRPr lang="en-US" dirty="0"/>
          </a:p>
        </p:txBody>
      </p:sp>
      <p:sp>
        <p:nvSpPr>
          <p:cNvPr id="27" name="Freeform 35">
            <a:extLst>
              <a:ext uri="{FF2B5EF4-FFF2-40B4-BE49-F238E27FC236}">
                <a16:creationId xmlns:a16="http://schemas.microsoft.com/office/drawing/2014/main" id="{4AC165F6-5B77-9A0B-214D-E2CC98657EE8}"/>
              </a:ext>
            </a:extLst>
          </p:cNvPr>
          <p:cNvSpPr>
            <a:spLocks noChangeArrowheads="1"/>
          </p:cNvSpPr>
          <p:nvPr/>
        </p:nvSpPr>
        <p:spPr bwMode="auto">
          <a:xfrm>
            <a:off x="4760069" y="1994457"/>
            <a:ext cx="570656" cy="570656"/>
          </a:xfrm>
          <a:custGeom>
            <a:avLst/>
            <a:gdLst>
              <a:gd name="connsiteX0" fmla="*/ 782009 w 1141311"/>
              <a:gd name="connsiteY0" fmla="*/ 887686 h 1141311"/>
              <a:gd name="connsiteX1" fmla="*/ 662656 w 1141311"/>
              <a:gd name="connsiteY1" fmla="*/ 1104013 h 1141311"/>
              <a:gd name="connsiteX2" fmla="*/ 941146 w 1141311"/>
              <a:gd name="connsiteY2" fmla="*/ 963525 h 1141311"/>
              <a:gd name="connsiteX3" fmla="*/ 782009 w 1141311"/>
              <a:gd name="connsiteY3" fmla="*/ 887686 h 1141311"/>
              <a:gd name="connsiteX4" fmla="*/ 359302 w 1141311"/>
              <a:gd name="connsiteY4" fmla="*/ 887686 h 1141311"/>
              <a:gd name="connsiteX5" fmla="*/ 200165 w 1141311"/>
              <a:gd name="connsiteY5" fmla="*/ 963525 h 1141311"/>
              <a:gd name="connsiteX6" fmla="*/ 478654 w 1141311"/>
              <a:gd name="connsiteY6" fmla="*/ 1104013 h 1141311"/>
              <a:gd name="connsiteX7" fmla="*/ 359302 w 1141311"/>
              <a:gd name="connsiteY7" fmla="*/ 887686 h 1141311"/>
              <a:gd name="connsiteX8" fmla="*/ 570655 w 1141311"/>
              <a:gd name="connsiteY8" fmla="*/ 855362 h 1141311"/>
              <a:gd name="connsiteX9" fmla="*/ 389140 w 1141311"/>
              <a:gd name="connsiteY9" fmla="*/ 878984 h 1141311"/>
              <a:gd name="connsiteX10" fmla="*/ 570655 w 1141311"/>
              <a:gd name="connsiteY10" fmla="*/ 1111473 h 1141311"/>
              <a:gd name="connsiteX11" fmla="*/ 753414 w 1141311"/>
              <a:gd name="connsiteY11" fmla="*/ 878984 h 1141311"/>
              <a:gd name="connsiteX12" fmla="*/ 570655 w 1141311"/>
              <a:gd name="connsiteY12" fmla="*/ 855362 h 1141311"/>
              <a:gd name="connsiteX13" fmla="*/ 823037 w 1141311"/>
              <a:gd name="connsiteY13" fmla="*/ 570656 h 1141311"/>
              <a:gd name="connsiteX14" fmla="*/ 790712 w 1141311"/>
              <a:gd name="connsiteY14" fmla="*/ 859091 h 1141311"/>
              <a:gd name="connsiteX15" fmla="*/ 963525 w 1141311"/>
              <a:gd name="connsiteY15" fmla="*/ 942390 h 1141311"/>
              <a:gd name="connsiteX16" fmla="*/ 1110229 w 1141311"/>
              <a:gd name="connsiteY16" fmla="*/ 601737 h 1141311"/>
              <a:gd name="connsiteX17" fmla="*/ 823037 w 1141311"/>
              <a:gd name="connsiteY17" fmla="*/ 570656 h 1141311"/>
              <a:gd name="connsiteX18" fmla="*/ 318274 w 1141311"/>
              <a:gd name="connsiteY18" fmla="*/ 570656 h 1141311"/>
              <a:gd name="connsiteX19" fmla="*/ 31081 w 1141311"/>
              <a:gd name="connsiteY19" fmla="*/ 601737 h 1141311"/>
              <a:gd name="connsiteX20" fmla="*/ 177786 w 1141311"/>
              <a:gd name="connsiteY20" fmla="*/ 942390 h 1141311"/>
              <a:gd name="connsiteX21" fmla="*/ 351842 w 1141311"/>
              <a:gd name="connsiteY21" fmla="*/ 859091 h 1141311"/>
              <a:gd name="connsiteX22" fmla="*/ 318274 w 1141311"/>
              <a:gd name="connsiteY22" fmla="*/ 570656 h 1141311"/>
              <a:gd name="connsiteX23" fmla="*/ 570655 w 1141311"/>
              <a:gd name="connsiteY23" fmla="*/ 566926 h 1141311"/>
              <a:gd name="connsiteX24" fmla="*/ 348112 w 1141311"/>
              <a:gd name="connsiteY24" fmla="*/ 570656 h 1141311"/>
              <a:gd name="connsiteX25" fmla="*/ 380437 w 1141311"/>
              <a:gd name="connsiteY25" fmla="*/ 850389 h 1141311"/>
              <a:gd name="connsiteX26" fmla="*/ 570655 w 1141311"/>
              <a:gd name="connsiteY26" fmla="*/ 825523 h 1141311"/>
              <a:gd name="connsiteX27" fmla="*/ 760874 w 1141311"/>
              <a:gd name="connsiteY27" fmla="*/ 850389 h 1141311"/>
              <a:gd name="connsiteX28" fmla="*/ 794442 w 1141311"/>
              <a:gd name="connsiteY28" fmla="*/ 570656 h 1141311"/>
              <a:gd name="connsiteX29" fmla="*/ 570655 w 1141311"/>
              <a:gd name="connsiteY29" fmla="*/ 566926 h 1141311"/>
              <a:gd name="connsiteX30" fmla="*/ 380437 w 1141311"/>
              <a:gd name="connsiteY30" fmla="*/ 290923 h 1141311"/>
              <a:gd name="connsiteX31" fmla="*/ 348112 w 1141311"/>
              <a:gd name="connsiteY31" fmla="*/ 539574 h 1141311"/>
              <a:gd name="connsiteX32" fmla="*/ 570655 w 1141311"/>
              <a:gd name="connsiteY32" fmla="*/ 537088 h 1141311"/>
              <a:gd name="connsiteX33" fmla="*/ 793199 w 1141311"/>
              <a:gd name="connsiteY33" fmla="*/ 539574 h 1141311"/>
              <a:gd name="connsiteX34" fmla="*/ 760874 w 1141311"/>
              <a:gd name="connsiteY34" fmla="*/ 290923 h 1141311"/>
              <a:gd name="connsiteX35" fmla="*/ 570655 w 1141311"/>
              <a:gd name="connsiteY35" fmla="*/ 315788 h 1141311"/>
              <a:gd name="connsiteX36" fmla="*/ 380437 w 1141311"/>
              <a:gd name="connsiteY36" fmla="*/ 290923 h 1141311"/>
              <a:gd name="connsiteX37" fmla="*/ 823037 w 1141311"/>
              <a:gd name="connsiteY37" fmla="*/ 271030 h 1141311"/>
              <a:gd name="connsiteX38" fmla="*/ 790712 w 1141311"/>
              <a:gd name="connsiteY38" fmla="*/ 283463 h 1141311"/>
              <a:gd name="connsiteX39" fmla="*/ 823037 w 1141311"/>
              <a:gd name="connsiteY39" fmla="*/ 540817 h 1141311"/>
              <a:gd name="connsiteX40" fmla="*/ 953579 w 1141311"/>
              <a:gd name="connsiteY40" fmla="*/ 548277 h 1141311"/>
              <a:gd name="connsiteX41" fmla="*/ 1111473 w 1141311"/>
              <a:gd name="connsiteY41" fmla="*/ 570656 h 1141311"/>
              <a:gd name="connsiteX42" fmla="*/ 1069202 w 1141311"/>
              <a:gd name="connsiteY42" fmla="*/ 360545 h 1141311"/>
              <a:gd name="connsiteX43" fmla="*/ 992120 w 1141311"/>
              <a:gd name="connsiteY43" fmla="*/ 494817 h 1141311"/>
              <a:gd name="connsiteX44" fmla="*/ 967255 w 1141311"/>
              <a:gd name="connsiteY44" fmla="*/ 508493 h 1141311"/>
              <a:gd name="connsiteX45" fmla="*/ 954822 w 1141311"/>
              <a:gd name="connsiteY45" fmla="*/ 504763 h 1141311"/>
              <a:gd name="connsiteX46" fmla="*/ 953579 w 1141311"/>
              <a:gd name="connsiteY46" fmla="*/ 504763 h 1141311"/>
              <a:gd name="connsiteX47" fmla="*/ 951092 w 1141311"/>
              <a:gd name="connsiteY47" fmla="*/ 502276 h 1141311"/>
              <a:gd name="connsiteX48" fmla="*/ 948606 w 1141311"/>
              <a:gd name="connsiteY48" fmla="*/ 501033 h 1141311"/>
              <a:gd name="connsiteX49" fmla="*/ 947363 w 1141311"/>
              <a:gd name="connsiteY49" fmla="*/ 499790 h 1141311"/>
              <a:gd name="connsiteX50" fmla="*/ 943633 w 1141311"/>
              <a:gd name="connsiteY50" fmla="*/ 494817 h 1141311"/>
              <a:gd name="connsiteX51" fmla="*/ 830496 w 1141311"/>
              <a:gd name="connsiteY51" fmla="*/ 285950 h 1141311"/>
              <a:gd name="connsiteX52" fmla="*/ 825523 w 1141311"/>
              <a:gd name="connsiteY52" fmla="*/ 273517 h 1141311"/>
              <a:gd name="connsiteX53" fmla="*/ 823037 w 1141311"/>
              <a:gd name="connsiteY53" fmla="*/ 271030 h 1141311"/>
              <a:gd name="connsiteX54" fmla="*/ 177786 w 1141311"/>
              <a:gd name="connsiteY54" fmla="*/ 200165 h 1141311"/>
              <a:gd name="connsiteX55" fmla="*/ 29838 w 1141311"/>
              <a:gd name="connsiteY55" fmla="*/ 570656 h 1141311"/>
              <a:gd name="connsiteX56" fmla="*/ 187732 w 1141311"/>
              <a:gd name="connsiteY56" fmla="*/ 548277 h 1141311"/>
              <a:gd name="connsiteX57" fmla="*/ 318274 w 1141311"/>
              <a:gd name="connsiteY57" fmla="*/ 540817 h 1141311"/>
              <a:gd name="connsiteX58" fmla="*/ 351842 w 1141311"/>
              <a:gd name="connsiteY58" fmla="*/ 283463 h 1141311"/>
              <a:gd name="connsiteX59" fmla="*/ 177786 w 1141311"/>
              <a:gd name="connsiteY59" fmla="*/ 200165 h 1141311"/>
              <a:gd name="connsiteX60" fmla="*/ 968897 w 1141311"/>
              <a:gd name="connsiteY60" fmla="*/ 128978 h 1141311"/>
              <a:gd name="connsiteX61" fmla="*/ 919978 w 1141311"/>
              <a:gd name="connsiteY61" fmla="*/ 177898 h 1141311"/>
              <a:gd name="connsiteX62" fmla="*/ 968897 w 1141311"/>
              <a:gd name="connsiteY62" fmla="*/ 226817 h 1141311"/>
              <a:gd name="connsiteX63" fmla="*/ 1017817 w 1141311"/>
              <a:gd name="connsiteY63" fmla="*/ 177898 h 1141311"/>
              <a:gd name="connsiteX64" fmla="*/ 968897 w 1141311"/>
              <a:gd name="connsiteY64" fmla="*/ 128978 h 1141311"/>
              <a:gd name="connsiteX65" fmla="*/ 968897 w 1141311"/>
              <a:gd name="connsiteY65" fmla="*/ 98874 h 1141311"/>
              <a:gd name="connsiteX66" fmla="*/ 1047921 w 1141311"/>
              <a:gd name="connsiteY66" fmla="*/ 177898 h 1141311"/>
              <a:gd name="connsiteX67" fmla="*/ 968897 w 1141311"/>
              <a:gd name="connsiteY67" fmla="*/ 256921 h 1141311"/>
              <a:gd name="connsiteX68" fmla="*/ 889874 w 1141311"/>
              <a:gd name="connsiteY68" fmla="*/ 177898 h 1141311"/>
              <a:gd name="connsiteX69" fmla="*/ 968897 w 1141311"/>
              <a:gd name="connsiteY69" fmla="*/ 98874 h 1141311"/>
              <a:gd name="connsiteX70" fmla="*/ 662656 w 1141311"/>
              <a:gd name="connsiteY70" fmla="*/ 38541 h 1141311"/>
              <a:gd name="connsiteX71" fmla="*/ 782009 w 1141311"/>
              <a:gd name="connsiteY71" fmla="*/ 253625 h 1141311"/>
              <a:gd name="connsiteX72" fmla="*/ 813091 w 1141311"/>
              <a:gd name="connsiteY72" fmla="*/ 243679 h 1141311"/>
              <a:gd name="connsiteX73" fmla="*/ 811847 w 1141311"/>
              <a:gd name="connsiteY73" fmla="*/ 239949 h 1141311"/>
              <a:gd name="connsiteX74" fmla="*/ 804388 w 1141311"/>
              <a:gd name="connsiteY74" fmla="*/ 217570 h 1141311"/>
              <a:gd name="connsiteX75" fmla="*/ 796928 w 1141311"/>
              <a:gd name="connsiteY75" fmla="*/ 172813 h 1141311"/>
              <a:gd name="connsiteX76" fmla="*/ 798172 w 1141311"/>
              <a:gd name="connsiteY76" fmla="*/ 157894 h 1141311"/>
              <a:gd name="connsiteX77" fmla="*/ 798172 w 1141311"/>
              <a:gd name="connsiteY77" fmla="*/ 154164 h 1141311"/>
              <a:gd name="connsiteX78" fmla="*/ 800658 w 1141311"/>
              <a:gd name="connsiteY78" fmla="*/ 139245 h 1141311"/>
              <a:gd name="connsiteX79" fmla="*/ 800658 w 1141311"/>
              <a:gd name="connsiteY79" fmla="*/ 136759 h 1141311"/>
              <a:gd name="connsiteX80" fmla="*/ 804388 w 1141311"/>
              <a:gd name="connsiteY80" fmla="*/ 124326 h 1141311"/>
              <a:gd name="connsiteX81" fmla="*/ 804388 w 1141311"/>
              <a:gd name="connsiteY81" fmla="*/ 121840 h 1141311"/>
              <a:gd name="connsiteX82" fmla="*/ 810604 w 1141311"/>
              <a:gd name="connsiteY82" fmla="*/ 108164 h 1141311"/>
              <a:gd name="connsiteX83" fmla="*/ 811847 w 1141311"/>
              <a:gd name="connsiteY83" fmla="*/ 104434 h 1141311"/>
              <a:gd name="connsiteX84" fmla="*/ 816820 w 1141311"/>
              <a:gd name="connsiteY84" fmla="*/ 93245 h 1141311"/>
              <a:gd name="connsiteX85" fmla="*/ 818064 w 1141311"/>
              <a:gd name="connsiteY85" fmla="*/ 90758 h 1141311"/>
              <a:gd name="connsiteX86" fmla="*/ 662656 w 1141311"/>
              <a:gd name="connsiteY86" fmla="*/ 38541 h 1141311"/>
              <a:gd name="connsiteX87" fmla="*/ 478654 w 1141311"/>
              <a:gd name="connsiteY87" fmla="*/ 38541 h 1141311"/>
              <a:gd name="connsiteX88" fmla="*/ 200165 w 1141311"/>
              <a:gd name="connsiteY88" fmla="*/ 179029 h 1141311"/>
              <a:gd name="connsiteX89" fmla="*/ 359302 w 1141311"/>
              <a:gd name="connsiteY89" fmla="*/ 253625 h 1141311"/>
              <a:gd name="connsiteX90" fmla="*/ 478654 w 1141311"/>
              <a:gd name="connsiteY90" fmla="*/ 38541 h 1141311"/>
              <a:gd name="connsiteX91" fmla="*/ 967255 w 1141311"/>
              <a:gd name="connsiteY91" fmla="*/ 32325 h 1141311"/>
              <a:gd name="connsiteX92" fmla="*/ 851632 w 1141311"/>
              <a:gd name="connsiteY92" fmla="*/ 93245 h 1141311"/>
              <a:gd name="connsiteX93" fmla="*/ 849145 w 1141311"/>
              <a:gd name="connsiteY93" fmla="*/ 96974 h 1141311"/>
              <a:gd name="connsiteX94" fmla="*/ 845415 w 1141311"/>
              <a:gd name="connsiteY94" fmla="*/ 104434 h 1141311"/>
              <a:gd name="connsiteX95" fmla="*/ 842929 w 1141311"/>
              <a:gd name="connsiteY95" fmla="*/ 108164 h 1141311"/>
              <a:gd name="connsiteX96" fmla="*/ 839199 w 1141311"/>
              <a:gd name="connsiteY96" fmla="*/ 116866 h 1141311"/>
              <a:gd name="connsiteX97" fmla="*/ 836713 w 1141311"/>
              <a:gd name="connsiteY97" fmla="*/ 119353 h 1141311"/>
              <a:gd name="connsiteX98" fmla="*/ 829253 w 1141311"/>
              <a:gd name="connsiteY98" fmla="*/ 142975 h 1141311"/>
              <a:gd name="connsiteX99" fmla="*/ 829253 w 1141311"/>
              <a:gd name="connsiteY99" fmla="*/ 146705 h 1141311"/>
              <a:gd name="connsiteX100" fmla="*/ 828010 w 1141311"/>
              <a:gd name="connsiteY100" fmla="*/ 156651 h 1141311"/>
              <a:gd name="connsiteX101" fmla="*/ 828010 w 1141311"/>
              <a:gd name="connsiteY101" fmla="*/ 159137 h 1141311"/>
              <a:gd name="connsiteX102" fmla="*/ 826767 w 1141311"/>
              <a:gd name="connsiteY102" fmla="*/ 172813 h 1141311"/>
              <a:gd name="connsiteX103" fmla="*/ 967255 w 1141311"/>
              <a:gd name="connsiteY103" fmla="*/ 477411 h 1141311"/>
              <a:gd name="connsiteX104" fmla="*/ 1053039 w 1141311"/>
              <a:gd name="connsiteY104" fmla="*/ 324491 h 1141311"/>
              <a:gd name="connsiteX105" fmla="*/ 1107743 w 1141311"/>
              <a:gd name="connsiteY105" fmla="*/ 172813 h 1141311"/>
              <a:gd name="connsiteX106" fmla="*/ 967255 w 1141311"/>
              <a:gd name="connsiteY106" fmla="*/ 32325 h 1141311"/>
              <a:gd name="connsiteX107" fmla="*/ 570655 w 1141311"/>
              <a:gd name="connsiteY107" fmla="*/ 29838 h 1141311"/>
              <a:gd name="connsiteX108" fmla="*/ 389140 w 1141311"/>
              <a:gd name="connsiteY108" fmla="*/ 263571 h 1141311"/>
              <a:gd name="connsiteX109" fmla="*/ 570655 w 1141311"/>
              <a:gd name="connsiteY109" fmla="*/ 285950 h 1141311"/>
              <a:gd name="connsiteX110" fmla="*/ 753414 w 1141311"/>
              <a:gd name="connsiteY110" fmla="*/ 262328 h 1141311"/>
              <a:gd name="connsiteX111" fmla="*/ 570655 w 1141311"/>
              <a:gd name="connsiteY111" fmla="*/ 29838 h 1141311"/>
              <a:gd name="connsiteX112" fmla="*/ 570655 w 1141311"/>
              <a:gd name="connsiteY112" fmla="*/ 0 h 1141311"/>
              <a:gd name="connsiteX113" fmla="*/ 835469 w 1141311"/>
              <a:gd name="connsiteY113" fmla="*/ 64650 h 1141311"/>
              <a:gd name="connsiteX114" fmla="*/ 967255 w 1141311"/>
              <a:gd name="connsiteY114" fmla="*/ 2487 h 1141311"/>
              <a:gd name="connsiteX115" fmla="*/ 1137581 w 1141311"/>
              <a:gd name="connsiteY115" fmla="*/ 172813 h 1141311"/>
              <a:gd name="connsiteX116" fmla="*/ 1086607 w 1141311"/>
              <a:gd name="connsiteY116" fmla="*/ 325734 h 1141311"/>
              <a:gd name="connsiteX117" fmla="*/ 1141311 w 1141311"/>
              <a:gd name="connsiteY117" fmla="*/ 570656 h 1141311"/>
              <a:gd name="connsiteX118" fmla="*/ 1141311 w 1141311"/>
              <a:gd name="connsiteY118" fmla="*/ 593034 h 1141311"/>
              <a:gd name="connsiteX119" fmla="*/ 1141311 w 1141311"/>
              <a:gd name="connsiteY119" fmla="*/ 599251 h 1141311"/>
              <a:gd name="connsiteX120" fmla="*/ 570655 w 1141311"/>
              <a:gd name="connsiteY120" fmla="*/ 1141311 h 1141311"/>
              <a:gd name="connsiteX121" fmla="*/ 1243 w 1141311"/>
              <a:gd name="connsiteY121" fmla="*/ 599251 h 1141311"/>
              <a:gd name="connsiteX122" fmla="*/ 0 w 1141311"/>
              <a:gd name="connsiteY122" fmla="*/ 599251 h 1141311"/>
              <a:gd name="connsiteX123" fmla="*/ 1243 w 1141311"/>
              <a:gd name="connsiteY123" fmla="*/ 593034 h 1141311"/>
              <a:gd name="connsiteX124" fmla="*/ 0 w 1141311"/>
              <a:gd name="connsiteY124" fmla="*/ 570656 h 1141311"/>
              <a:gd name="connsiteX125" fmla="*/ 570655 w 1141311"/>
              <a:gd name="connsiteY125" fmla="*/ 0 h 114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141311" h="1141311">
                <a:moveTo>
                  <a:pt x="782009" y="887686"/>
                </a:moveTo>
                <a:cubicBezTo>
                  <a:pt x="753414" y="985904"/>
                  <a:pt x="712387" y="1061742"/>
                  <a:pt x="662656" y="1104013"/>
                </a:cubicBezTo>
                <a:cubicBezTo>
                  <a:pt x="769577" y="1085364"/>
                  <a:pt x="866551" y="1035634"/>
                  <a:pt x="941146" y="963525"/>
                </a:cubicBezTo>
                <a:cubicBezTo>
                  <a:pt x="892659" y="931200"/>
                  <a:pt x="839199" y="906335"/>
                  <a:pt x="782009" y="887686"/>
                </a:cubicBezTo>
                <a:close/>
                <a:moveTo>
                  <a:pt x="359302" y="887686"/>
                </a:moveTo>
                <a:cubicBezTo>
                  <a:pt x="303355" y="906335"/>
                  <a:pt x="248652" y="931200"/>
                  <a:pt x="200165" y="963525"/>
                </a:cubicBezTo>
                <a:cubicBezTo>
                  <a:pt x="276003" y="1035634"/>
                  <a:pt x="371734" y="1085364"/>
                  <a:pt x="478654" y="1104013"/>
                </a:cubicBezTo>
                <a:cubicBezTo>
                  <a:pt x="428924" y="1061742"/>
                  <a:pt x="387896" y="985904"/>
                  <a:pt x="359302" y="887686"/>
                </a:cubicBezTo>
                <a:close/>
                <a:moveTo>
                  <a:pt x="570655" y="855362"/>
                </a:moveTo>
                <a:cubicBezTo>
                  <a:pt x="508492" y="855362"/>
                  <a:pt x="446330" y="864064"/>
                  <a:pt x="389140" y="878984"/>
                </a:cubicBezTo>
                <a:cubicBezTo>
                  <a:pt x="430167" y="1019472"/>
                  <a:pt x="497303" y="1111473"/>
                  <a:pt x="570655" y="1111473"/>
                </a:cubicBezTo>
                <a:cubicBezTo>
                  <a:pt x="645251" y="1111473"/>
                  <a:pt x="712387" y="1019472"/>
                  <a:pt x="753414" y="878984"/>
                </a:cubicBezTo>
                <a:cubicBezTo>
                  <a:pt x="693738" y="864064"/>
                  <a:pt x="634061" y="855362"/>
                  <a:pt x="570655" y="855362"/>
                </a:cubicBezTo>
                <a:close/>
                <a:moveTo>
                  <a:pt x="823037" y="570656"/>
                </a:moveTo>
                <a:cubicBezTo>
                  <a:pt x="823037" y="676333"/>
                  <a:pt x="811847" y="774550"/>
                  <a:pt x="790712" y="859091"/>
                </a:cubicBezTo>
                <a:cubicBezTo>
                  <a:pt x="851632" y="878984"/>
                  <a:pt x="910065" y="906335"/>
                  <a:pt x="963525" y="942390"/>
                </a:cubicBezTo>
                <a:cubicBezTo>
                  <a:pt x="1048066" y="852875"/>
                  <a:pt x="1102770" y="733522"/>
                  <a:pt x="1110229" y="601737"/>
                </a:cubicBezTo>
                <a:cubicBezTo>
                  <a:pt x="1087851" y="590548"/>
                  <a:pt x="984660" y="578115"/>
                  <a:pt x="823037" y="570656"/>
                </a:cubicBezTo>
                <a:close/>
                <a:moveTo>
                  <a:pt x="318274" y="570656"/>
                </a:moveTo>
                <a:cubicBezTo>
                  <a:pt x="156651" y="578115"/>
                  <a:pt x="52217" y="590548"/>
                  <a:pt x="31081" y="601737"/>
                </a:cubicBezTo>
                <a:cubicBezTo>
                  <a:pt x="38541" y="733522"/>
                  <a:pt x="93244" y="852875"/>
                  <a:pt x="177786" y="942390"/>
                </a:cubicBezTo>
                <a:cubicBezTo>
                  <a:pt x="231246" y="906335"/>
                  <a:pt x="289679" y="878984"/>
                  <a:pt x="351842" y="859091"/>
                </a:cubicBezTo>
                <a:cubicBezTo>
                  <a:pt x="330707" y="774550"/>
                  <a:pt x="318274" y="676333"/>
                  <a:pt x="318274" y="570656"/>
                </a:cubicBezTo>
                <a:close/>
                <a:moveTo>
                  <a:pt x="570655" y="566926"/>
                </a:moveTo>
                <a:cubicBezTo>
                  <a:pt x="488600" y="566926"/>
                  <a:pt x="414005" y="568169"/>
                  <a:pt x="348112" y="570656"/>
                </a:cubicBezTo>
                <a:cubicBezTo>
                  <a:pt x="348112" y="672603"/>
                  <a:pt x="359302" y="768334"/>
                  <a:pt x="380437" y="850389"/>
                </a:cubicBezTo>
                <a:cubicBezTo>
                  <a:pt x="441357" y="834226"/>
                  <a:pt x="504763" y="825523"/>
                  <a:pt x="570655" y="825523"/>
                </a:cubicBezTo>
                <a:cubicBezTo>
                  <a:pt x="636548" y="825523"/>
                  <a:pt x="699954" y="834226"/>
                  <a:pt x="760874" y="850389"/>
                </a:cubicBezTo>
                <a:cubicBezTo>
                  <a:pt x="782009" y="768334"/>
                  <a:pt x="794442" y="672603"/>
                  <a:pt x="794442" y="570656"/>
                </a:cubicBezTo>
                <a:cubicBezTo>
                  <a:pt x="728549" y="568169"/>
                  <a:pt x="652710" y="566926"/>
                  <a:pt x="570655" y="566926"/>
                </a:cubicBezTo>
                <a:close/>
                <a:moveTo>
                  <a:pt x="380437" y="290923"/>
                </a:moveTo>
                <a:cubicBezTo>
                  <a:pt x="361788" y="364275"/>
                  <a:pt x="350599" y="450060"/>
                  <a:pt x="348112" y="539574"/>
                </a:cubicBezTo>
                <a:cubicBezTo>
                  <a:pt x="416491" y="537088"/>
                  <a:pt x="492330" y="537088"/>
                  <a:pt x="570655" y="537088"/>
                </a:cubicBezTo>
                <a:cubicBezTo>
                  <a:pt x="648981" y="537088"/>
                  <a:pt x="724819" y="537088"/>
                  <a:pt x="793199" y="539574"/>
                </a:cubicBezTo>
                <a:cubicBezTo>
                  <a:pt x="790712" y="450060"/>
                  <a:pt x="779523" y="364275"/>
                  <a:pt x="760874" y="290923"/>
                </a:cubicBezTo>
                <a:cubicBezTo>
                  <a:pt x="698711" y="308328"/>
                  <a:pt x="636548" y="315788"/>
                  <a:pt x="570655" y="315788"/>
                </a:cubicBezTo>
                <a:cubicBezTo>
                  <a:pt x="504763" y="315788"/>
                  <a:pt x="441357" y="308328"/>
                  <a:pt x="380437" y="290923"/>
                </a:cubicBezTo>
                <a:close/>
                <a:moveTo>
                  <a:pt x="823037" y="271030"/>
                </a:moveTo>
                <a:cubicBezTo>
                  <a:pt x="813091" y="276003"/>
                  <a:pt x="801901" y="278490"/>
                  <a:pt x="790712" y="283463"/>
                </a:cubicBezTo>
                <a:cubicBezTo>
                  <a:pt x="809361" y="359302"/>
                  <a:pt x="821793" y="446330"/>
                  <a:pt x="823037" y="540817"/>
                </a:cubicBezTo>
                <a:cubicBezTo>
                  <a:pt x="871524" y="543304"/>
                  <a:pt x="915038" y="544547"/>
                  <a:pt x="953579" y="548277"/>
                </a:cubicBezTo>
                <a:cubicBezTo>
                  <a:pt x="1039364" y="555736"/>
                  <a:pt x="1086607" y="563196"/>
                  <a:pt x="1111473" y="570656"/>
                </a:cubicBezTo>
                <a:cubicBezTo>
                  <a:pt x="1111473" y="498547"/>
                  <a:pt x="1096553" y="427681"/>
                  <a:pt x="1069202" y="360545"/>
                </a:cubicBezTo>
                <a:cubicBezTo>
                  <a:pt x="1036877" y="421465"/>
                  <a:pt x="1005796" y="473681"/>
                  <a:pt x="992120" y="494817"/>
                </a:cubicBezTo>
                <a:cubicBezTo>
                  <a:pt x="985903" y="503520"/>
                  <a:pt x="977201" y="508493"/>
                  <a:pt x="967255" y="508493"/>
                </a:cubicBezTo>
                <a:cubicBezTo>
                  <a:pt x="963525" y="508493"/>
                  <a:pt x="958552" y="507249"/>
                  <a:pt x="954822" y="504763"/>
                </a:cubicBezTo>
                <a:cubicBezTo>
                  <a:pt x="954822" y="504763"/>
                  <a:pt x="954822" y="504763"/>
                  <a:pt x="953579" y="504763"/>
                </a:cubicBezTo>
                <a:cubicBezTo>
                  <a:pt x="953579" y="504763"/>
                  <a:pt x="952336" y="503520"/>
                  <a:pt x="951092" y="502276"/>
                </a:cubicBezTo>
                <a:cubicBezTo>
                  <a:pt x="949849" y="502276"/>
                  <a:pt x="949849" y="502276"/>
                  <a:pt x="948606" y="501033"/>
                </a:cubicBezTo>
                <a:cubicBezTo>
                  <a:pt x="948606" y="501033"/>
                  <a:pt x="948606" y="499790"/>
                  <a:pt x="947363" y="499790"/>
                </a:cubicBezTo>
                <a:cubicBezTo>
                  <a:pt x="946119" y="498547"/>
                  <a:pt x="944876" y="497303"/>
                  <a:pt x="943633" y="494817"/>
                </a:cubicBezTo>
                <a:cubicBezTo>
                  <a:pt x="924984" y="466222"/>
                  <a:pt x="866551" y="370491"/>
                  <a:pt x="830496" y="285950"/>
                </a:cubicBezTo>
                <a:cubicBezTo>
                  <a:pt x="828010" y="282220"/>
                  <a:pt x="826767" y="277247"/>
                  <a:pt x="825523" y="273517"/>
                </a:cubicBezTo>
                <a:cubicBezTo>
                  <a:pt x="824280" y="272274"/>
                  <a:pt x="824280" y="272274"/>
                  <a:pt x="823037" y="271030"/>
                </a:cubicBezTo>
                <a:close/>
                <a:moveTo>
                  <a:pt x="177786" y="200165"/>
                </a:moveTo>
                <a:cubicBezTo>
                  <a:pt x="85785" y="297139"/>
                  <a:pt x="29838" y="427681"/>
                  <a:pt x="29838" y="570656"/>
                </a:cubicBezTo>
                <a:cubicBezTo>
                  <a:pt x="55947" y="563196"/>
                  <a:pt x="101947" y="555736"/>
                  <a:pt x="187732" y="548277"/>
                </a:cubicBezTo>
                <a:cubicBezTo>
                  <a:pt x="226273" y="544547"/>
                  <a:pt x="269787" y="543304"/>
                  <a:pt x="318274" y="540817"/>
                </a:cubicBezTo>
                <a:cubicBezTo>
                  <a:pt x="320761" y="446330"/>
                  <a:pt x="331950" y="359302"/>
                  <a:pt x="351842" y="283463"/>
                </a:cubicBezTo>
                <a:cubicBezTo>
                  <a:pt x="289679" y="263571"/>
                  <a:pt x="231246" y="236219"/>
                  <a:pt x="177786" y="200165"/>
                </a:cubicBezTo>
                <a:close/>
                <a:moveTo>
                  <a:pt x="968897" y="128978"/>
                </a:moveTo>
                <a:cubicBezTo>
                  <a:pt x="942556" y="128978"/>
                  <a:pt x="919978" y="151556"/>
                  <a:pt x="919978" y="177898"/>
                </a:cubicBezTo>
                <a:cubicBezTo>
                  <a:pt x="919978" y="205493"/>
                  <a:pt x="942556" y="226817"/>
                  <a:pt x="968897" y="226817"/>
                </a:cubicBezTo>
                <a:cubicBezTo>
                  <a:pt x="995238" y="226817"/>
                  <a:pt x="1017817" y="205493"/>
                  <a:pt x="1017817" y="177898"/>
                </a:cubicBezTo>
                <a:cubicBezTo>
                  <a:pt x="1017817" y="151556"/>
                  <a:pt x="995238" y="128978"/>
                  <a:pt x="968897" y="128978"/>
                </a:cubicBezTo>
                <a:close/>
                <a:moveTo>
                  <a:pt x="968897" y="98874"/>
                </a:moveTo>
                <a:cubicBezTo>
                  <a:pt x="1012799" y="98874"/>
                  <a:pt x="1047921" y="135250"/>
                  <a:pt x="1047921" y="177898"/>
                </a:cubicBezTo>
                <a:cubicBezTo>
                  <a:pt x="1047921" y="221799"/>
                  <a:pt x="1012799" y="256921"/>
                  <a:pt x="968897" y="256921"/>
                </a:cubicBezTo>
                <a:cubicBezTo>
                  <a:pt x="924995" y="256921"/>
                  <a:pt x="889874" y="221799"/>
                  <a:pt x="889874" y="177898"/>
                </a:cubicBezTo>
                <a:cubicBezTo>
                  <a:pt x="889874" y="135250"/>
                  <a:pt x="924995" y="98874"/>
                  <a:pt x="968897" y="98874"/>
                </a:cubicBezTo>
                <a:close/>
                <a:moveTo>
                  <a:pt x="662656" y="38541"/>
                </a:moveTo>
                <a:cubicBezTo>
                  <a:pt x="712387" y="80812"/>
                  <a:pt x="753414" y="156651"/>
                  <a:pt x="782009" y="253625"/>
                </a:cubicBezTo>
                <a:cubicBezTo>
                  <a:pt x="793199" y="251138"/>
                  <a:pt x="803145" y="247409"/>
                  <a:pt x="813091" y="243679"/>
                </a:cubicBezTo>
                <a:cubicBezTo>
                  <a:pt x="813091" y="241192"/>
                  <a:pt x="813091" y="239949"/>
                  <a:pt x="811847" y="239949"/>
                </a:cubicBezTo>
                <a:cubicBezTo>
                  <a:pt x="809361" y="232489"/>
                  <a:pt x="806874" y="223787"/>
                  <a:pt x="804388" y="217570"/>
                </a:cubicBezTo>
                <a:cubicBezTo>
                  <a:pt x="800658" y="200165"/>
                  <a:pt x="796928" y="185246"/>
                  <a:pt x="796928" y="172813"/>
                </a:cubicBezTo>
                <a:cubicBezTo>
                  <a:pt x="796928" y="167840"/>
                  <a:pt x="796928" y="162867"/>
                  <a:pt x="798172" y="157894"/>
                </a:cubicBezTo>
                <a:cubicBezTo>
                  <a:pt x="798172" y="156651"/>
                  <a:pt x="798172" y="155407"/>
                  <a:pt x="798172" y="154164"/>
                </a:cubicBezTo>
                <a:cubicBezTo>
                  <a:pt x="798172" y="149191"/>
                  <a:pt x="799415" y="144218"/>
                  <a:pt x="800658" y="139245"/>
                </a:cubicBezTo>
                <a:cubicBezTo>
                  <a:pt x="800658" y="138002"/>
                  <a:pt x="800658" y="138002"/>
                  <a:pt x="800658" y="136759"/>
                </a:cubicBezTo>
                <a:cubicBezTo>
                  <a:pt x="801901" y="133029"/>
                  <a:pt x="803145" y="128056"/>
                  <a:pt x="804388" y="124326"/>
                </a:cubicBezTo>
                <a:cubicBezTo>
                  <a:pt x="804388" y="123083"/>
                  <a:pt x="804388" y="121840"/>
                  <a:pt x="804388" y="121840"/>
                </a:cubicBezTo>
                <a:cubicBezTo>
                  <a:pt x="806874" y="116866"/>
                  <a:pt x="808118" y="113137"/>
                  <a:pt x="810604" y="108164"/>
                </a:cubicBezTo>
                <a:cubicBezTo>
                  <a:pt x="810604" y="106920"/>
                  <a:pt x="810604" y="105677"/>
                  <a:pt x="811847" y="104434"/>
                </a:cubicBezTo>
                <a:cubicBezTo>
                  <a:pt x="813091" y="100704"/>
                  <a:pt x="814334" y="96974"/>
                  <a:pt x="816820" y="93245"/>
                </a:cubicBezTo>
                <a:cubicBezTo>
                  <a:pt x="818064" y="93245"/>
                  <a:pt x="818064" y="92001"/>
                  <a:pt x="818064" y="90758"/>
                </a:cubicBezTo>
                <a:cubicBezTo>
                  <a:pt x="769577" y="64650"/>
                  <a:pt x="717360" y="48487"/>
                  <a:pt x="662656" y="38541"/>
                </a:cubicBezTo>
                <a:close/>
                <a:moveTo>
                  <a:pt x="478654" y="38541"/>
                </a:moveTo>
                <a:cubicBezTo>
                  <a:pt x="371734" y="57190"/>
                  <a:pt x="276003" y="106920"/>
                  <a:pt x="200165" y="179029"/>
                </a:cubicBezTo>
                <a:cubicBezTo>
                  <a:pt x="248652" y="211354"/>
                  <a:pt x="303355" y="236219"/>
                  <a:pt x="359302" y="253625"/>
                </a:cubicBezTo>
                <a:cubicBezTo>
                  <a:pt x="387896" y="156651"/>
                  <a:pt x="428924" y="80812"/>
                  <a:pt x="478654" y="38541"/>
                </a:cubicBezTo>
                <a:close/>
                <a:moveTo>
                  <a:pt x="967255" y="32325"/>
                </a:moveTo>
                <a:cubicBezTo>
                  <a:pt x="920011" y="32325"/>
                  <a:pt x="876497" y="55947"/>
                  <a:pt x="851632" y="93245"/>
                </a:cubicBezTo>
                <a:cubicBezTo>
                  <a:pt x="850388" y="94488"/>
                  <a:pt x="850388" y="95731"/>
                  <a:pt x="849145" y="96974"/>
                </a:cubicBezTo>
                <a:cubicBezTo>
                  <a:pt x="847902" y="99461"/>
                  <a:pt x="846659" y="101947"/>
                  <a:pt x="845415" y="104434"/>
                </a:cubicBezTo>
                <a:cubicBezTo>
                  <a:pt x="844172" y="105677"/>
                  <a:pt x="842929" y="106920"/>
                  <a:pt x="842929" y="108164"/>
                </a:cubicBezTo>
                <a:cubicBezTo>
                  <a:pt x="841686" y="110650"/>
                  <a:pt x="840442" y="113137"/>
                  <a:pt x="839199" y="116866"/>
                </a:cubicBezTo>
                <a:cubicBezTo>
                  <a:pt x="837956" y="116866"/>
                  <a:pt x="837956" y="119353"/>
                  <a:pt x="836713" y="119353"/>
                </a:cubicBezTo>
                <a:cubicBezTo>
                  <a:pt x="834226" y="126813"/>
                  <a:pt x="831739" y="135515"/>
                  <a:pt x="829253" y="142975"/>
                </a:cubicBezTo>
                <a:cubicBezTo>
                  <a:pt x="829253" y="144218"/>
                  <a:pt x="829253" y="146705"/>
                  <a:pt x="829253" y="146705"/>
                </a:cubicBezTo>
                <a:cubicBezTo>
                  <a:pt x="829253" y="149191"/>
                  <a:pt x="828010" y="152921"/>
                  <a:pt x="828010" y="156651"/>
                </a:cubicBezTo>
                <a:cubicBezTo>
                  <a:pt x="828010" y="157894"/>
                  <a:pt x="828010" y="159137"/>
                  <a:pt x="828010" y="159137"/>
                </a:cubicBezTo>
                <a:cubicBezTo>
                  <a:pt x="826767" y="164110"/>
                  <a:pt x="826767" y="169083"/>
                  <a:pt x="826767" y="172813"/>
                </a:cubicBezTo>
                <a:cubicBezTo>
                  <a:pt x="826767" y="233733"/>
                  <a:pt x="920011" y="402816"/>
                  <a:pt x="967255" y="477411"/>
                </a:cubicBezTo>
                <a:cubicBezTo>
                  <a:pt x="985903" y="448816"/>
                  <a:pt x="1021958" y="386653"/>
                  <a:pt x="1053039" y="324491"/>
                </a:cubicBezTo>
                <a:cubicBezTo>
                  <a:pt x="1084121" y="263571"/>
                  <a:pt x="1107743" y="203895"/>
                  <a:pt x="1107743" y="172813"/>
                </a:cubicBezTo>
                <a:cubicBezTo>
                  <a:pt x="1107743" y="94488"/>
                  <a:pt x="1044337" y="32325"/>
                  <a:pt x="967255" y="32325"/>
                </a:cubicBezTo>
                <a:close/>
                <a:moveTo>
                  <a:pt x="570655" y="29838"/>
                </a:moveTo>
                <a:cubicBezTo>
                  <a:pt x="497303" y="29838"/>
                  <a:pt x="430167" y="123083"/>
                  <a:pt x="389140" y="263571"/>
                </a:cubicBezTo>
                <a:cubicBezTo>
                  <a:pt x="446330" y="278490"/>
                  <a:pt x="508492" y="285950"/>
                  <a:pt x="570655" y="285950"/>
                </a:cubicBezTo>
                <a:cubicBezTo>
                  <a:pt x="632818" y="285950"/>
                  <a:pt x="693738" y="278490"/>
                  <a:pt x="753414" y="262328"/>
                </a:cubicBezTo>
                <a:cubicBezTo>
                  <a:pt x="712387" y="123083"/>
                  <a:pt x="645251" y="29838"/>
                  <a:pt x="570655" y="29838"/>
                </a:cubicBezTo>
                <a:close/>
                <a:moveTo>
                  <a:pt x="570655" y="0"/>
                </a:moveTo>
                <a:cubicBezTo>
                  <a:pt x="662656" y="0"/>
                  <a:pt x="753414" y="22379"/>
                  <a:pt x="835469" y="64650"/>
                </a:cubicBezTo>
                <a:cubicBezTo>
                  <a:pt x="866551" y="27352"/>
                  <a:pt x="913795" y="2487"/>
                  <a:pt x="967255" y="2487"/>
                </a:cubicBezTo>
                <a:cubicBezTo>
                  <a:pt x="1061742" y="2487"/>
                  <a:pt x="1137581" y="78325"/>
                  <a:pt x="1137581" y="172813"/>
                </a:cubicBezTo>
                <a:cubicBezTo>
                  <a:pt x="1137581" y="207624"/>
                  <a:pt x="1113959" y="267301"/>
                  <a:pt x="1086607" y="325734"/>
                </a:cubicBezTo>
                <a:cubicBezTo>
                  <a:pt x="1122662" y="402816"/>
                  <a:pt x="1141311" y="484871"/>
                  <a:pt x="1141311" y="570656"/>
                </a:cubicBezTo>
                <a:cubicBezTo>
                  <a:pt x="1141311" y="578115"/>
                  <a:pt x="1141311" y="585575"/>
                  <a:pt x="1141311" y="593034"/>
                </a:cubicBezTo>
                <a:cubicBezTo>
                  <a:pt x="1141311" y="595521"/>
                  <a:pt x="1141311" y="596764"/>
                  <a:pt x="1141311" y="599251"/>
                </a:cubicBezTo>
                <a:cubicBezTo>
                  <a:pt x="1125148" y="900119"/>
                  <a:pt x="876497" y="1141311"/>
                  <a:pt x="570655" y="1141311"/>
                </a:cubicBezTo>
                <a:cubicBezTo>
                  <a:pt x="266057" y="1141311"/>
                  <a:pt x="14919" y="900119"/>
                  <a:pt x="1243" y="599251"/>
                </a:cubicBezTo>
                <a:lnTo>
                  <a:pt x="0" y="599251"/>
                </a:lnTo>
                <a:cubicBezTo>
                  <a:pt x="0" y="596764"/>
                  <a:pt x="0" y="595521"/>
                  <a:pt x="1243" y="593034"/>
                </a:cubicBezTo>
                <a:cubicBezTo>
                  <a:pt x="0" y="585575"/>
                  <a:pt x="0" y="578115"/>
                  <a:pt x="0" y="570656"/>
                </a:cubicBezTo>
                <a:cubicBezTo>
                  <a:pt x="0" y="256111"/>
                  <a:pt x="256111" y="0"/>
                  <a:pt x="570655" y="0"/>
                </a:cubicBezTo>
                <a:close/>
              </a:path>
            </a:pathLst>
          </a:custGeom>
          <a:solidFill>
            <a:schemeClr val="tx2"/>
          </a:solidFill>
          <a:ln>
            <a:noFill/>
          </a:ln>
          <a:effectLst/>
        </p:spPr>
        <p:txBody>
          <a:bodyPr wrap="square" anchor="ctr">
            <a:noAutofit/>
          </a:bodyPr>
          <a:lstStyle/>
          <a:p>
            <a:endParaRPr lang="en-US" dirty="0"/>
          </a:p>
        </p:txBody>
      </p:sp>
      <p:sp>
        <p:nvSpPr>
          <p:cNvPr id="30" name="Freeform 38">
            <a:extLst>
              <a:ext uri="{FF2B5EF4-FFF2-40B4-BE49-F238E27FC236}">
                <a16:creationId xmlns:a16="http://schemas.microsoft.com/office/drawing/2014/main" id="{F32D7B1E-13AB-AD13-5BF7-C56CECD09E4F}"/>
              </a:ext>
            </a:extLst>
          </p:cNvPr>
          <p:cNvSpPr>
            <a:spLocks noChangeArrowheads="1"/>
          </p:cNvSpPr>
          <p:nvPr/>
        </p:nvSpPr>
        <p:spPr bwMode="auto">
          <a:xfrm>
            <a:off x="3606529" y="3938994"/>
            <a:ext cx="625585" cy="625585"/>
          </a:xfrm>
          <a:custGeom>
            <a:avLst/>
            <a:gdLst>
              <a:gd name="connsiteX0" fmla="*/ 625600 w 1251169"/>
              <a:gd name="connsiteY0" fmla="*/ 988748 h 1251170"/>
              <a:gd name="connsiteX1" fmla="*/ 641470 w 1251169"/>
              <a:gd name="connsiteY1" fmla="*/ 1003493 h 1251170"/>
              <a:gd name="connsiteX2" fmla="*/ 641470 w 1251169"/>
              <a:gd name="connsiteY2" fmla="*/ 1063700 h 1251170"/>
              <a:gd name="connsiteX3" fmla="*/ 625600 w 1251169"/>
              <a:gd name="connsiteY3" fmla="*/ 1080902 h 1251170"/>
              <a:gd name="connsiteX4" fmla="*/ 609731 w 1251169"/>
              <a:gd name="connsiteY4" fmla="*/ 1063700 h 1251170"/>
              <a:gd name="connsiteX5" fmla="*/ 609731 w 1251169"/>
              <a:gd name="connsiteY5" fmla="*/ 1003493 h 1251170"/>
              <a:gd name="connsiteX6" fmla="*/ 625600 w 1251169"/>
              <a:gd name="connsiteY6" fmla="*/ 988748 h 1251170"/>
              <a:gd name="connsiteX7" fmla="*/ 897556 w 1251169"/>
              <a:gd name="connsiteY7" fmla="*/ 880820 h 1251170"/>
              <a:gd name="connsiteX8" fmla="*/ 909787 w 1251169"/>
              <a:gd name="connsiteY8" fmla="*/ 886614 h 1251170"/>
              <a:gd name="connsiteX9" fmla="*/ 953561 w 1251169"/>
              <a:gd name="connsiteY9" fmla="*/ 930387 h 1251170"/>
              <a:gd name="connsiteX10" fmla="*/ 953561 w 1251169"/>
              <a:gd name="connsiteY10" fmla="*/ 954849 h 1251170"/>
              <a:gd name="connsiteX11" fmla="*/ 941973 w 1251169"/>
              <a:gd name="connsiteY11" fmla="*/ 959999 h 1251170"/>
              <a:gd name="connsiteX12" fmla="*/ 930386 w 1251169"/>
              <a:gd name="connsiteY12" fmla="*/ 954849 h 1251170"/>
              <a:gd name="connsiteX13" fmla="*/ 885326 w 1251169"/>
              <a:gd name="connsiteY13" fmla="*/ 909788 h 1251170"/>
              <a:gd name="connsiteX14" fmla="*/ 885326 w 1251169"/>
              <a:gd name="connsiteY14" fmla="*/ 886614 h 1251170"/>
              <a:gd name="connsiteX15" fmla="*/ 897556 w 1251169"/>
              <a:gd name="connsiteY15" fmla="*/ 880820 h 1251170"/>
              <a:gd name="connsiteX16" fmla="*/ 359711 w 1251169"/>
              <a:gd name="connsiteY16" fmla="*/ 880820 h 1251170"/>
              <a:gd name="connsiteX17" fmla="*/ 371298 w 1251169"/>
              <a:gd name="connsiteY17" fmla="*/ 886614 h 1251170"/>
              <a:gd name="connsiteX18" fmla="*/ 371298 w 1251169"/>
              <a:gd name="connsiteY18" fmla="*/ 909788 h 1251170"/>
              <a:gd name="connsiteX19" fmla="*/ 326237 w 1251169"/>
              <a:gd name="connsiteY19" fmla="*/ 954849 h 1251170"/>
              <a:gd name="connsiteX20" fmla="*/ 314650 w 1251169"/>
              <a:gd name="connsiteY20" fmla="*/ 959999 h 1251170"/>
              <a:gd name="connsiteX21" fmla="*/ 303063 w 1251169"/>
              <a:gd name="connsiteY21" fmla="*/ 954849 h 1251170"/>
              <a:gd name="connsiteX22" fmla="*/ 303063 w 1251169"/>
              <a:gd name="connsiteY22" fmla="*/ 930387 h 1251170"/>
              <a:gd name="connsiteX23" fmla="*/ 348124 w 1251169"/>
              <a:gd name="connsiteY23" fmla="*/ 886614 h 1251170"/>
              <a:gd name="connsiteX24" fmla="*/ 359711 w 1251169"/>
              <a:gd name="connsiteY24" fmla="*/ 880820 h 1251170"/>
              <a:gd name="connsiteX25" fmla="*/ 1004721 w 1251169"/>
              <a:gd name="connsiteY25" fmla="*/ 609731 h 1251170"/>
              <a:gd name="connsiteX26" fmla="*/ 1064928 w 1251169"/>
              <a:gd name="connsiteY26" fmla="*/ 609731 h 1251170"/>
              <a:gd name="connsiteX27" fmla="*/ 1080902 w 1251169"/>
              <a:gd name="connsiteY27" fmla="*/ 625600 h 1251170"/>
              <a:gd name="connsiteX28" fmla="*/ 1064928 w 1251169"/>
              <a:gd name="connsiteY28" fmla="*/ 641469 h 1251170"/>
              <a:gd name="connsiteX29" fmla="*/ 1004721 w 1251169"/>
              <a:gd name="connsiteY29" fmla="*/ 641469 h 1251170"/>
              <a:gd name="connsiteX30" fmla="*/ 988747 w 1251169"/>
              <a:gd name="connsiteY30" fmla="*/ 625600 h 1251170"/>
              <a:gd name="connsiteX31" fmla="*/ 1004721 w 1251169"/>
              <a:gd name="connsiteY31" fmla="*/ 609731 h 1251170"/>
              <a:gd name="connsiteX32" fmla="*/ 186052 w 1251169"/>
              <a:gd name="connsiteY32" fmla="*/ 609731 h 1251170"/>
              <a:gd name="connsiteX33" fmla="*/ 245476 w 1251169"/>
              <a:gd name="connsiteY33" fmla="*/ 609731 h 1251170"/>
              <a:gd name="connsiteX34" fmla="*/ 262454 w 1251169"/>
              <a:gd name="connsiteY34" fmla="*/ 625600 h 1251170"/>
              <a:gd name="connsiteX35" fmla="*/ 245476 w 1251169"/>
              <a:gd name="connsiteY35" fmla="*/ 641469 h 1251170"/>
              <a:gd name="connsiteX36" fmla="*/ 186052 w 1251169"/>
              <a:gd name="connsiteY36" fmla="*/ 641469 h 1251170"/>
              <a:gd name="connsiteX37" fmla="*/ 170287 w 1251169"/>
              <a:gd name="connsiteY37" fmla="*/ 625600 h 1251170"/>
              <a:gd name="connsiteX38" fmla="*/ 186052 w 1251169"/>
              <a:gd name="connsiteY38" fmla="*/ 609731 h 1251170"/>
              <a:gd name="connsiteX39" fmla="*/ 627743 w 1251169"/>
              <a:gd name="connsiteY39" fmla="*/ 593604 h 1251170"/>
              <a:gd name="connsiteX40" fmla="*/ 599243 w 1251169"/>
              <a:gd name="connsiteY40" fmla="*/ 623373 h 1251170"/>
              <a:gd name="connsiteX41" fmla="*/ 627743 w 1251169"/>
              <a:gd name="connsiteY41" fmla="*/ 651902 h 1251170"/>
              <a:gd name="connsiteX42" fmla="*/ 657483 w 1251169"/>
              <a:gd name="connsiteY42" fmla="*/ 623373 h 1251170"/>
              <a:gd name="connsiteX43" fmla="*/ 627743 w 1251169"/>
              <a:gd name="connsiteY43" fmla="*/ 593604 h 1251170"/>
              <a:gd name="connsiteX44" fmla="*/ 627743 w 1251169"/>
              <a:gd name="connsiteY44" fmla="*/ 379021 h 1251170"/>
              <a:gd name="connsiteX45" fmla="*/ 643853 w 1251169"/>
              <a:gd name="connsiteY45" fmla="*/ 395146 h 1251170"/>
              <a:gd name="connsiteX46" fmla="*/ 643853 w 1251169"/>
              <a:gd name="connsiteY46" fmla="*/ 563836 h 1251170"/>
              <a:gd name="connsiteX47" fmla="*/ 687223 w 1251169"/>
              <a:gd name="connsiteY47" fmla="*/ 607249 h 1251170"/>
              <a:gd name="connsiteX48" fmla="*/ 916469 w 1251169"/>
              <a:gd name="connsiteY48" fmla="*/ 607249 h 1251170"/>
              <a:gd name="connsiteX49" fmla="*/ 932578 w 1251169"/>
              <a:gd name="connsiteY49" fmla="*/ 623373 h 1251170"/>
              <a:gd name="connsiteX50" fmla="*/ 916469 w 1251169"/>
              <a:gd name="connsiteY50" fmla="*/ 639498 h 1251170"/>
              <a:gd name="connsiteX51" fmla="*/ 687223 w 1251169"/>
              <a:gd name="connsiteY51" fmla="*/ 639498 h 1251170"/>
              <a:gd name="connsiteX52" fmla="*/ 627743 w 1251169"/>
              <a:gd name="connsiteY52" fmla="*/ 685392 h 1251170"/>
              <a:gd name="connsiteX53" fmla="*/ 565785 w 1251169"/>
              <a:gd name="connsiteY53" fmla="*/ 623373 h 1251170"/>
              <a:gd name="connsiteX54" fmla="*/ 611634 w 1251169"/>
              <a:gd name="connsiteY54" fmla="*/ 563836 h 1251170"/>
              <a:gd name="connsiteX55" fmla="*/ 611634 w 1251169"/>
              <a:gd name="connsiteY55" fmla="*/ 395146 h 1251170"/>
              <a:gd name="connsiteX56" fmla="*/ 627743 w 1251169"/>
              <a:gd name="connsiteY56" fmla="*/ 379021 h 1251170"/>
              <a:gd name="connsiteX57" fmla="*/ 941974 w 1251169"/>
              <a:gd name="connsiteY57" fmla="*/ 298177 h 1251170"/>
              <a:gd name="connsiteX58" fmla="*/ 953561 w 1251169"/>
              <a:gd name="connsiteY58" fmla="*/ 302828 h 1251170"/>
              <a:gd name="connsiteX59" fmla="*/ 953561 w 1251169"/>
              <a:gd name="connsiteY59" fmla="*/ 325154 h 1251170"/>
              <a:gd name="connsiteX60" fmla="*/ 909787 w 1251169"/>
              <a:gd name="connsiteY60" fmla="*/ 368567 h 1251170"/>
              <a:gd name="connsiteX61" fmla="*/ 896913 w 1251169"/>
              <a:gd name="connsiteY61" fmla="*/ 372288 h 1251170"/>
              <a:gd name="connsiteX62" fmla="*/ 885326 w 1251169"/>
              <a:gd name="connsiteY62" fmla="*/ 368567 h 1251170"/>
              <a:gd name="connsiteX63" fmla="*/ 885326 w 1251169"/>
              <a:gd name="connsiteY63" fmla="*/ 346240 h 1251170"/>
              <a:gd name="connsiteX64" fmla="*/ 930386 w 1251169"/>
              <a:gd name="connsiteY64" fmla="*/ 302828 h 1251170"/>
              <a:gd name="connsiteX65" fmla="*/ 941974 w 1251169"/>
              <a:gd name="connsiteY65" fmla="*/ 298177 h 1251170"/>
              <a:gd name="connsiteX66" fmla="*/ 315133 w 1251169"/>
              <a:gd name="connsiteY66" fmla="*/ 298177 h 1251170"/>
              <a:gd name="connsiteX67" fmla="*/ 326237 w 1251169"/>
              <a:gd name="connsiteY67" fmla="*/ 302828 h 1251170"/>
              <a:gd name="connsiteX68" fmla="*/ 371298 w 1251169"/>
              <a:gd name="connsiteY68" fmla="*/ 346240 h 1251170"/>
              <a:gd name="connsiteX69" fmla="*/ 371298 w 1251169"/>
              <a:gd name="connsiteY69" fmla="*/ 368567 h 1251170"/>
              <a:gd name="connsiteX70" fmla="*/ 359711 w 1251169"/>
              <a:gd name="connsiteY70" fmla="*/ 372288 h 1251170"/>
              <a:gd name="connsiteX71" fmla="*/ 348124 w 1251169"/>
              <a:gd name="connsiteY71" fmla="*/ 368567 h 1251170"/>
              <a:gd name="connsiteX72" fmla="*/ 303063 w 1251169"/>
              <a:gd name="connsiteY72" fmla="*/ 325154 h 1251170"/>
              <a:gd name="connsiteX73" fmla="*/ 303063 w 1251169"/>
              <a:gd name="connsiteY73" fmla="*/ 302828 h 1251170"/>
              <a:gd name="connsiteX74" fmla="*/ 315133 w 1251169"/>
              <a:gd name="connsiteY74" fmla="*/ 298177 h 1251170"/>
              <a:gd name="connsiteX75" fmla="*/ 625600 w 1251169"/>
              <a:gd name="connsiteY75" fmla="*/ 170288 h 1251170"/>
              <a:gd name="connsiteX76" fmla="*/ 641470 w 1251169"/>
              <a:gd name="connsiteY76" fmla="*/ 186261 h 1251170"/>
              <a:gd name="connsiteX77" fmla="*/ 641470 w 1251169"/>
              <a:gd name="connsiteY77" fmla="*/ 246466 h 1251170"/>
              <a:gd name="connsiteX78" fmla="*/ 625600 w 1251169"/>
              <a:gd name="connsiteY78" fmla="*/ 262439 h 1251170"/>
              <a:gd name="connsiteX79" fmla="*/ 609731 w 1251169"/>
              <a:gd name="connsiteY79" fmla="*/ 246466 h 1251170"/>
              <a:gd name="connsiteX80" fmla="*/ 609731 w 1251169"/>
              <a:gd name="connsiteY80" fmla="*/ 186261 h 1251170"/>
              <a:gd name="connsiteX81" fmla="*/ 625600 w 1251169"/>
              <a:gd name="connsiteY81" fmla="*/ 170288 h 1251170"/>
              <a:gd name="connsiteX82" fmla="*/ 622843 w 1251169"/>
              <a:gd name="connsiteY82" fmla="*/ 136698 h 1251170"/>
              <a:gd name="connsiteX83" fmla="*/ 137942 w 1251169"/>
              <a:gd name="connsiteY83" fmla="*/ 622841 h 1251170"/>
              <a:gd name="connsiteX84" fmla="*/ 622843 w 1251169"/>
              <a:gd name="connsiteY84" fmla="*/ 1107741 h 1251170"/>
              <a:gd name="connsiteX85" fmla="*/ 1108986 w 1251169"/>
              <a:gd name="connsiteY85" fmla="*/ 622841 h 1251170"/>
              <a:gd name="connsiteX86" fmla="*/ 622843 w 1251169"/>
              <a:gd name="connsiteY86" fmla="*/ 136698 h 1251170"/>
              <a:gd name="connsiteX87" fmla="*/ 622843 w 1251169"/>
              <a:gd name="connsiteY87" fmla="*/ 104371 h 1251170"/>
              <a:gd name="connsiteX88" fmla="*/ 1141313 w 1251169"/>
              <a:gd name="connsiteY88" fmla="*/ 622841 h 1251170"/>
              <a:gd name="connsiteX89" fmla="*/ 622843 w 1251169"/>
              <a:gd name="connsiteY89" fmla="*/ 1141311 h 1251170"/>
              <a:gd name="connsiteX90" fmla="*/ 104372 w 1251169"/>
              <a:gd name="connsiteY90" fmla="*/ 622841 h 1251170"/>
              <a:gd name="connsiteX91" fmla="*/ 622843 w 1251169"/>
              <a:gd name="connsiteY91" fmla="*/ 104371 h 1251170"/>
              <a:gd name="connsiteX92" fmla="*/ 625585 w 1251169"/>
              <a:gd name="connsiteY92" fmla="*/ 33613 h 1251170"/>
              <a:gd name="connsiteX93" fmla="*/ 32401 w 1251169"/>
              <a:gd name="connsiteY93" fmla="*/ 626207 h 1251170"/>
              <a:gd name="connsiteX94" fmla="*/ 625585 w 1251169"/>
              <a:gd name="connsiteY94" fmla="*/ 1218801 h 1251170"/>
              <a:gd name="connsiteX95" fmla="*/ 1218768 w 1251169"/>
              <a:gd name="connsiteY95" fmla="*/ 626207 h 1251170"/>
              <a:gd name="connsiteX96" fmla="*/ 625585 w 1251169"/>
              <a:gd name="connsiteY96" fmla="*/ 33613 h 1251170"/>
              <a:gd name="connsiteX97" fmla="*/ 625585 w 1251169"/>
              <a:gd name="connsiteY97" fmla="*/ 0 h 1251170"/>
              <a:gd name="connsiteX98" fmla="*/ 1251169 w 1251169"/>
              <a:gd name="connsiteY98" fmla="*/ 626207 h 1251170"/>
              <a:gd name="connsiteX99" fmla="*/ 625585 w 1251169"/>
              <a:gd name="connsiteY99" fmla="*/ 1251170 h 1251170"/>
              <a:gd name="connsiteX100" fmla="*/ 0 w 1251169"/>
              <a:gd name="connsiteY100" fmla="*/ 626207 h 1251170"/>
              <a:gd name="connsiteX101" fmla="*/ 625585 w 1251169"/>
              <a:gd name="connsiteY101" fmla="*/ 0 h 12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51169" h="1251170">
                <a:moveTo>
                  <a:pt x="625600" y="988748"/>
                </a:moveTo>
                <a:cubicBezTo>
                  <a:pt x="634145" y="988748"/>
                  <a:pt x="641470" y="996120"/>
                  <a:pt x="641470" y="1003493"/>
                </a:cubicBezTo>
                <a:lnTo>
                  <a:pt x="641470" y="1063700"/>
                </a:lnTo>
                <a:cubicBezTo>
                  <a:pt x="641470" y="1073530"/>
                  <a:pt x="634145" y="1080902"/>
                  <a:pt x="625600" y="1080902"/>
                </a:cubicBezTo>
                <a:cubicBezTo>
                  <a:pt x="617055" y="1080902"/>
                  <a:pt x="609731" y="1073530"/>
                  <a:pt x="609731" y="1063700"/>
                </a:cubicBezTo>
                <a:lnTo>
                  <a:pt x="609731" y="1003493"/>
                </a:lnTo>
                <a:cubicBezTo>
                  <a:pt x="609731" y="996120"/>
                  <a:pt x="617055" y="988748"/>
                  <a:pt x="625600" y="988748"/>
                </a:cubicBezTo>
                <a:close/>
                <a:moveTo>
                  <a:pt x="897556" y="880820"/>
                </a:moveTo>
                <a:cubicBezTo>
                  <a:pt x="902062" y="880820"/>
                  <a:pt x="906569" y="882752"/>
                  <a:pt x="909787" y="886614"/>
                </a:cubicBezTo>
                <a:lnTo>
                  <a:pt x="953561" y="930387"/>
                </a:lnTo>
                <a:cubicBezTo>
                  <a:pt x="959998" y="938112"/>
                  <a:pt x="959998" y="947124"/>
                  <a:pt x="953561" y="954849"/>
                </a:cubicBezTo>
                <a:cubicBezTo>
                  <a:pt x="950986" y="958711"/>
                  <a:pt x="945836" y="959999"/>
                  <a:pt x="941973" y="959999"/>
                </a:cubicBezTo>
                <a:cubicBezTo>
                  <a:pt x="938111" y="959999"/>
                  <a:pt x="932961" y="958711"/>
                  <a:pt x="930386" y="954849"/>
                </a:cubicBezTo>
                <a:lnTo>
                  <a:pt x="885326" y="909788"/>
                </a:lnTo>
                <a:cubicBezTo>
                  <a:pt x="878888" y="903351"/>
                  <a:pt x="878888" y="893051"/>
                  <a:pt x="885326" y="886614"/>
                </a:cubicBezTo>
                <a:cubicBezTo>
                  <a:pt x="888544" y="882752"/>
                  <a:pt x="893050" y="880820"/>
                  <a:pt x="897556" y="880820"/>
                </a:cubicBezTo>
                <a:close/>
                <a:moveTo>
                  <a:pt x="359711" y="880820"/>
                </a:moveTo>
                <a:cubicBezTo>
                  <a:pt x="363895" y="880820"/>
                  <a:pt x="368080" y="882752"/>
                  <a:pt x="371298" y="886614"/>
                </a:cubicBezTo>
                <a:cubicBezTo>
                  <a:pt x="377735" y="893051"/>
                  <a:pt x="377735" y="903351"/>
                  <a:pt x="371298" y="909788"/>
                </a:cubicBezTo>
                <a:lnTo>
                  <a:pt x="326237" y="954849"/>
                </a:lnTo>
                <a:cubicBezTo>
                  <a:pt x="323662" y="958711"/>
                  <a:pt x="319800" y="959999"/>
                  <a:pt x="314650" y="959999"/>
                </a:cubicBezTo>
                <a:cubicBezTo>
                  <a:pt x="310788" y="959999"/>
                  <a:pt x="305638" y="958711"/>
                  <a:pt x="303063" y="954849"/>
                </a:cubicBezTo>
                <a:cubicBezTo>
                  <a:pt x="296626" y="947124"/>
                  <a:pt x="296626" y="938112"/>
                  <a:pt x="303063" y="930387"/>
                </a:cubicBezTo>
                <a:lnTo>
                  <a:pt x="348124" y="886614"/>
                </a:lnTo>
                <a:cubicBezTo>
                  <a:pt x="351343" y="882752"/>
                  <a:pt x="355527" y="880820"/>
                  <a:pt x="359711" y="880820"/>
                </a:cubicBezTo>
                <a:close/>
                <a:moveTo>
                  <a:pt x="1004721" y="609731"/>
                </a:moveTo>
                <a:lnTo>
                  <a:pt x="1064928" y="609731"/>
                </a:lnTo>
                <a:cubicBezTo>
                  <a:pt x="1073529" y="609731"/>
                  <a:pt x="1080902" y="615835"/>
                  <a:pt x="1080902" y="625600"/>
                </a:cubicBezTo>
                <a:cubicBezTo>
                  <a:pt x="1080902" y="634145"/>
                  <a:pt x="1073529" y="641469"/>
                  <a:pt x="1064928" y="641469"/>
                </a:cubicBezTo>
                <a:lnTo>
                  <a:pt x="1004721" y="641469"/>
                </a:lnTo>
                <a:cubicBezTo>
                  <a:pt x="996120" y="641469"/>
                  <a:pt x="988747" y="634145"/>
                  <a:pt x="988747" y="625600"/>
                </a:cubicBezTo>
                <a:cubicBezTo>
                  <a:pt x="988747" y="615835"/>
                  <a:pt x="996120" y="609731"/>
                  <a:pt x="1004721" y="609731"/>
                </a:cubicBezTo>
                <a:close/>
                <a:moveTo>
                  <a:pt x="186052" y="609731"/>
                </a:moveTo>
                <a:lnTo>
                  <a:pt x="245476" y="609731"/>
                </a:lnTo>
                <a:cubicBezTo>
                  <a:pt x="255178" y="609731"/>
                  <a:pt x="262454" y="615835"/>
                  <a:pt x="262454" y="625600"/>
                </a:cubicBezTo>
                <a:cubicBezTo>
                  <a:pt x="262454" y="634145"/>
                  <a:pt x="255178" y="641469"/>
                  <a:pt x="245476" y="641469"/>
                </a:cubicBezTo>
                <a:lnTo>
                  <a:pt x="186052" y="641469"/>
                </a:lnTo>
                <a:cubicBezTo>
                  <a:pt x="177563" y="641469"/>
                  <a:pt x="170287" y="634145"/>
                  <a:pt x="170287" y="625600"/>
                </a:cubicBezTo>
                <a:cubicBezTo>
                  <a:pt x="170287" y="615835"/>
                  <a:pt x="177563" y="609731"/>
                  <a:pt x="186052" y="609731"/>
                </a:cubicBezTo>
                <a:close/>
                <a:moveTo>
                  <a:pt x="627743" y="593604"/>
                </a:moveTo>
                <a:cubicBezTo>
                  <a:pt x="611634" y="593604"/>
                  <a:pt x="599243" y="607249"/>
                  <a:pt x="599243" y="623373"/>
                </a:cubicBezTo>
                <a:cubicBezTo>
                  <a:pt x="599243" y="639498"/>
                  <a:pt x="611634" y="651902"/>
                  <a:pt x="627743" y="651902"/>
                </a:cubicBezTo>
                <a:cubicBezTo>
                  <a:pt x="643853" y="651902"/>
                  <a:pt x="657483" y="639498"/>
                  <a:pt x="657483" y="623373"/>
                </a:cubicBezTo>
                <a:cubicBezTo>
                  <a:pt x="657483" y="607249"/>
                  <a:pt x="643853" y="593604"/>
                  <a:pt x="627743" y="593604"/>
                </a:cubicBezTo>
                <a:close/>
                <a:moveTo>
                  <a:pt x="627743" y="379021"/>
                </a:moveTo>
                <a:cubicBezTo>
                  <a:pt x="636418" y="379021"/>
                  <a:pt x="643853" y="386463"/>
                  <a:pt x="643853" y="395146"/>
                </a:cubicBezTo>
                <a:lnTo>
                  <a:pt x="643853" y="563836"/>
                </a:lnTo>
                <a:cubicBezTo>
                  <a:pt x="664918" y="568797"/>
                  <a:pt x="681028" y="586162"/>
                  <a:pt x="687223" y="607249"/>
                </a:cubicBezTo>
                <a:lnTo>
                  <a:pt x="916469" y="607249"/>
                </a:lnTo>
                <a:cubicBezTo>
                  <a:pt x="925143" y="607249"/>
                  <a:pt x="932578" y="613450"/>
                  <a:pt x="932578" y="623373"/>
                </a:cubicBezTo>
                <a:cubicBezTo>
                  <a:pt x="932578" y="632056"/>
                  <a:pt x="925143" y="639498"/>
                  <a:pt x="916469" y="639498"/>
                </a:cubicBezTo>
                <a:lnTo>
                  <a:pt x="687223" y="639498"/>
                </a:lnTo>
                <a:cubicBezTo>
                  <a:pt x="679788" y="665546"/>
                  <a:pt x="656244" y="685392"/>
                  <a:pt x="627743" y="685392"/>
                </a:cubicBezTo>
                <a:cubicBezTo>
                  <a:pt x="594286" y="685392"/>
                  <a:pt x="565785" y="656863"/>
                  <a:pt x="565785" y="623373"/>
                </a:cubicBezTo>
                <a:cubicBezTo>
                  <a:pt x="565785" y="594845"/>
                  <a:pt x="585612" y="570038"/>
                  <a:pt x="611634" y="563836"/>
                </a:cubicBezTo>
                <a:lnTo>
                  <a:pt x="611634" y="395146"/>
                </a:lnTo>
                <a:cubicBezTo>
                  <a:pt x="611634" y="386463"/>
                  <a:pt x="619069" y="379021"/>
                  <a:pt x="627743" y="379021"/>
                </a:cubicBezTo>
                <a:close/>
                <a:moveTo>
                  <a:pt x="941974" y="298177"/>
                </a:moveTo>
                <a:cubicBezTo>
                  <a:pt x="946158" y="298177"/>
                  <a:pt x="950342" y="299727"/>
                  <a:pt x="953561" y="302828"/>
                </a:cubicBezTo>
                <a:cubicBezTo>
                  <a:pt x="959998" y="307789"/>
                  <a:pt x="959998" y="318952"/>
                  <a:pt x="953561" y="325154"/>
                </a:cubicBezTo>
                <a:lnTo>
                  <a:pt x="909787" y="368567"/>
                </a:lnTo>
                <a:cubicBezTo>
                  <a:pt x="905925" y="371047"/>
                  <a:pt x="902062" y="372288"/>
                  <a:pt x="896913" y="372288"/>
                </a:cubicBezTo>
                <a:cubicBezTo>
                  <a:pt x="893050" y="372288"/>
                  <a:pt x="889188" y="371047"/>
                  <a:pt x="885326" y="368567"/>
                </a:cubicBezTo>
                <a:cubicBezTo>
                  <a:pt x="878888" y="361124"/>
                  <a:pt x="878888" y="351202"/>
                  <a:pt x="885326" y="346240"/>
                </a:cubicBezTo>
                <a:lnTo>
                  <a:pt x="930386" y="302828"/>
                </a:lnTo>
                <a:cubicBezTo>
                  <a:pt x="933605" y="299727"/>
                  <a:pt x="937789" y="298177"/>
                  <a:pt x="941974" y="298177"/>
                </a:cubicBezTo>
                <a:close/>
                <a:moveTo>
                  <a:pt x="315133" y="298177"/>
                </a:moveTo>
                <a:cubicBezTo>
                  <a:pt x="319478" y="298177"/>
                  <a:pt x="323662" y="299727"/>
                  <a:pt x="326237" y="302828"/>
                </a:cubicBezTo>
                <a:lnTo>
                  <a:pt x="371298" y="346240"/>
                </a:lnTo>
                <a:cubicBezTo>
                  <a:pt x="377735" y="351202"/>
                  <a:pt x="377735" y="361124"/>
                  <a:pt x="371298" y="368567"/>
                </a:cubicBezTo>
                <a:cubicBezTo>
                  <a:pt x="368723" y="371047"/>
                  <a:pt x="363573" y="372288"/>
                  <a:pt x="359711" y="372288"/>
                </a:cubicBezTo>
                <a:cubicBezTo>
                  <a:pt x="354561" y="372288"/>
                  <a:pt x="350699" y="371047"/>
                  <a:pt x="348124" y="368567"/>
                </a:cubicBezTo>
                <a:lnTo>
                  <a:pt x="303063" y="325154"/>
                </a:lnTo>
                <a:cubicBezTo>
                  <a:pt x="296626" y="318952"/>
                  <a:pt x="296626" y="307789"/>
                  <a:pt x="303063" y="302828"/>
                </a:cubicBezTo>
                <a:cubicBezTo>
                  <a:pt x="306282" y="299727"/>
                  <a:pt x="310788" y="298177"/>
                  <a:pt x="315133" y="298177"/>
                </a:cubicBezTo>
                <a:close/>
                <a:moveTo>
                  <a:pt x="625600" y="170288"/>
                </a:moveTo>
                <a:cubicBezTo>
                  <a:pt x="634145" y="170288"/>
                  <a:pt x="641470" y="177660"/>
                  <a:pt x="641470" y="186261"/>
                </a:cubicBezTo>
                <a:lnTo>
                  <a:pt x="641470" y="246466"/>
                </a:lnTo>
                <a:cubicBezTo>
                  <a:pt x="641470" y="255067"/>
                  <a:pt x="634145" y="262439"/>
                  <a:pt x="625600" y="262439"/>
                </a:cubicBezTo>
                <a:cubicBezTo>
                  <a:pt x="617055" y="262439"/>
                  <a:pt x="609731" y="255067"/>
                  <a:pt x="609731" y="246466"/>
                </a:cubicBezTo>
                <a:lnTo>
                  <a:pt x="609731" y="186261"/>
                </a:lnTo>
                <a:cubicBezTo>
                  <a:pt x="609731" y="177660"/>
                  <a:pt x="617055" y="170288"/>
                  <a:pt x="625600" y="170288"/>
                </a:cubicBezTo>
                <a:close/>
                <a:moveTo>
                  <a:pt x="622843" y="136698"/>
                </a:moveTo>
                <a:cubicBezTo>
                  <a:pt x="355525" y="136698"/>
                  <a:pt x="137942" y="354281"/>
                  <a:pt x="137942" y="622841"/>
                </a:cubicBezTo>
                <a:cubicBezTo>
                  <a:pt x="137942" y="890157"/>
                  <a:pt x="355525" y="1107741"/>
                  <a:pt x="622843" y="1107741"/>
                </a:cubicBezTo>
                <a:cubicBezTo>
                  <a:pt x="891403" y="1107741"/>
                  <a:pt x="1108986" y="890157"/>
                  <a:pt x="1108986" y="622841"/>
                </a:cubicBezTo>
                <a:cubicBezTo>
                  <a:pt x="1108986" y="354281"/>
                  <a:pt x="891403" y="136698"/>
                  <a:pt x="622843" y="136698"/>
                </a:cubicBezTo>
                <a:close/>
                <a:moveTo>
                  <a:pt x="622843" y="104371"/>
                </a:moveTo>
                <a:cubicBezTo>
                  <a:pt x="908809" y="104371"/>
                  <a:pt x="1141313" y="336874"/>
                  <a:pt x="1141313" y="622841"/>
                </a:cubicBezTo>
                <a:cubicBezTo>
                  <a:pt x="1141313" y="908807"/>
                  <a:pt x="908809" y="1141311"/>
                  <a:pt x="622843" y="1141311"/>
                </a:cubicBezTo>
                <a:cubicBezTo>
                  <a:pt x="338119" y="1141311"/>
                  <a:pt x="104372" y="908807"/>
                  <a:pt x="104372" y="622841"/>
                </a:cubicBezTo>
                <a:cubicBezTo>
                  <a:pt x="104372" y="336874"/>
                  <a:pt x="338119" y="104371"/>
                  <a:pt x="622843" y="104371"/>
                </a:cubicBezTo>
                <a:close/>
                <a:moveTo>
                  <a:pt x="625585" y="33613"/>
                </a:moveTo>
                <a:cubicBezTo>
                  <a:pt x="299084" y="33613"/>
                  <a:pt x="32401" y="298787"/>
                  <a:pt x="32401" y="626207"/>
                </a:cubicBezTo>
                <a:cubicBezTo>
                  <a:pt x="32401" y="953628"/>
                  <a:pt x="299084" y="1218801"/>
                  <a:pt x="625585" y="1218801"/>
                </a:cubicBezTo>
                <a:cubicBezTo>
                  <a:pt x="953331" y="1218801"/>
                  <a:pt x="1218768" y="953628"/>
                  <a:pt x="1218768" y="626207"/>
                </a:cubicBezTo>
                <a:cubicBezTo>
                  <a:pt x="1218768" y="298787"/>
                  <a:pt x="953331" y="33613"/>
                  <a:pt x="625585" y="33613"/>
                </a:cubicBezTo>
                <a:close/>
                <a:moveTo>
                  <a:pt x="625585" y="0"/>
                </a:moveTo>
                <a:cubicBezTo>
                  <a:pt x="970778" y="0"/>
                  <a:pt x="1251169" y="281358"/>
                  <a:pt x="1251169" y="626207"/>
                </a:cubicBezTo>
                <a:cubicBezTo>
                  <a:pt x="1251169" y="971057"/>
                  <a:pt x="970778" y="1251170"/>
                  <a:pt x="625585" y="1251170"/>
                </a:cubicBezTo>
                <a:cubicBezTo>
                  <a:pt x="280391" y="1251170"/>
                  <a:pt x="0" y="971057"/>
                  <a:pt x="0" y="626207"/>
                </a:cubicBezTo>
                <a:cubicBezTo>
                  <a:pt x="0" y="281358"/>
                  <a:pt x="280391" y="0"/>
                  <a:pt x="625585" y="0"/>
                </a:cubicBezTo>
                <a:close/>
              </a:path>
            </a:pathLst>
          </a:custGeom>
          <a:solidFill>
            <a:schemeClr val="tx2"/>
          </a:solidFill>
          <a:ln>
            <a:noFill/>
          </a:ln>
          <a:effectLst/>
        </p:spPr>
        <p:txBody>
          <a:bodyPr wrap="square" anchor="ctr">
            <a:noAutofit/>
          </a:bodyPr>
          <a:lstStyle/>
          <a:p>
            <a:endParaRPr lang="en-US" dirty="0"/>
          </a:p>
        </p:txBody>
      </p:sp>
      <p:sp>
        <p:nvSpPr>
          <p:cNvPr id="31" name="Line 451">
            <a:extLst>
              <a:ext uri="{FF2B5EF4-FFF2-40B4-BE49-F238E27FC236}">
                <a16:creationId xmlns:a16="http://schemas.microsoft.com/office/drawing/2014/main" id="{C033C4D5-DF93-A7C1-2231-EFEDDF9F5919}"/>
              </a:ext>
            </a:extLst>
          </p:cNvPr>
          <p:cNvSpPr>
            <a:spLocks noChangeShapeType="1"/>
          </p:cNvSpPr>
          <p:nvPr/>
        </p:nvSpPr>
        <p:spPr bwMode="auto">
          <a:xfrm>
            <a:off x="5045706" y="3016164"/>
            <a:ext cx="0" cy="18127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p>
        </p:txBody>
      </p:sp>
      <p:sp>
        <p:nvSpPr>
          <p:cNvPr id="32" name="TextBox 5">
            <a:extLst>
              <a:ext uri="{FF2B5EF4-FFF2-40B4-BE49-F238E27FC236}">
                <a16:creationId xmlns:a16="http://schemas.microsoft.com/office/drawing/2014/main" id="{5D2EA0A9-572C-52AC-787E-629977B416E3}"/>
              </a:ext>
            </a:extLst>
          </p:cNvPr>
          <p:cNvSpPr txBox="1"/>
          <p:nvPr/>
        </p:nvSpPr>
        <p:spPr>
          <a:xfrm>
            <a:off x="6024563" y="1799859"/>
            <a:ext cx="2384974" cy="353943"/>
          </a:xfrm>
          <a:prstGeom prst="rect">
            <a:avLst/>
          </a:prstGeom>
          <a:noFill/>
        </p:spPr>
        <p:txBody>
          <a:bodyPr wrap="square" lIns="0" tIns="0" rIns="0" bIns="0" rtlCol="0" anchor="b">
            <a:noAutofit/>
          </a:bodyPr>
          <a:lstStyle>
            <a:defPPr>
              <a:defRPr lang="en-US"/>
            </a:defPPr>
            <a:lvl1pPr algn="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1</a:t>
            </a:r>
          </a:p>
        </p:txBody>
      </p:sp>
      <p:sp>
        <p:nvSpPr>
          <p:cNvPr id="33" name="TextBox 6">
            <a:extLst>
              <a:ext uri="{FF2B5EF4-FFF2-40B4-BE49-F238E27FC236}">
                <a16:creationId xmlns:a16="http://schemas.microsoft.com/office/drawing/2014/main" id="{64D6F959-C111-90F0-2A22-B1F05A78AE97}"/>
              </a:ext>
            </a:extLst>
          </p:cNvPr>
          <p:cNvSpPr txBox="1"/>
          <p:nvPr/>
        </p:nvSpPr>
        <p:spPr>
          <a:xfrm>
            <a:off x="6024563" y="2178819"/>
            <a:ext cx="1666791" cy="553998"/>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4" name="TextBox 7">
            <a:extLst>
              <a:ext uri="{FF2B5EF4-FFF2-40B4-BE49-F238E27FC236}">
                <a16:creationId xmlns:a16="http://schemas.microsoft.com/office/drawing/2014/main" id="{89C425E5-C177-6829-A715-5B0292C66AE5}"/>
              </a:ext>
            </a:extLst>
          </p:cNvPr>
          <p:cNvSpPr txBox="1"/>
          <p:nvPr/>
        </p:nvSpPr>
        <p:spPr>
          <a:xfrm>
            <a:off x="1311520" y="5131014"/>
            <a:ext cx="1920839" cy="353943"/>
          </a:xfrm>
          <a:prstGeom prst="rect">
            <a:avLst/>
          </a:prstGeom>
          <a:noFill/>
        </p:spPr>
        <p:txBody>
          <a:bodyPr wrap="square" lIns="0" tIns="0" rIns="0" bIns="0" rtlCol="0" anchor="b">
            <a:noAutofit/>
          </a:bodyPr>
          <a:lstStyle>
            <a:defPPr>
              <a:defRPr lang="en-US"/>
            </a:defPPr>
            <a:lvl1pP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02</a:t>
            </a:r>
          </a:p>
        </p:txBody>
      </p:sp>
      <p:sp>
        <p:nvSpPr>
          <p:cNvPr id="35" name="TextBox 8">
            <a:extLst>
              <a:ext uri="{FF2B5EF4-FFF2-40B4-BE49-F238E27FC236}">
                <a16:creationId xmlns:a16="http://schemas.microsoft.com/office/drawing/2014/main" id="{DACAE294-5D72-DB7E-A642-3785427C7F44}"/>
              </a:ext>
            </a:extLst>
          </p:cNvPr>
          <p:cNvSpPr txBox="1"/>
          <p:nvPr/>
        </p:nvSpPr>
        <p:spPr>
          <a:xfrm>
            <a:off x="1311519" y="5509973"/>
            <a:ext cx="1383491" cy="738664"/>
          </a:xfrm>
          <a:prstGeom prst="rect">
            <a:avLst/>
          </a:prstGeom>
          <a:noFill/>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stStyle>
          <a:p>
            <a:r>
              <a:rPr lang="en-US" dirty="0"/>
              <a:t>Lorem ipsum dolor sit </a:t>
            </a:r>
            <a:r>
              <a:rPr lang="en-US" dirty="0" err="1"/>
              <a:t>amet</a:t>
            </a:r>
            <a:r>
              <a:rPr lang="en-US" dirty="0"/>
              <a:t>, </a:t>
            </a:r>
            <a:r>
              <a:rPr lang="en-US" dirty="0" err="1"/>
              <a:t>consectetur</a:t>
            </a:r>
            <a:endParaRPr lang="en-US" dirty="0"/>
          </a:p>
          <a:p>
            <a:endParaRPr lang="en-US" dirty="0"/>
          </a:p>
        </p:txBody>
      </p:sp>
      <p:sp>
        <p:nvSpPr>
          <p:cNvPr id="36" name="TextBox 9">
            <a:extLst>
              <a:ext uri="{FF2B5EF4-FFF2-40B4-BE49-F238E27FC236}">
                <a16:creationId xmlns:a16="http://schemas.microsoft.com/office/drawing/2014/main" id="{C7B5CFFA-665D-E96B-EC0F-8E2AA2D3253B}"/>
              </a:ext>
            </a:extLst>
          </p:cNvPr>
          <p:cNvSpPr txBox="1"/>
          <p:nvPr/>
        </p:nvSpPr>
        <p:spPr>
          <a:xfrm>
            <a:off x="3466385"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3</a:t>
            </a:r>
          </a:p>
        </p:txBody>
      </p:sp>
      <p:sp>
        <p:nvSpPr>
          <p:cNvPr id="37" name="TextBox 10">
            <a:extLst>
              <a:ext uri="{FF2B5EF4-FFF2-40B4-BE49-F238E27FC236}">
                <a16:creationId xmlns:a16="http://schemas.microsoft.com/office/drawing/2014/main" id="{74D2C8C8-835D-F1DC-2250-AA8B0EF460FC}"/>
              </a:ext>
            </a:extLst>
          </p:cNvPr>
          <p:cNvSpPr txBox="1"/>
          <p:nvPr/>
        </p:nvSpPr>
        <p:spPr>
          <a:xfrm>
            <a:off x="3466385"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38" name="TextBox 11">
            <a:extLst>
              <a:ext uri="{FF2B5EF4-FFF2-40B4-BE49-F238E27FC236}">
                <a16:creationId xmlns:a16="http://schemas.microsoft.com/office/drawing/2014/main" id="{67F3DBBE-BC33-FBE1-C607-16A52C18A728}"/>
              </a:ext>
            </a:extLst>
          </p:cNvPr>
          <p:cNvSpPr txBox="1"/>
          <p:nvPr/>
        </p:nvSpPr>
        <p:spPr>
          <a:xfrm>
            <a:off x="561606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4</a:t>
            </a:r>
          </a:p>
        </p:txBody>
      </p:sp>
      <p:sp>
        <p:nvSpPr>
          <p:cNvPr id="39" name="TextBox 12">
            <a:extLst>
              <a:ext uri="{FF2B5EF4-FFF2-40B4-BE49-F238E27FC236}">
                <a16:creationId xmlns:a16="http://schemas.microsoft.com/office/drawing/2014/main" id="{3E184DE6-E9E6-3920-9F00-3DF2D0483FF8}"/>
              </a:ext>
            </a:extLst>
          </p:cNvPr>
          <p:cNvSpPr txBox="1"/>
          <p:nvPr/>
        </p:nvSpPr>
        <p:spPr>
          <a:xfrm>
            <a:off x="561606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0" name="TextBox 13">
            <a:extLst>
              <a:ext uri="{FF2B5EF4-FFF2-40B4-BE49-F238E27FC236}">
                <a16:creationId xmlns:a16="http://schemas.microsoft.com/office/drawing/2014/main" id="{A852AF35-71A2-3A48-3B28-6CB5795B1BDB}"/>
              </a:ext>
            </a:extLst>
          </p:cNvPr>
          <p:cNvSpPr txBox="1"/>
          <p:nvPr/>
        </p:nvSpPr>
        <p:spPr>
          <a:xfrm>
            <a:off x="7765744"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5</a:t>
            </a:r>
          </a:p>
        </p:txBody>
      </p:sp>
      <p:sp>
        <p:nvSpPr>
          <p:cNvPr id="41" name="TextBox 14">
            <a:extLst>
              <a:ext uri="{FF2B5EF4-FFF2-40B4-BE49-F238E27FC236}">
                <a16:creationId xmlns:a16="http://schemas.microsoft.com/office/drawing/2014/main" id="{56B808B5-0549-99DE-D53F-8856ADDD3CE7}"/>
              </a:ext>
            </a:extLst>
          </p:cNvPr>
          <p:cNvSpPr txBox="1"/>
          <p:nvPr/>
        </p:nvSpPr>
        <p:spPr>
          <a:xfrm>
            <a:off x="7765744" y="5509973"/>
            <a:ext cx="1383491"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p:txBody>
      </p:sp>
      <p:sp>
        <p:nvSpPr>
          <p:cNvPr id="42" name="TextBox 15">
            <a:extLst>
              <a:ext uri="{FF2B5EF4-FFF2-40B4-BE49-F238E27FC236}">
                <a16:creationId xmlns:a16="http://schemas.microsoft.com/office/drawing/2014/main" id="{96AADD8A-F5B4-9AFE-F958-F6A08EE8A097}"/>
              </a:ext>
            </a:extLst>
          </p:cNvPr>
          <p:cNvSpPr txBox="1"/>
          <p:nvPr/>
        </p:nvSpPr>
        <p:spPr>
          <a:xfrm>
            <a:off x="9920608" y="5131014"/>
            <a:ext cx="1920839" cy="353943"/>
          </a:xfrm>
          <a:prstGeom prst="rect">
            <a:avLst/>
          </a:prstGeom>
          <a:noFill/>
        </p:spPr>
        <p:txBody>
          <a:bodyPr wrap="square" lIns="0" tIns="0" rIns="0" bIns="0" rtlCol="0" anchor="b">
            <a:noAutofit/>
          </a:bodyPr>
          <a:lstStyle>
            <a:defPPr>
              <a:defRPr lang="en-US"/>
            </a:defPPr>
            <a:lvl1pPr algn="ctr">
              <a:defRPr sz="1400"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TITLE 06</a:t>
            </a:r>
          </a:p>
        </p:txBody>
      </p:sp>
      <p:sp>
        <p:nvSpPr>
          <p:cNvPr id="43" name="TextBox 16">
            <a:extLst>
              <a:ext uri="{FF2B5EF4-FFF2-40B4-BE49-F238E27FC236}">
                <a16:creationId xmlns:a16="http://schemas.microsoft.com/office/drawing/2014/main" id="{E52AE0B3-094A-070F-2198-D1A96AC540F4}"/>
              </a:ext>
            </a:extLst>
          </p:cNvPr>
          <p:cNvSpPr txBox="1"/>
          <p:nvPr/>
        </p:nvSpPr>
        <p:spPr>
          <a:xfrm>
            <a:off x="9920608" y="5509973"/>
            <a:ext cx="138349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t>Lorem ipsum dolor sit </a:t>
            </a:r>
            <a:r>
              <a:rPr lang="en-US" dirty="0" err="1"/>
              <a:t>amet</a:t>
            </a:r>
            <a:r>
              <a:rPr lang="en-US" dirty="0"/>
              <a:t>, </a:t>
            </a:r>
            <a:r>
              <a:rPr lang="en-US" dirty="0" err="1"/>
              <a:t>consectetur</a:t>
            </a:r>
            <a:endParaRPr lang="en-US" dirty="0"/>
          </a:p>
          <a:p>
            <a:pPr algn="l"/>
            <a:endParaRPr lang="en-US" dirty="0"/>
          </a:p>
          <a:p>
            <a:pPr algn="l"/>
            <a:r>
              <a:rPr lang="en-US" dirty="0"/>
              <a:t>.</a:t>
            </a:r>
          </a:p>
        </p:txBody>
      </p:sp>
      <p:sp>
        <p:nvSpPr>
          <p:cNvPr id="2" name="Footer Placeholder 1">
            <a:extLst>
              <a:ext uri="{FF2B5EF4-FFF2-40B4-BE49-F238E27FC236}">
                <a16:creationId xmlns:a16="http://schemas.microsoft.com/office/drawing/2014/main" id="{A3A1F766-ADD4-11B2-A765-1F6936467CD9}"/>
              </a:ext>
            </a:extLst>
          </p:cNvPr>
          <p:cNvSpPr>
            <a:spLocks noGrp="1"/>
          </p:cNvSpPr>
          <p:nvPr>
            <p:ph type="ftr" sz="quarter" idx="3"/>
          </p:nvPr>
        </p:nvSpPr>
        <p:spPr/>
        <p:txBody>
          <a:bodyPr/>
          <a:lstStyle/>
          <a:p>
            <a:r>
              <a:rPr lang="en-US"/>
              <a:t>Source:_______</a:t>
            </a:r>
            <a:endParaRPr lang="en-US" dirty="0"/>
          </a:p>
        </p:txBody>
      </p:sp>
      <p:sp>
        <p:nvSpPr>
          <p:cNvPr id="6" name="Título 5">
            <a:extLst>
              <a:ext uri="{FF2B5EF4-FFF2-40B4-BE49-F238E27FC236}">
                <a16:creationId xmlns:a16="http://schemas.microsoft.com/office/drawing/2014/main" id="{015D3451-AF21-CC6C-C50C-9DFEB97FB30A}"/>
              </a:ext>
            </a:extLst>
          </p:cNvPr>
          <p:cNvSpPr>
            <a:spLocks noGrp="1"/>
          </p:cNvSpPr>
          <p:nvPr>
            <p:ph type="title"/>
          </p:nvPr>
        </p:nvSpPr>
        <p:spPr/>
        <p:txBody>
          <a:bodyPr vert="horz"/>
          <a:lstStyle/>
          <a:p>
            <a:r>
              <a:rPr lang="en-US" dirty="0"/>
              <a:t>Template - Hierarchy Infographic</a:t>
            </a:r>
          </a:p>
        </p:txBody>
      </p:sp>
    </p:spTree>
    <p:extLst>
      <p:ext uri="{BB962C8B-B14F-4D97-AF65-F5344CB8AC3E}">
        <p14:creationId xmlns:p14="http://schemas.microsoft.com/office/powerpoint/2010/main" val="215972471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6E1F8B7-BD61-4F51-2514-3EB300B6BD0A}"/>
              </a:ext>
            </a:extLst>
          </p:cNvPr>
          <p:cNvGraphicFramePr>
            <a:graphicFrameLocks noChangeAspect="1"/>
          </p:cNvGraphicFramePr>
          <p:nvPr>
            <p:custDataLst>
              <p:tags r:id="rId1"/>
            </p:custDataLst>
            <p:extLst>
              <p:ext uri="{D42A27DB-BD31-4B8C-83A1-F6EECF244321}">
                <p14:modId xmlns:p14="http://schemas.microsoft.com/office/powerpoint/2010/main" val="3187222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D6E1F8B7-BD61-4F51-2514-3EB300B6BD0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C71C7F2A-91A5-9142-AC6C-E43A61111DF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2" name="Conector recto 9">
            <a:extLst>
              <a:ext uri="{FF2B5EF4-FFF2-40B4-BE49-F238E27FC236}">
                <a16:creationId xmlns:a16="http://schemas.microsoft.com/office/drawing/2014/main" id="{09BCDEB6-5F7C-7DBE-1506-827C28776006}"/>
              </a:ext>
            </a:extLst>
          </p:cNvPr>
          <p:cNvCxnSpPr>
            <a:cxnSpLocks/>
          </p:cNvCxnSpPr>
          <p:nvPr/>
        </p:nvCxnSpPr>
        <p:spPr>
          <a:xfrm>
            <a:off x="384174" y="3925094"/>
            <a:ext cx="202292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A6C55719-142A-B351-E71A-E3BBF9E6B52C}"/>
              </a:ext>
            </a:extLst>
          </p:cNvPr>
          <p:cNvSpPr txBox="1">
            <a:spLocks/>
          </p:cNvSpPr>
          <p:nvPr/>
        </p:nvSpPr>
        <p:spPr>
          <a:xfrm>
            <a:off x="371472" y="2186394"/>
            <a:ext cx="2035629" cy="971549"/>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angle 89">
            <a:extLst>
              <a:ext uri="{FF2B5EF4-FFF2-40B4-BE49-F238E27FC236}">
                <a16:creationId xmlns:a16="http://schemas.microsoft.com/office/drawing/2014/main" id="{C8EF09DA-634A-1851-7CE8-C80750B1E3FD}"/>
              </a:ext>
            </a:extLst>
          </p:cNvPr>
          <p:cNvSpPr/>
          <p:nvPr/>
        </p:nvSpPr>
        <p:spPr>
          <a:xfrm>
            <a:off x="2654646" y="2186937"/>
            <a:ext cx="1884697" cy="97046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9">
            <a:extLst>
              <a:ext uri="{FF2B5EF4-FFF2-40B4-BE49-F238E27FC236}">
                <a16:creationId xmlns:a16="http://schemas.microsoft.com/office/drawing/2014/main" id="{C05832F4-F11E-CDB5-EA36-227045D65950}"/>
              </a:ext>
            </a:extLst>
          </p:cNvPr>
          <p:cNvSpPr/>
          <p:nvPr/>
        </p:nvSpPr>
        <p:spPr>
          <a:xfrm>
            <a:off x="4786887" y="2186937"/>
            <a:ext cx="1884697" cy="970463"/>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55">
            <a:extLst>
              <a:ext uri="{FF2B5EF4-FFF2-40B4-BE49-F238E27FC236}">
                <a16:creationId xmlns:a16="http://schemas.microsoft.com/office/drawing/2014/main" id="{5A09694C-115C-527E-153F-ED8CF4B17BA0}"/>
              </a:ext>
            </a:extLst>
          </p:cNvPr>
          <p:cNvSpPr/>
          <p:nvPr/>
        </p:nvSpPr>
        <p:spPr>
          <a:xfrm>
            <a:off x="384174"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4" name="Rectangle 55">
            <a:extLst>
              <a:ext uri="{FF2B5EF4-FFF2-40B4-BE49-F238E27FC236}">
                <a16:creationId xmlns:a16="http://schemas.microsoft.com/office/drawing/2014/main" id="{AC7F97EC-9D67-4FE2-017C-9E7E285243BF}"/>
              </a:ext>
            </a:extLst>
          </p:cNvPr>
          <p:cNvSpPr/>
          <p:nvPr/>
        </p:nvSpPr>
        <p:spPr>
          <a:xfrm>
            <a:off x="1189717"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5" name="Rectangle 55">
            <a:extLst>
              <a:ext uri="{FF2B5EF4-FFF2-40B4-BE49-F238E27FC236}">
                <a16:creationId xmlns:a16="http://schemas.microsoft.com/office/drawing/2014/main" id="{E85DAB1D-6717-28EC-0856-FE25D2F303D7}"/>
              </a:ext>
            </a:extLst>
          </p:cNvPr>
          <p:cNvSpPr/>
          <p:nvPr/>
        </p:nvSpPr>
        <p:spPr>
          <a:xfrm>
            <a:off x="1995260" y="4233731"/>
            <a:ext cx="575585" cy="5887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6" name="Rectangle 55">
            <a:extLst>
              <a:ext uri="{FF2B5EF4-FFF2-40B4-BE49-F238E27FC236}">
                <a16:creationId xmlns:a16="http://schemas.microsoft.com/office/drawing/2014/main" id="{99375E7E-7135-6AB5-2D2F-3E8314C923AC}"/>
              </a:ext>
            </a:extLst>
          </p:cNvPr>
          <p:cNvSpPr/>
          <p:nvPr/>
        </p:nvSpPr>
        <p:spPr>
          <a:xfrm>
            <a:off x="384174"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7" name="Rectangle 55">
            <a:extLst>
              <a:ext uri="{FF2B5EF4-FFF2-40B4-BE49-F238E27FC236}">
                <a16:creationId xmlns:a16="http://schemas.microsoft.com/office/drawing/2014/main" id="{5F17E281-D8D3-B203-E8FD-B31B781BBAD0}"/>
              </a:ext>
            </a:extLst>
          </p:cNvPr>
          <p:cNvSpPr/>
          <p:nvPr/>
        </p:nvSpPr>
        <p:spPr>
          <a:xfrm>
            <a:off x="1189717"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18" name="Rectangle 55">
            <a:extLst>
              <a:ext uri="{FF2B5EF4-FFF2-40B4-BE49-F238E27FC236}">
                <a16:creationId xmlns:a16="http://schemas.microsoft.com/office/drawing/2014/main" id="{D730E27C-35D0-0996-2E03-3AC235383F6F}"/>
              </a:ext>
            </a:extLst>
          </p:cNvPr>
          <p:cNvSpPr/>
          <p:nvPr/>
        </p:nvSpPr>
        <p:spPr>
          <a:xfrm>
            <a:off x="1995260" y="4976835"/>
            <a:ext cx="575585" cy="588786"/>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19" name="Rectangle 55">
            <a:extLst>
              <a:ext uri="{FF2B5EF4-FFF2-40B4-BE49-F238E27FC236}">
                <a16:creationId xmlns:a16="http://schemas.microsoft.com/office/drawing/2014/main" id="{CDBF32CB-E3A5-6781-6EBC-5AD6618E8069}"/>
              </a:ext>
            </a:extLst>
          </p:cNvPr>
          <p:cNvSpPr/>
          <p:nvPr/>
        </p:nvSpPr>
        <p:spPr>
          <a:xfrm>
            <a:off x="373288"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20" name="Rectangle 55">
            <a:extLst>
              <a:ext uri="{FF2B5EF4-FFF2-40B4-BE49-F238E27FC236}">
                <a16:creationId xmlns:a16="http://schemas.microsoft.com/office/drawing/2014/main" id="{63F9F9CF-D7A1-C4FB-600C-65CBE3FB3F64}"/>
              </a:ext>
            </a:extLst>
          </p:cNvPr>
          <p:cNvSpPr/>
          <p:nvPr/>
        </p:nvSpPr>
        <p:spPr>
          <a:xfrm>
            <a:off x="1178831"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1" name="Rectangle 55">
            <a:extLst>
              <a:ext uri="{FF2B5EF4-FFF2-40B4-BE49-F238E27FC236}">
                <a16:creationId xmlns:a16="http://schemas.microsoft.com/office/drawing/2014/main" id="{473E2A9D-A105-C01A-BE15-7D1DF37BEF79}"/>
              </a:ext>
            </a:extLst>
          </p:cNvPr>
          <p:cNvSpPr/>
          <p:nvPr/>
        </p:nvSpPr>
        <p:spPr>
          <a:xfrm>
            <a:off x="1984374" y="5719939"/>
            <a:ext cx="575585" cy="5887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grpSp>
        <p:nvGrpSpPr>
          <p:cNvPr id="22" name="Grupo 42">
            <a:extLst>
              <a:ext uri="{FF2B5EF4-FFF2-40B4-BE49-F238E27FC236}">
                <a16:creationId xmlns:a16="http://schemas.microsoft.com/office/drawing/2014/main" id="{7BE6CCEB-5F3D-03A5-EEB8-C1B0FA192754}"/>
              </a:ext>
            </a:extLst>
          </p:cNvPr>
          <p:cNvGrpSpPr/>
          <p:nvPr/>
        </p:nvGrpSpPr>
        <p:grpSpPr>
          <a:xfrm>
            <a:off x="3124519" y="4646038"/>
            <a:ext cx="739910" cy="874955"/>
            <a:chOff x="3657318" y="2960019"/>
            <a:chExt cx="428407" cy="506598"/>
          </a:xfrm>
        </p:grpSpPr>
        <p:grpSp>
          <p:nvGrpSpPr>
            <p:cNvPr id="23" name="Grupo 43">
              <a:extLst>
                <a:ext uri="{FF2B5EF4-FFF2-40B4-BE49-F238E27FC236}">
                  <a16:creationId xmlns:a16="http://schemas.microsoft.com/office/drawing/2014/main" id="{8A83912D-82A6-C3AE-596E-2E83CEAC9C47}"/>
                </a:ext>
              </a:extLst>
            </p:cNvPr>
            <p:cNvGrpSpPr/>
            <p:nvPr/>
          </p:nvGrpSpPr>
          <p:grpSpPr>
            <a:xfrm>
              <a:off x="3828604" y="2960019"/>
              <a:ext cx="257121" cy="506598"/>
              <a:chOff x="2468880" y="3319199"/>
              <a:chExt cx="257121" cy="506598"/>
            </a:xfrm>
          </p:grpSpPr>
          <p:cxnSp>
            <p:nvCxnSpPr>
              <p:cNvPr id="25" name="Conector recto 45">
                <a:extLst>
                  <a:ext uri="{FF2B5EF4-FFF2-40B4-BE49-F238E27FC236}">
                    <a16:creationId xmlns:a16="http://schemas.microsoft.com/office/drawing/2014/main" id="{A5904D53-56F0-302C-3F86-EE887001BCE9}"/>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46">
                <a:extLst>
                  <a:ext uri="{FF2B5EF4-FFF2-40B4-BE49-F238E27FC236}">
                    <a16:creationId xmlns:a16="http://schemas.microsoft.com/office/drawing/2014/main" id="{03F68EEB-9331-4010-10DB-C8C592C4595B}"/>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Conector recto 44">
              <a:extLst>
                <a:ext uri="{FF2B5EF4-FFF2-40B4-BE49-F238E27FC236}">
                  <a16:creationId xmlns:a16="http://schemas.microsoft.com/office/drawing/2014/main" id="{DCA54BBC-9EC5-B168-2ACE-63524E4ABBF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E04910A-97C2-0E2B-5EAC-A16B5DB5A789}"/>
              </a:ext>
            </a:extLst>
          </p:cNvPr>
          <p:cNvGrpSpPr/>
          <p:nvPr/>
        </p:nvGrpSpPr>
        <p:grpSpPr>
          <a:xfrm>
            <a:off x="7132864" y="2186937"/>
            <a:ext cx="4671785" cy="970463"/>
            <a:chOff x="7652659" y="2186394"/>
            <a:chExt cx="4169226" cy="970463"/>
          </a:xfrm>
        </p:grpSpPr>
        <p:sp>
          <p:nvSpPr>
            <p:cNvPr id="27" name="Rectangle 26">
              <a:extLst>
                <a:ext uri="{FF2B5EF4-FFF2-40B4-BE49-F238E27FC236}">
                  <a16:creationId xmlns:a16="http://schemas.microsoft.com/office/drawing/2014/main" id="{79E3F5E0-0FED-E692-7C1F-B5C5B8B644BE}"/>
                </a:ext>
              </a:extLst>
            </p:cNvPr>
            <p:cNvSpPr/>
            <p:nvPr/>
          </p:nvSpPr>
          <p:spPr>
            <a:xfrm>
              <a:off x="7652659" y="2186394"/>
              <a:ext cx="955329" cy="9704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Rectangle 27">
              <a:extLst>
                <a:ext uri="{FF2B5EF4-FFF2-40B4-BE49-F238E27FC236}">
                  <a16:creationId xmlns:a16="http://schemas.microsoft.com/office/drawing/2014/main" id="{21583CDB-F8A9-5E70-A60C-BB4BD99BBF6F}"/>
                </a:ext>
              </a:extLst>
            </p:cNvPr>
            <p:cNvSpPr/>
            <p:nvPr/>
          </p:nvSpPr>
          <p:spPr>
            <a:xfrm>
              <a:off x="8723958" y="2186394"/>
              <a:ext cx="955329" cy="9704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Rectangle 28">
              <a:extLst>
                <a:ext uri="{FF2B5EF4-FFF2-40B4-BE49-F238E27FC236}">
                  <a16:creationId xmlns:a16="http://schemas.microsoft.com/office/drawing/2014/main" id="{6995A54A-D1A2-57A0-19E5-9698DE9FCFE2}"/>
                </a:ext>
              </a:extLst>
            </p:cNvPr>
            <p:cNvSpPr/>
            <p:nvPr/>
          </p:nvSpPr>
          <p:spPr>
            <a:xfrm>
              <a:off x="9795257" y="2186394"/>
              <a:ext cx="955329" cy="97046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Rectangle 29">
              <a:extLst>
                <a:ext uri="{FF2B5EF4-FFF2-40B4-BE49-F238E27FC236}">
                  <a16:creationId xmlns:a16="http://schemas.microsoft.com/office/drawing/2014/main" id="{2346E1F0-D214-752B-9883-277BDD6E1D70}"/>
                </a:ext>
              </a:extLst>
            </p:cNvPr>
            <p:cNvSpPr/>
            <p:nvPr/>
          </p:nvSpPr>
          <p:spPr>
            <a:xfrm>
              <a:off x="10866556" y="2186394"/>
              <a:ext cx="955329" cy="9704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cxnSp>
        <p:nvCxnSpPr>
          <p:cNvPr id="32" name="Straight Connector 31">
            <a:extLst>
              <a:ext uri="{FF2B5EF4-FFF2-40B4-BE49-F238E27FC236}">
                <a16:creationId xmlns:a16="http://schemas.microsoft.com/office/drawing/2014/main" id="{A4746746-9C2A-9921-B9C9-0CF8D48668FA}"/>
              </a:ext>
            </a:extLst>
          </p:cNvPr>
          <p:cNvCxnSpPr/>
          <p:nvPr/>
        </p:nvCxnSpPr>
        <p:spPr>
          <a:xfrm>
            <a:off x="371472" y="3570514"/>
            <a:ext cx="20356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5D219BFE-B6D9-FE93-06F2-560223CA16AF}"/>
              </a:ext>
            </a:extLst>
          </p:cNvPr>
          <p:cNvGrpSpPr>
            <a:grpSpLocks noChangeAspect="1"/>
          </p:cNvGrpSpPr>
          <p:nvPr/>
        </p:nvGrpSpPr>
        <p:grpSpPr>
          <a:xfrm>
            <a:off x="4484914" y="4866079"/>
            <a:ext cx="457522" cy="457522"/>
            <a:chOff x="1146176" y="2373313"/>
            <a:chExt cx="692150" cy="692150"/>
          </a:xfrm>
          <a:solidFill>
            <a:schemeClr val="tx2"/>
          </a:solidFill>
        </p:grpSpPr>
        <p:sp>
          <p:nvSpPr>
            <p:cNvPr id="34" name="Freeform 5">
              <a:extLst>
                <a:ext uri="{FF2B5EF4-FFF2-40B4-BE49-F238E27FC236}">
                  <a16:creationId xmlns:a16="http://schemas.microsoft.com/office/drawing/2014/main" id="{D9E9DB63-3F2D-211C-31FC-C8F824C3C274}"/>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5" name="Freeform 6">
              <a:extLst>
                <a:ext uri="{FF2B5EF4-FFF2-40B4-BE49-F238E27FC236}">
                  <a16:creationId xmlns:a16="http://schemas.microsoft.com/office/drawing/2014/main" id="{791951B5-47AA-396D-D4BA-2285A711B3BC}"/>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7">
              <a:extLst>
                <a:ext uri="{FF2B5EF4-FFF2-40B4-BE49-F238E27FC236}">
                  <a16:creationId xmlns:a16="http://schemas.microsoft.com/office/drawing/2014/main" id="{16F2892C-ABCF-AD69-36AA-A7F57DB0D4BF}"/>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8">
              <a:extLst>
                <a:ext uri="{FF2B5EF4-FFF2-40B4-BE49-F238E27FC236}">
                  <a16:creationId xmlns:a16="http://schemas.microsoft.com/office/drawing/2014/main" id="{96DBEF86-EB0E-9E25-0C0E-22335045AB7E}"/>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9">
              <a:extLst>
                <a:ext uri="{FF2B5EF4-FFF2-40B4-BE49-F238E27FC236}">
                  <a16:creationId xmlns:a16="http://schemas.microsoft.com/office/drawing/2014/main" id="{441D6560-CBE3-EE1D-7CAE-CEF28E72F394}"/>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39" name="Group 38">
            <a:extLst>
              <a:ext uri="{FF2B5EF4-FFF2-40B4-BE49-F238E27FC236}">
                <a16:creationId xmlns:a16="http://schemas.microsoft.com/office/drawing/2014/main" id="{E9DF3F7B-30D2-E7AC-8106-09CE1742BF50}"/>
              </a:ext>
            </a:extLst>
          </p:cNvPr>
          <p:cNvGrpSpPr>
            <a:grpSpLocks noChangeAspect="1"/>
          </p:cNvGrpSpPr>
          <p:nvPr/>
        </p:nvGrpSpPr>
        <p:grpSpPr>
          <a:xfrm>
            <a:off x="6174129" y="4834953"/>
            <a:ext cx="458577" cy="457522"/>
            <a:chOff x="4786313" y="2373313"/>
            <a:chExt cx="692150" cy="690562"/>
          </a:xfrm>
          <a:solidFill>
            <a:schemeClr val="tx2"/>
          </a:solidFill>
        </p:grpSpPr>
        <p:sp>
          <p:nvSpPr>
            <p:cNvPr id="40" name="Freeform 27">
              <a:extLst>
                <a:ext uri="{FF2B5EF4-FFF2-40B4-BE49-F238E27FC236}">
                  <a16:creationId xmlns:a16="http://schemas.microsoft.com/office/drawing/2014/main" id="{0B724127-581F-031C-35E1-4A14CCDEB845}"/>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8">
              <a:extLst>
                <a:ext uri="{FF2B5EF4-FFF2-40B4-BE49-F238E27FC236}">
                  <a16:creationId xmlns:a16="http://schemas.microsoft.com/office/drawing/2014/main" id="{EC3EB34B-F7BD-C9A3-136F-9EBD5970989A}"/>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9">
              <a:extLst>
                <a:ext uri="{FF2B5EF4-FFF2-40B4-BE49-F238E27FC236}">
                  <a16:creationId xmlns:a16="http://schemas.microsoft.com/office/drawing/2014/main" id="{FD217B13-7AA1-001A-BB4F-A3A01294E9B1}"/>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3" name="Grupo 79">
            <a:extLst>
              <a:ext uri="{FF2B5EF4-FFF2-40B4-BE49-F238E27FC236}">
                <a16:creationId xmlns:a16="http://schemas.microsoft.com/office/drawing/2014/main" id="{F1C8397F-7250-A624-7E9F-F6A675C69BB3}"/>
              </a:ext>
            </a:extLst>
          </p:cNvPr>
          <p:cNvGrpSpPr/>
          <p:nvPr/>
        </p:nvGrpSpPr>
        <p:grpSpPr>
          <a:xfrm>
            <a:off x="5330306" y="4821733"/>
            <a:ext cx="562467" cy="484674"/>
            <a:chOff x="3396568" y="5931108"/>
            <a:chExt cx="574701" cy="495216"/>
          </a:xfrm>
          <a:solidFill>
            <a:schemeClr val="tx2"/>
          </a:solidFill>
        </p:grpSpPr>
        <p:sp>
          <p:nvSpPr>
            <p:cNvPr id="44" name="Forma libre 7">
              <a:extLst>
                <a:ext uri="{FF2B5EF4-FFF2-40B4-BE49-F238E27FC236}">
                  <a16:creationId xmlns:a16="http://schemas.microsoft.com/office/drawing/2014/main" id="{E49CD861-A1B4-F85A-8184-0C4DFD2CBC25}"/>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orma libre 9">
              <a:extLst>
                <a:ext uri="{FF2B5EF4-FFF2-40B4-BE49-F238E27FC236}">
                  <a16:creationId xmlns:a16="http://schemas.microsoft.com/office/drawing/2014/main" id="{8611D4CF-EB1D-DD65-F828-7A2F1CD32D8F}"/>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 name="Footer Placeholder 8">
            <a:extLst>
              <a:ext uri="{FF2B5EF4-FFF2-40B4-BE49-F238E27FC236}">
                <a16:creationId xmlns:a16="http://schemas.microsoft.com/office/drawing/2014/main" id="{7B6599CD-B3DC-349D-3C25-1E71E24F937A}"/>
              </a:ext>
            </a:extLst>
          </p:cNvPr>
          <p:cNvSpPr>
            <a:spLocks noGrp="1"/>
          </p:cNvSpPr>
          <p:nvPr>
            <p:ph type="ftr" sz="quarter" idx="3"/>
          </p:nvPr>
        </p:nvSpPr>
        <p:spPr/>
        <p:txBody>
          <a:bodyPr/>
          <a:lstStyle/>
          <a:p>
            <a:r>
              <a:rPr lang="en-US"/>
              <a:t>Source:_______</a:t>
            </a:r>
            <a:endParaRPr lang="en-US" dirty="0"/>
          </a:p>
        </p:txBody>
      </p:sp>
      <p:sp>
        <p:nvSpPr>
          <p:cNvPr id="13" name="Título 12">
            <a:extLst>
              <a:ext uri="{FF2B5EF4-FFF2-40B4-BE49-F238E27FC236}">
                <a16:creationId xmlns:a16="http://schemas.microsoft.com/office/drawing/2014/main" id="{4E8D2FED-9101-DEF3-7C65-4E9A4D39BAB1}"/>
              </a:ext>
            </a:extLst>
          </p:cNvPr>
          <p:cNvSpPr>
            <a:spLocks noGrp="1"/>
          </p:cNvSpPr>
          <p:nvPr>
            <p:ph type="title"/>
          </p:nvPr>
        </p:nvSpPr>
        <p:spPr/>
        <p:txBody>
          <a:bodyPr vert="horz"/>
          <a:lstStyle/>
          <a:p>
            <a:r>
              <a:rPr lang="en-US" dirty="0"/>
              <a:t>Template - Elements</a:t>
            </a:r>
          </a:p>
        </p:txBody>
      </p:sp>
    </p:spTree>
    <p:extLst>
      <p:ext uri="{BB962C8B-B14F-4D97-AF65-F5344CB8AC3E}">
        <p14:creationId xmlns:p14="http://schemas.microsoft.com/office/powerpoint/2010/main" val="28415645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82B2D88-D530-E68B-3B3C-AA7902AC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582B2D88-D530-E68B-3B3C-AA7902AC1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AAF1CAC-4BA8-CC0F-1130-926D94C838F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E9441D05-EBA6-88A4-63A8-6E4F23989C40}"/>
              </a:ext>
            </a:extLst>
          </p:cNvPr>
          <p:cNvSpPr>
            <a:spLocks noGrp="1"/>
          </p:cNvSpPr>
          <p:nvPr>
            <p:ph type="title"/>
          </p:nvPr>
        </p:nvSpPr>
        <p:spPr/>
        <p:txBody>
          <a:bodyPr vert="horz"/>
          <a:lstStyle/>
          <a:p>
            <a:r>
              <a:rPr lang="en-US" dirty="0"/>
              <a:t>Template - </a:t>
            </a:r>
            <a:r>
              <a:rPr lang="en-GB" dirty="0"/>
              <a:t>Radial chart</a:t>
            </a:r>
          </a:p>
        </p:txBody>
      </p:sp>
      <p:sp>
        <p:nvSpPr>
          <p:cNvPr id="4" name="Marcador de pie de página 3">
            <a:extLst>
              <a:ext uri="{FF2B5EF4-FFF2-40B4-BE49-F238E27FC236}">
                <a16:creationId xmlns:a16="http://schemas.microsoft.com/office/drawing/2014/main" id="{961F6BAC-05DE-1213-4E4A-536073DE0F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9" name="Gráfico 8">
            <a:extLst>
              <a:ext uri="{FF2B5EF4-FFF2-40B4-BE49-F238E27FC236}">
                <a16:creationId xmlns:a16="http://schemas.microsoft.com/office/drawing/2014/main" id="{126E6FB2-E44A-9F32-02C0-F9A38B707197}"/>
              </a:ext>
            </a:extLst>
          </p:cNvPr>
          <p:cNvGraphicFramePr/>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A6E85FC4-48FC-27CE-008B-440D2D2DDC73}"/>
              </a:ext>
            </a:extLst>
          </p:cNvPr>
          <p:cNvSpPr txBox="1"/>
          <p:nvPr/>
        </p:nvSpPr>
        <p:spPr>
          <a:xfrm>
            <a:off x="7361208" y="4769476"/>
            <a:ext cx="1339745" cy="184666"/>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EAA68859-5A0E-2EA2-0248-4ED51F50E480}"/>
              </a:ext>
            </a:extLst>
          </p:cNvPr>
          <p:cNvSpPr txBox="1"/>
          <p:nvPr/>
        </p:nvSpPr>
        <p:spPr>
          <a:xfrm>
            <a:off x="3530183" y="4186152"/>
            <a:ext cx="1339745" cy="184666"/>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95290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290987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Using PID loops to ensure robot follows the quintic polynomial-based approach discussed earlier</a:t>
            </a:r>
          </a:p>
        </p:txBody>
      </p:sp>
      <p:pic>
        <p:nvPicPr>
          <p:cNvPr id="1028" name="Picture 4" descr="PID Control Made Easy » Guy on Simulink - MATLAB &amp; Simulink">
            <a:extLst>
              <a:ext uri="{FF2B5EF4-FFF2-40B4-BE49-F238E27FC236}">
                <a16:creationId xmlns:a16="http://schemas.microsoft.com/office/drawing/2014/main" id="{99FBB7F3-97BA-83D4-451A-979A426F57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18941" y="7695728"/>
            <a:ext cx="6367587" cy="26637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3770511-BDF3-A54C-0ED4-6EC5148744D6}"/>
              </a:ext>
            </a:extLst>
          </p:cNvPr>
          <p:cNvPicPr>
            <a:picLocks noChangeAspect="1"/>
          </p:cNvPicPr>
          <p:nvPr/>
        </p:nvPicPr>
        <p:blipFill>
          <a:blip r:embed="rId6"/>
          <a:stretch>
            <a:fillRect/>
          </a:stretch>
        </p:blipFill>
        <p:spPr>
          <a:xfrm>
            <a:off x="384174" y="3774992"/>
            <a:ext cx="8053729" cy="2681194"/>
          </a:xfrm>
          <a:prstGeom prst="rect">
            <a:avLst/>
          </a:prstGeom>
        </p:spPr>
      </p:pic>
      <p:sp>
        <p:nvSpPr>
          <p:cNvPr id="43" name="Text Placeholder 7">
            <a:extLst>
              <a:ext uri="{FF2B5EF4-FFF2-40B4-BE49-F238E27FC236}">
                <a16:creationId xmlns:a16="http://schemas.microsoft.com/office/drawing/2014/main" id="{3106E82C-7AD0-18A9-DCA3-99D04A85163A}"/>
              </a:ext>
            </a:extLst>
          </p:cNvPr>
          <p:cNvSpPr txBox="1">
            <a:spLocks/>
          </p:cNvSpPr>
          <p:nvPr/>
        </p:nvSpPr>
        <p:spPr>
          <a:xfrm>
            <a:off x="371475" y="1520825"/>
            <a:ext cx="5653088"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Control loop sends waypoint position commands to the external device which generates electromagnetic field; position commands are translated into motor commands such as targeted angular velocity in the X and Y direction</a:t>
            </a:r>
          </a:p>
          <a:p>
            <a:pPr marL="285750" indent="-285750">
              <a:buFont typeface="Arial" panose="020B0604020202020204" pitchFamily="34" charset="0"/>
              <a:buChar char="•"/>
            </a:pPr>
            <a:r>
              <a:rPr lang="en-US" b="0" dirty="0">
                <a:latin typeface="Calibri" panose="020F0502020204030204" pitchFamily="34" charset="0"/>
                <a:cs typeface="Calibri" panose="020F0502020204030204" pitchFamily="34" charset="0"/>
              </a:rPr>
              <a:t>PID loops for each control variable use the robot’s position as feedback to speed up / slow down the robot, ensuring it reaches the waypoint quickly and accurately</a:t>
            </a:r>
          </a:p>
        </p:txBody>
      </p:sp>
      <p:grpSp>
        <p:nvGrpSpPr>
          <p:cNvPr id="50" name="Group 49">
            <a:extLst>
              <a:ext uri="{FF2B5EF4-FFF2-40B4-BE49-F238E27FC236}">
                <a16:creationId xmlns:a16="http://schemas.microsoft.com/office/drawing/2014/main" id="{A03A793C-E4D7-22DE-5D86-B39459E8AA90}"/>
              </a:ext>
            </a:extLst>
          </p:cNvPr>
          <p:cNvGrpSpPr/>
          <p:nvPr/>
        </p:nvGrpSpPr>
        <p:grpSpPr>
          <a:xfrm>
            <a:off x="6949048" y="1097355"/>
            <a:ext cx="3931116" cy="2954933"/>
            <a:chOff x="6949048" y="1018433"/>
            <a:chExt cx="3931116" cy="2954933"/>
          </a:xfrm>
        </p:grpSpPr>
        <p:pic>
          <p:nvPicPr>
            <p:cNvPr id="44" name="Picture 43">
              <a:extLst>
                <a:ext uri="{FF2B5EF4-FFF2-40B4-BE49-F238E27FC236}">
                  <a16:creationId xmlns:a16="http://schemas.microsoft.com/office/drawing/2014/main" id="{FB3C69A2-E9E4-B058-1F5A-D54D02B9ED38}"/>
                </a:ext>
              </a:extLst>
            </p:cNvPr>
            <p:cNvPicPr>
              <a:picLocks noChangeAspect="1"/>
            </p:cNvPicPr>
            <p:nvPr/>
          </p:nvPicPr>
          <p:blipFill>
            <a:blip r:embed="rId7"/>
            <a:stretch>
              <a:fillRect/>
            </a:stretch>
          </p:blipFill>
          <p:spPr>
            <a:xfrm>
              <a:off x="6949048" y="1018433"/>
              <a:ext cx="3931116" cy="2954933"/>
            </a:xfrm>
            <a:prstGeom prst="rect">
              <a:avLst/>
            </a:prstGeom>
          </p:spPr>
        </p:pic>
        <p:sp>
          <p:nvSpPr>
            <p:cNvPr id="45" name="Rectangle 44">
              <a:extLst>
                <a:ext uri="{FF2B5EF4-FFF2-40B4-BE49-F238E27FC236}">
                  <a16:creationId xmlns:a16="http://schemas.microsoft.com/office/drawing/2014/main" id="{C6B210C8-19D8-BEAC-EE9D-A1BFBF3415B6}"/>
                </a:ext>
              </a:extLst>
            </p:cNvPr>
            <p:cNvSpPr/>
            <p:nvPr/>
          </p:nvSpPr>
          <p:spPr>
            <a:xfrm>
              <a:off x="7475838" y="3015046"/>
              <a:ext cx="3391969" cy="884177"/>
            </a:xfrm>
            <a:prstGeom prst="rect">
              <a:avLst/>
            </a:prstGeom>
            <a:noFill/>
            <a:ln w="28575">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sp>
        <p:nvSpPr>
          <p:cNvPr id="49" name="TextBox 48">
            <a:extLst>
              <a:ext uri="{FF2B5EF4-FFF2-40B4-BE49-F238E27FC236}">
                <a16:creationId xmlns:a16="http://schemas.microsoft.com/office/drawing/2014/main" id="{D2EBCF61-5DF7-2C84-8ADC-4CDCF3890AA1}"/>
              </a:ext>
            </a:extLst>
          </p:cNvPr>
          <p:cNvSpPr txBox="1"/>
          <p:nvPr/>
        </p:nvSpPr>
        <p:spPr>
          <a:xfrm>
            <a:off x="8625015" y="5464024"/>
            <a:ext cx="2922045"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8 </a:t>
            </a:r>
            <a:r>
              <a:rPr lang="en-US" sz="1200" noProof="0" dirty="0">
                <a:latin typeface="Calibri" panose="020F0502020204030204" pitchFamily="34" charset="0"/>
                <a:cs typeface="Calibri" panose="020F0502020204030204" pitchFamily="34" charset="0"/>
              </a:rPr>
              <a:t>(Top) PID loops exist within the motion executor module in this process diagram; (Left) Example PID loop for a control variable theta</a:t>
            </a:r>
          </a:p>
        </p:txBody>
      </p:sp>
    </p:spTree>
    <p:extLst>
      <p:ext uri="{BB962C8B-B14F-4D97-AF65-F5344CB8AC3E}">
        <p14:creationId xmlns:p14="http://schemas.microsoft.com/office/powerpoint/2010/main" val="3723872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1847657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4</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3"/>
            <a:ext cx="9489218"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esign Criteria and Key Risks</a:t>
            </a:r>
          </a:p>
        </p:txBody>
      </p:sp>
    </p:spTree>
    <p:extLst>
      <p:ext uri="{BB962C8B-B14F-4D97-AF65-F5344CB8AC3E}">
        <p14:creationId xmlns:p14="http://schemas.microsoft.com/office/powerpoint/2010/main" val="3673579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2728461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medical vision modes which can be used for localization</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19" name="TextBox 18">
            <a:extLst>
              <a:ext uri="{FF2B5EF4-FFF2-40B4-BE49-F238E27FC236}">
                <a16:creationId xmlns:a16="http://schemas.microsoft.com/office/drawing/2014/main" id="{5452505B-2607-5E12-2810-37FD3500987E}"/>
              </a:ext>
            </a:extLst>
          </p:cNvPr>
          <p:cNvSpPr txBox="1"/>
          <p:nvPr/>
        </p:nvSpPr>
        <p:spPr>
          <a:xfrm>
            <a:off x="13226075" y="9355824"/>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21" name="Marcador de texto 3">
            <a:extLst>
              <a:ext uri="{FF2B5EF4-FFF2-40B4-BE49-F238E27FC236}">
                <a16:creationId xmlns:a16="http://schemas.microsoft.com/office/drawing/2014/main" id="{744F0BB7-CA86-85A4-F407-19CCDC032785}"/>
              </a:ext>
            </a:extLst>
          </p:cNvPr>
          <p:cNvSpPr>
            <a:spLocks noGrp="1"/>
          </p:cNvSpPr>
          <p:nvPr>
            <p:ph type="body" sz="quarter" idx="15"/>
          </p:nvPr>
        </p:nvSpPr>
        <p:spPr>
          <a:xfrm>
            <a:off x="384173" y="5240606"/>
            <a:ext cx="11430455" cy="1487342"/>
          </a:xfrm>
        </p:spPr>
        <p:txBody>
          <a:bodyPr>
            <a:noAutofit/>
          </a:bodyPr>
          <a:lstStyle/>
          <a:p>
            <a:pPr marL="339725" indent="-169863">
              <a:spcAft>
                <a:spcPts val="600"/>
              </a:spcAft>
              <a:buFont typeface="Arial" panose="020B0604020202020204" pitchFamily="34" charset="0"/>
              <a:buChar char="•"/>
            </a:pPr>
            <a:r>
              <a:rPr lang="en-US" sz="1400" b="0" dirty="0">
                <a:latin typeface="Calibri" panose="020F0502020204030204" pitchFamily="34" charset="0"/>
                <a:cs typeface="Calibri" panose="020F0502020204030204" pitchFamily="34" charset="0"/>
              </a:rPr>
              <a:t>The problem of localizing objects using the above medical imaging techniques images might seem straightforward, yet practical implementations have seldom appeared</a:t>
            </a:r>
          </a:p>
          <a:p>
            <a:pPr marL="339725" indent="-169863">
              <a:spcAft>
                <a:spcPts val="600"/>
              </a:spcAft>
              <a:buFont typeface="Arial" panose="020B0604020202020204" pitchFamily="34" charset="0"/>
              <a:buChar char="•"/>
            </a:pPr>
            <a:r>
              <a:rPr lang="en-US" sz="1400" b="0" dirty="0">
                <a:latin typeface="Calibri" panose="020F0502020204030204" pitchFamily="34" charset="0"/>
                <a:cs typeface="Calibri" panose="020F0502020204030204" pitchFamily="34" charset="0"/>
              </a:rPr>
              <a:t>Usually, a cascade of basic image filters (such as thresholding, edge detection, image smoothing and noise removal filters) are combined with more sophisticated feature detections routines, such as a variant of Hough transform</a:t>
            </a:r>
          </a:p>
        </p:txBody>
      </p:sp>
      <p:grpSp>
        <p:nvGrpSpPr>
          <p:cNvPr id="4" name="Group 3">
            <a:extLst>
              <a:ext uri="{FF2B5EF4-FFF2-40B4-BE49-F238E27FC236}">
                <a16:creationId xmlns:a16="http://schemas.microsoft.com/office/drawing/2014/main" id="{C1202BFD-9C06-FCCB-C417-286C7675A1C0}"/>
              </a:ext>
            </a:extLst>
          </p:cNvPr>
          <p:cNvGrpSpPr/>
          <p:nvPr/>
        </p:nvGrpSpPr>
        <p:grpSpPr>
          <a:xfrm>
            <a:off x="-367668" y="7698770"/>
            <a:ext cx="11819257" cy="5854794"/>
            <a:chOff x="523875" y="3174136"/>
            <a:chExt cx="11819257" cy="5854794"/>
          </a:xfrm>
        </p:grpSpPr>
        <p:grpSp>
          <p:nvGrpSpPr>
            <p:cNvPr id="28" name="Group 27">
              <a:extLst>
                <a:ext uri="{FF2B5EF4-FFF2-40B4-BE49-F238E27FC236}">
                  <a16:creationId xmlns:a16="http://schemas.microsoft.com/office/drawing/2014/main" id="{B0C93A6F-56C1-5582-0AD4-C8C9E907AD43}"/>
                </a:ext>
              </a:extLst>
            </p:cNvPr>
            <p:cNvGrpSpPr/>
            <p:nvPr/>
          </p:nvGrpSpPr>
          <p:grpSpPr>
            <a:xfrm>
              <a:off x="523875" y="3174136"/>
              <a:ext cx="6081139" cy="5854794"/>
              <a:chOff x="437782" y="2409086"/>
              <a:chExt cx="6081139" cy="5854794"/>
            </a:xfrm>
          </p:grpSpPr>
          <p:pic>
            <p:nvPicPr>
              <p:cNvPr id="24" name="Picture 23">
                <a:extLst>
                  <a:ext uri="{FF2B5EF4-FFF2-40B4-BE49-F238E27FC236}">
                    <a16:creationId xmlns:a16="http://schemas.microsoft.com/office/drawing/2014/main" id="{8BD6A140-C318-2E8B-DCD0-04DA36583886}"/>
                  </a:ext>
                </a:extLst>
              </p:cNvPr>
              <p:cNvPicPr>
                <a:picLocks noChangeAspect="1"/>
              </p:cNvPicPr>
              <p:nvPr/>
            </p:nvPicPr>
            <p:blipFill>
              <a:blip r:embed="rId5"/>
              <a:stretch>
                <a:fillRect/>
              </a:stretch>
            </p:blipFill>
            <p:spPr>
              <a:xfrm>
                <a:off x="437782" y="2409086"/>
                <a:ext cx="6081139" cy="2241675"/>
              </a:xfrm>
              <a:prstGeom prst="rect">
                <a:avLst/>
              </a:prstGeom>
            </p:spPr>
          </p:pic>
          <p:pic>
            <p:nvPicPr>
              <p:cNvPr id="26" name="Picture 25">
                <a:extLst>
                  <a:ext uri="{FF2B5EF4-FFF2-40B4-BE49-F238E27FC236}">
                    <a16:creationId xmlns:a16="http://schemas.microsoft.com/office/drawing/2014/main" id="{A6DFBA43-99BB-7E55-BD9A-B4B92E3D7697}"/>
                  </a:ext>
                </a:extLst>
              </p:cNvPr>
              <p:cNvPicPr>
                <a:picLocks noChangeAspect="1"/>
              </p:cNvPicPr>
              <p:nvPr/>
            </p:nvPicPr>
            <p:blipFill rotWithShape="1">
              <a:blip r:embed="rId6"/>
              <a:srcRect t="422" b="53903"/>
              <a:stretch/>
            </p:blipFill>
            <p:spPr>
              <a:xfrm>
                <a:off x="581303" y="4499087"/>
                <a:ext cx="5937618" cy="3764793"/>
              </a:xfrm>
              <a:prstGeom prst="rect">
                <a:avLst/>
              </a:prstGeom>
            </p:spPr>
          </p:pic>
        </p:grpSp>
        <p:pic>
          <p:nvPicPr>
            <p:cNvPr id="27" name="Picture 26">
              <a:extLst>
                <a:ext uri="{FF2B5EF4-FFF2-40B4-BE49-F238E27FC236}">
                  <a16:creationId xmlns:a16="http://schemas.microsoft.com/office/drawing/2014/main" id="{5859C670-21D0-94D8-5BDA-1AA7B90C690A}"/>
                </a:ext>
              </a:extLst>
            </p:cNvPr>
            <p:cNvPicPr>
              <a:picLocks noChangeAspect="1"/>
            </p:cNvPicPr>
            <p:nvPr/>
          </p:nvPicPr>
          <p:blipFill rotWithShape="1">
            <a:blip r:embed="rId6"/>
            <a:srcRect t="45572"/>
            <a:stretch/>
          </p:blipFill>
          <p:spPr>
            <a:xfrm>
              <a:off x="6748535" y="3257445"/>
              <a:ext cx="5594597" cy="4227183"/>
            </a:xfrm>
            <a:prstGeom prst="rect">
              <a:avLst/>
            </a:prstGeom>
          </p:spPr>
        </p:pic>
      </p:grpSp>
      <p:sp>
        <p:nvSpPr>
          <p:cNvPr id="29" name="Marcador de texto 3">
            <a:extLst>
              <a:ext uri="{FF2B5EF4-FFF2-40B4-BE49-F238E27FC236}">
                <a16:creationId xmlns:a16="http://schemas.microsoft.com/office/drawing/2014/main" id="{AA51E8E0-BF15-E5D4-2960-A18AF5F30B89}"/>
              </a:ext>
            </a:extLst>
          </p:cNvPr>
          <p:cNvSpPr txBox="1">
            <a:spLocks/>
          </p:cNvSpPr>
          <p:nvPr/>
        </p:nvSpPr>
        <p:spPr>
          <a:xfrm>
            <a:off x="12192000" y="11920978"/>
            <a:ext cx="11449050" cy="3265173"/>
          </a:xfrm>
          <a:prstGeom prst="rect">
            <a:avLst/>
          </a:prstGeom>
        </p:spPr>
        <p:txBody>
          <a:bodyPr vert="horz" lIns="0" tIns="0" rIns="0" bIns="0" rtlCol="0">
            <a:noAutofit/>
          </a:bodyPr>
          <a:lstStyle>
            <a:lvl1pPr indent="0" defTabSz="228554">
              <a:lnSpc>
                <a:spcPct val="100000"/>
              </a:lnSpc>
              <a:spcBef>
                <a:spcPts val="0"/>
              </a:spcBef>
              <a:spcAft>
                <a:spcPts val="1200"/>
              </a:spcAft>
              <a:buFont typeface="Arial" panose="020B0604020202020204" pitchFamily="34" charset="0"/>
              <a:buNone/>
              <a:defRPr sz="1400" b="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defTabSz="228554">
              <a:lnSpc>
                <a:spcPct val="100000"/>
              </a:lnSpc>
              <a:spcBef>
                <a:spcPts val="0"/>
              </a:spcBef>
              <a:spcAft>
                <a:spcPts val="1200"/>
              </a:spcAft>
              <a:buClrTx/>
              <a:buFont typeface="Arial" panose="020B0604020202020204" pitchFamily="34" charset="0"/>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defTabSz="228554">
              <a:lnSpc>
                <a:spcPct val="100000"/>
              </a:lnSpc>
              <a:spcBef>
                <a:spcPts val="0"/>
              </a:spcBef>
              <a:spcAft>
                <a:spcPts val="1200"/>
              </a:spcAft>
              <a:buFont typeface="Verdana"/>
              <a:buChar char="–"/>
              <a:defRPr>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defTabSz="228554">
              <a:lnSpc>
                <a:spcPct val="100000"/>
              </a:lnSpc>
              <a:spcBef>
                <a:spcPts val="0"/>
              </a:spcBef>
              <a:spcAft>
                <a:spcPts val="1200"/>
              </a:spcAft>
              <a:buFont typeface="Arial" panose="020B0604020202020204" pitchFamily="34" charset="0"/>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defTabSz="228554">
              <a:lnSpc>
                <a:spcPct val="100000"/>
              </a:lnSpc>
              <a:spcBef>
                <a:spcPts val="0"/>
              </a:spcBef>
              <a:spcAft>
                <a:spcPts val="1200"/>
              </a:spcAft>
              <a:buFont typeface="Verdana"/>
              <a:buChar cha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defTabSz="228554">
              <a:lnSpc>
                <a:spcPct val="90000"/>
              </a:lnSpc>
              <a:spcBef>
                <a:spcPts val="0"/>
              </a:spcBef>
              <a:spcAft>
                <a:spcPts val="1200"/>
              </a:spcAft>
              <a:buFont typeface="Graphik" panose="020B0503030202060203" pitchFamily="34" charset="0"/>
              <a:buNone/>
              <a:tabLst/>
              <a:defRPr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defTabSz="228554">
              <a:lnSpc>
                <a:spcPct val="90000"/>
              </a:lnSpc>
              <a:spcBef>
                <a:spcPts val="0"/>
              </a:spcBef>
              <a:spcAft>
                <a:spcPts val="1200"/>
              </a:spcAft>
              <a:buFont typeface="Arial" panose="020B0604020202020204" pitchFamily="34" charset="0"/>
              <a:buNone/>
              <a:defRPr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defTabSz="228554">
              <a:lnSpc>
                <a:spcPct val="90000"/>
              </a:lnSpc>
              <a:spcBef>
                <a:spcPts val="0"/>
              </a:spcBef>
              <a:spcAft>
                <a:spcPts val="1200"/>
              </a:spcAft>
              <a:buFont typeface="Arial" panose="020B0604020202020204" pitchFamily="34" charset="0"/>
              <a:buNone/>
              <a:defRPr sz="900"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defTabSz="228554">
              <a:lnSpc>
                <a:spcPct val="90000"/>
              </a:lnSpc>
              <a:spcBef>
                <a:spcPts val="0"/>
              </a:spcBef>
              <a:spcAft>
                <a:spcPts val="1200"/>
              </a:spcAft>
              <a:buFont typeface="Arial" panose="020B0604020202020204" pitchFamily="34" charset="0"/>
              <a:buNone/>
              <a:defRPr sz="7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r>
              <a:rPr lang="en-US" dirty="0"/>
              <a:t>For mapping obstacles, the most common map is the occupancy grid map. In a grid map, the environment is discretized into squares of arbitrary resolution, e.g. 1cm x 1cm, on which obstacles are marked. In a probabilistic occupancy grid, grid cells can also be marked with the probability that they contain an obstacle. This is particularly important when the position of the robot that senses an obstacle is uncertain. Disadvantages of grid maps are their large memory requirements as well as computational time to traverse data structures with large numbers of vertices. A solution to this is storing the grid map as k-d tree. A k-d tree recursively breaks the environment into k pieces. For k = 4, an area is broken into four pieces. Each of these pieces is again broken into four pieces and so on, until the desired resolution is reached. These pieces can easily be stored in a graph with each vertex having four children, which are the four pieces the vertex is broken into, or is a leaf of the tree. What makes this data structure attractive is that not all vertices need to be broken down to the smallest possible resolution. Instead only areas, which contain obstacles need to be further broken down. A grid map containing obstacles and the corresponding k-d tree, here a quadtree, are shown in Figure 4.1. There is no silver bullet, and each application might require a different solution that could be a combination of different map types</a:t>
            </a:r>
          </a:p>
          <a:p>
            <a:endParaRPr lang="en-US" dirty="0"/>
          </a:p>
          <a:p>
            <a:endParaRPr lang="en-US" dirty="0"/>
          </a:p>
        </p:txBody>
      </p:sp>
      <p:graphicFrame>
        <p:nvGraphicFramePr>
          <p:cNvPr id="9" name="Table 9">
            <a:extLst>
              <a:ext uri="{FF2B5EF4-FFF2-40B4-BE49-F238E27FC236}">
                <a16:creationId xmlns:a16="http://schemas.microsoft.com/office/drawing/2014/main" id="{20987E65-A93C-092E-CCA2-D02B0992FCA3}"/>
              </a:ext>
            </a:extLst>
          </p:cNvPr>
          <p:cNvGraphicFramePr>
            <a:graphicFrameLocks noGrp="1"/>
          </p:cNvGraphicFramePr>
          <p:nvPr>
            <p:extLst>
              <p:ext uri="{D42A27DB-BD31-4B8C-83A1-F6EECF244321}">
                <p14:modId xmlns:p14="http://schemas.microsoft.com/office/powerpoint/2010/main" val="3624204063"/>
              </p:ext>
            </p:extLst>
          </p:nvPr>
        </p:nvGraphicFramePr>
        <p:xfrm>
          <a:off x="384173" y="1545382"/>
          <a:ext cx="11430455" cy="3449320"/>
        </p:xfrm>
        <a:graphic>
          <a:graphicData uri="http://schemas.openxmlformats.org/drawingml/2006/table">
            <a:tbl>
              <a:tblPr firstRow="1" bandRow="1">
                <a:tableStyleId>{69012ECD-51FC-41F1-AA8D-1B2483CD663E}</a:tableStyleId>
              </a:tblPr>
              <a:tblGrid>
                <a:gridCol w="1952627">
                  <a:extLst>
                    <a:ext uri="{9D8B030D-6E8A-4147-A177-3AD203B41FA5}">
                      <a16:colId xmlns:a16="http://schemas.microsoft.com/office/drawing/2014/main" val="4107807968"/>
                    </a:ext>
                  </a:extLst>
                </a:gridCol>
                <a:gridCol w="2249714">
                  <a:extLst>
                    <a:ext uri="{9D8B030D-6E8A-4147-A177-3AD203B41FA5}">
                      <a16:colId xmlns:a16="http://schemas.microsoft.com/office/drawing/2014/main" val="719486913"/>
                    </a:ext>
                  </a:extLst>
                </a:gridCol>
                <a:gridCol w="2655932">
                  <a:extLst>
                    <a:ext uri="{9D8B030D-6E8A-4147-A177-3AD203B41FA5}">
                      <a16:colId xmlns:a16="http://schemas.microsoft.com/office/drawing/2014/main" val="3082095406"/>
                    </a:ext>
                  </a:extLst>
                </a:gridCol>
                <a:gridCol w="2286091">
                  <a:extLst>
                    <a:ext uri="{9D8B030D-6E8A-4147-A177-3AD203B41FA5}">
                      <a16:colId xmlns:a16="http://schemas.microsoft.com/office/drawing/2014/main" val="2582926066"/>
                    </a:ext>
                  </a:extLst>
                </a:gridCol>
                <a:gridCol w="2286091">
                  <a:extLst>
                    <a:ext uri="{9D8B030D-6E8A-4147-A177-3AD203B41FA5}">
                      <a16:colId xmlns:a16="http://schemas.microsoft.com/office/drawing/2014/main" val="2968185659"/>
                    </a:ext>
                  </a:extLst>
                </a:gridCol>
              </a:tblGrid>
              <a:tr h="370840">
                <a:tc>
                  <a:txBody>
                    <a:bodyPr/>
                    <a:lstStyle/>
                    <a:p>
                      <a:r>
                        <a:rPr lang="en-US" sz="1600" b="1" dirty="0">
                          <a:solidFill>
                            <a:schemeClr val="bg1"/>
                          </a:solidFill>
                          <a:latin typeface="Calibri" panose="020F0502020204030204" pitchFamily="34" charset="0"/>
                          <a:cs typeface="Calibri" panose="020F0502020204030204" pitchFamily="34" charset="0"/>
                        </a:rPr>
                        <a:t>Methodology</a:t>
                      </a:r>
                    </a:p>
                  </a:txBody>
                  <a:tcPr>
                    <a:lnB w="12700" cap="flat" cmpd="sng" algn="ctr">
                      <a:solidFill>
                        <a:schemeClr val="tx1"/>
                      </a:solidFill>
                      <a:prstDash val="solid"/>
                      <a:round/>
                      <a:headEnd type="none" w="med" len="med"/>
                      <a:tailEnd type="none" w="med" len="med"/>
                    </a:lnB>
                    <a:solidFill>
                      <a:schemeClr val="accent1"/>
                    </a:solidFill>
                  </a:tcPr>
                </a:tc>
                <a:tc>
                  <a:txBody>
                    <a:bodyPr/>
                    <a:lstStyle/>
                    <a:p>
                      <a:r>
                        <a:rPr lang="en-US" sz="1600" dirty="0">
                          <a:solidFill>
                            <a:schemeClr val="bg1"/>
                          </a:solidFill>
                          <a:latin typeface="Calibri" panose="020F0502020204030204" pitchFamily="34" charset="0"/>
                          <a:cs typeface="Calibri" panose="020F0502020204030204" pitchFamily="34" charset="0"/>
                        </a:rPr>
                        <a:t>(1) Fluoroscopy</a:t>
                      </a:r>
                    </a:p>
                  </a:txBody>
                  <a:tcPr>
                    <a:lnB w="12700" cap="flat" cmpd="sng" algn="ctr">
                      <a:solidFill>
                        <a:schemeClr val="tx1"/>
                      </a:solidFill>
                      <a:prstDash val="solid"/>
                      <a:round/>
                      <a:headEnd type="none" w="med" len="med"/>
                      <a:tailEnd type="none" w="med" len="med"/>
                    </a:lnB>
                    <a:solidFill>
                      <a:schemeClr val="accent1"/>
                    </a:solidFill>
                  </a:tcPr>
                </a:tc>
                <a:tc>
                  <a:txBody>
                    <a:bodyPr/>
                    <a:lstStyle/>
                    <a:p>
                      <a:r>
                        <a:rPr lang="en-US" sz="1600" dirty="0">
                          <a:latin typeface="Calibri" panose="020F0502020204030204" pitchFamily="34" charset="0"/>
                          <a:cs typeface="Calibri" panose="020F0502020204030204" pitchFamily="34" charset="0"/>
                        </a:rPr>
                        <a:t>(2) CT Scan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3) Ultrasound</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4) MRI</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2648943"/>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Feas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Our microbot, being of high density, should be visible in X-ray image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3+ images + knowledge of human anatomy required to create 3D reconstr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Using continuous beam mode, CT scanners can provide low resolution ~10fps image stream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Can acquire multiple 3D slices in continuous beam m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Can create 3D volume using tracked sweep of 2D imag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latin typeface="Calibri" panose="020F0502020204030204" pitchFamily="34" charset="0"/>
                          <a:cs typeface="Calibri" panose="020F0502020204030204" pitchFamily="34" charset="0"/>
                        </a:rPr>
                        <a:t>Key advantage over (1) and (2) is absence of harmful radi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396091"/>
                  </a:ext>
                </a:extLst>
              </a:tr>
              <a:tr h="160479">
                <a:tc>
                  <a:txBody>
                    <a:bodyPr/>
                    <a:lstStyle/>
                    <a:p>
                      <a:r>
                        <a:rPr lang="en-US" sz="1600" b="1" dirty="0">
                          <a:solidFill>
                            <a:schemeClr val="tx1"/>
                          </a:solidFill>
                          <a:latin typeface="Calibri" panose="020F0502020204030204" pitchFamily="34" charset="0"/>
                          <a:cs typeface="Calibri" panose="020F0502020204030204" pitchFamily="34" charset="0"/>
                        </a:rPr>
                        <a:t>Autonomous (Y/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3">
                  <a:txBody>
                    <a:bodyPr/>
                    <a:lstStyle/>
                    <a:p>
                      <a:pPr marL="0" marR="0" lvl="0" indent="0" algn="ctr" defTabSz="91421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latin typeface="Calibri" panose="020F0502020204030204" pitchFamily="34" charset="0"/>
                          <a:cs typeface="Calibri" panose="020F0502020204030204" pitchFamily="34" charset="0"/>
                        </a:rPr>
                        <a:t>Images must be acquired under command of human opera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marL="285750" indent="-28575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en-US" sz="1400" dirty="0">
                          <a:latin typeface="Calibri" panose="020F0502020204030204" pitchFamily="34" charset="0"/>
                          <a:cs typeface="Calibri" panose="020F0502020204030204" pitchFamily="34" charset="0"/>
                        </a:rPr>
                        <a:t>To be further research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9399492"/>
                  </a:ext>
                </a:extLst>
              </a:tr>
              <a:tr h="370840">
                <a:tc>
                  <a:txBody>
                    <a:bodyPr/>
                    <a:lstStyle/>
                    <a:p>
                      <a:r>
                        <a:rPr lang="en-US" sz="1600" b="1" dirty="0">
                          <a:solidFill>
                            <a:schemeClr val="tx1"/>
                          </a:solidFill>
                          <a:latin typeface="Calibri" panose="020F0502020204030204" pitchFamily="34" charset="0"/>
                          <a:cs typeface="Calibri" panose="020F0502020204030204" pitchFamily="34" charset="0"/>
                        </a:rPr>
                        <a:t>Key ris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gridSpan="2">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Exposes patient and physician to excessive radiation unless precautionary measures are implemen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Scanning may cause tissue deformation</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Images tend to be noisy due to reflections, air pockets, e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cquisition of images is typically not real-time</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ny metal creates large void in im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3351583"/>
                  </a:ext>
                </a:extLst>
              </a:tr>
            </a:tbl>
          </a:graphicData>
        </a:graphic>
      </p:graphicFrame>
      <p:sp>
        <p:nvSpPr>
          <p:cNvPr id="15" name="TextBox 14">
            <a:extLst>
              <a:ext uri="{FF2B5EF4-FFF2-40B4-BE49-F238E27FC236}">
                <a16:creationId xmlns:a16="http://schemas.microsoft.com/office/drawing/2014/main" id="{99F86E32-7B93-103D-1060-978B76F847C4}"/>
              </a:ext>
            </a:extLst>
          </p:cNvPr>
          <p:cNvSpPr txBox="1"/>
          <p:nvPr/>
        </p:nvSpPr>
        <p:spPr>
          <a:xfrm>
            <a:off x="346074" y="101379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While we are using X-ray imaging streams for this task, several other options also exist:</a:t>
            </a:r>
          </a:p>
        </p:txBody>
      </p:sp>
    </p:spTree>
    <p:extLst>
      <p:ext uri="{BB962C8B-B14F-4D97-AF65-F5344CB8AC3E}">
        <p14:creationId xmlns:p14="http://schemas.microsoft.com/office/powerpoint/2010/main" val="37258661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098454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potential field approach to path planning</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2318941" y="12108617"/>
            <a:ext cx="5847522" cy="240681"/>
          </a:xfrm>
        </p:spPr>
        <p:txBody>
          <a:bodyPr/>
          <a:lstStyle/>
          <a:p>
            <a:r>
              <a:rPr lang="en-US"/>
              <a:t>Source:_______</a:t>
            </a:r>
            <a:endParaRPr lang="en-US" dirty="0"/>
          </a:p>
        </p:txBody>
      </p:sp>
      <p:sp>
        <p:nvSpPr>
          <p:cNvPr id="10" name="TextBox 9">
            <a:extLst>
              <a:ext uri="{FF2B5EF4-FFF2-40B4-BE49-F238E27FC236}">
                <a16:creationId xmlns:a16="http://schemas.microsoft.com/office/drawing/2014/main" id="{804263E0-7E1B-A8EE-29EC-AF017F5528E9}"/>
              </a:ext>
            </a:extLst>
          </p:cNvPr>
          <p:cNvSpPr txBox="1"/>
          <p:nvPr/>
        </p:nvSpPr>
        <p:spPr>
          <a:xfrm>
            <a:off x="702968" y="13079636"/>
            <a:ext cx="10643189" cy="1384995"/>
          </a:xfrm>
          <a:prstGeom prst="rect">
            <a:avLst/>
          </a:prstGeom>
          <a:noFill/>
        </p:spPr>
        <p:txBody>
          <a:bodyPr wrap="square">
            <a:spAutoFit/>
          </a:bodyPr>
          <a:lstStyle/>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2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2800" b="0" i="0" u="none" strike="noStrike" baseline="0" dirty="0">
                <a:latin typeface="Arial" panose="020B0604020202020204" pitchFamily="34" charset="0"/>
                <a:cs typeface="Arial" panose="020B0604020202020204" pitchFamily="34" charset="0"/>
              </a:rPr>
              <a:t>Key risks with this approach</a:t>
            </a:r>
          </a:p>
        </p:txBody>
      </p:sp>
      <p:sp>
        <p:nvSpPr>
          <p:cNvPr id="14" name="TextBox 13">
            <a:extLst>
              <a:ext uri="{FF2B5EF4-FFF2-40B4-BE49-F238E27FC236}">
                <a16:creationId xmlns:a16="http://schemas.microsoft.com/office/drawing/2014/main" id="{43DD50E0-10B5-585F-9045-7CACEE33EEC2}"/>
              </a:ext>
            </a:extLst>
          </p:cNvPr>
          <p:cNvSpPr txBox="1"/>
          <p:nvPr/>
        </p:nvSpPr>
        <p:spPr>
          <a:xfrm>
            <a:off x="507691" y="6824932"/>
            <a:ext cx="10624458" cy="1569660"/>
          </a:xfrm>
          <a:prstGeom prst="rect">
            <a:avLst/>
          </a:prstGeom>
          <a:noFill/>
        </p:spPr>
        <p:txBody>
          <a:bodyPr wrap="square">
            <a:spAutoFit/>
          </a:bodyPr>
          <a:lstStyle/>
          <a:p>
            <a:r>
              <a:rPr lang="en-US" sz="1200" dirty="0"/>
              <a:t>The potential field approaches described above incrementally explore </a:t>
            </a:r>
            <a:r>
              <a:rPr lang="en-US" sz="1200" dirty="0" err="1"/>
              <a:t>Qfree</a:t>
            </a:r>
            <a:r>
              <a:rPr lang="en-US" sz="1200" dirty="0"/>
              <a:t> by generating a sequence of </a:t>
            </a:r>
            <a:r>
              <a:rPr lang="en-US" sz="1200" dirty="0" err="1"/>
              <a:t>congurations</a:t>
            </a:r>
            <a:r>
              <a:rPr lang="en-US" sz="1200" dirty="0"/>
              <a:t> q0; : : : ; </a:t>
            </a:r>
            <a:r>
              <a:rPr lang="en-US" sz="1200" dirty="0" err="1"/>
              <a:t>qm</a:t>
            </a:r>
            <a:r>
              <a:rPr lang="en-US" sz="1200" dirty="0"/>
              <a:t> using a gradient descent approach. This exploration is inherently goal-driven (due to the attractive potential), and it is this bias that makes the approach susceptible to failure due to the presence of local minima in the potential eld. As we have seen, applying a random walk can be an effective way to escape local minima, abandoning temporarily the goal-driven behavior in favor of a randomized strategy. Taken to an extreme, we could design a planner that completely abandons goal-driven search, instead relying completely on randomized strategies. This is the approach taken by sampling-based planners5.</a:t>
            </a:r>
          </a:p>
          <a:p>
            <a:endParaRPr lang="en-US" sz="1200" dirty="0"/>
          </a:p>
          <a:p>
            <a:endParaRPr lang="en-US" sz="1200" dirty="0"/>
          </a:p>
        </p:txBody>
      </p:sp>
      <p:pic>
        <p:nvPicPr>
          <p:cNvPr id="16" name="Picture 15">
            <a:extLst>
              <a:ext uri="{FF2B5EF4-FFF2-40B4-BE49-F238E27FC236}">
                <a16:creationId xmlns:a16="http://schemas.microsoft.com/office/drawing/2014/main" id="{EBB2B1BC-B229-2FBA-A542-CA4D58B4C179}"/>
              </a:ext>
            </a:extLst>
          </p:cNvPr>
          <p:cNvPicPr>
            <a:picLocks noChangeAspect="1"/>
          </p:cNvPicPr>
          <p:nvPr/>
        </p:nvPicPr>
        <p:blipFill>
          <a:blip r:embed="rId5"/>
          <a:stretch>
            <a:fillRect/>
          </a:stretch>
        </p:blipFill>
        <p:spPr>
          <a:xfrm>
            <a:off x="474347" y="6900846"/>
            <a:ext cx="4420217" cy="3658111"/>
          </a:xfrm>
          <a:prstGeom prst="rect">
            <a:avLst/>
          </a:prstGeom>
        </p:spPr>
      </p:pic>
      <p:pic>
        <p:nvPicPr>
          <p:cNvPr id="18" name="Picture 17">
            <a:extLst>
              <a:ext uri="{FF2B5EF4-FFF2-40B4-BE49-F238E27FC236}">
                <a16:creationId xmlns:a16="http://schemas.microsoft.com/office/drawing/2014/main" id="{E8DB7C3F-1909-6760-F473-2A5272A120C6}"/>
              </a:ext>
            </a:extLst>
          </p:cNvPr>
          <p:cNvPicPr>
            <a:picLocks noChangeAspect="1"/>
          </p:cNvPicPr>
          <p:nvPr/>
        </p:nvPicPr>
        <p:blipFill>
          <a:blip r:embed="rId6"/>
          <a:stretch>
            <a:fillRect/>
          </a:stretch>
        </p:blipFill>
        <p:spPr>
          <a:xfrm>
            <a:off x="4928226" y="8157341"/>
            <a:ext cx="4486901" cy="2248214"/>
          </a:xfrm>
          <a:prstGeom prst="rect">
            <a:avLst/>
          </a:prstGeom>
        </p:spPr>
      </p:pic>
      <p:pic>
        <p:nvPicPr>
          <p:cNvPr id="20" name="Picture 19">
            <a:extLst>
              <a:ext uri="{FF2B5EF4-FFF2-40B4-BE49-F238E27FC236}">
                <a16:creationId xmlns:a16="http://schemas.microsoft.com/office/drawing/2014/main" id="{75F7B20D-989D-8188-95E0-2716CBE24366}"/>
              </a:ext>
            </a:extLst>
          </p:cNvPr>
          <p:cNvPicPr>
            <a:picLocks noChangeAspect="1"/>
          </p:cNvPicPr>
          <p:nvPr/>
        </p:nvPicPr>
        <p:blipFill>
          <a:blip r:embed="rId7"/>
          <a:stretch>
            <a:fillRect/>
          </a:stretch>
        </p:blipFill>
        <p:spPr>
          <a:xfrm>
            <a:off x="10028892" y="8632227"/>
            <a:ext cx="3310833" cy="2315094"/>
          </a:xfrm>
          <a:prstGeom prst="rect">
            <a:avLst/>
          </a:prstGeom>
        </p:spPr>
      </p:pic>
      <p:pic>
        <p:nvPicPr>
          <p:cNvPr id="22" name="Picture 21">
            <a:extLst>
              <a:ext uri="{FF2B5EF4-FFF2-40B4-BE49-F238E27FC236}">
                <a16:creationId xmlns:a16="http://schemas.microsoft.com/office/drawing/2014/main" id="{07A65EB0-0AAE-4B1A-C8F1-BA5542247848}"/>
              </a:ext>
            </a:extLst>
          </p:cNvPr>
          <p:cNvPicPr>
            <a:picLocks noChangeAspect="1"/>
          </p:cNvPicPr>
          <p:nvPr/>
        </p:nvPicPr>
        <p:blipFill>
          <a:blip r:embed="rId8"/>
          <a:stretch>
            <a:fillRect/>
          </a:stretch>
        </p:blipFill>
        <p:spPr>
          <a:xfrm>
            <a:off x="5052067" y="10437529"/>
            <a:ext cx="4239217" cy="2010056"/>
          </a:xfrm>
          <a:prstGeom prst="rect">
            <a:avLst/>
          </a:prstGeom>
        </p:spPr>
      </p:pic>
      <p:pic>
        <p:nvPicPr>
          <p:cNvPr id="24" name="Picture 23">
            <a:extLst>
              <a:ext uri="{FF2B5EF4-FFF2-40B4-BE49-F238E27FC236}">
                <a16:creationId xmlns:a16="http://schemas.microsoft.com/office/drawing/2014/main" id="{A9869EB3-18D6-2C72-3D49-794F5627CCDB}"/>
              </a:ext>
            </a:extLst>
          </p:cNvPr>
          <p:cNvPicPr>
            <a:picLocks noChangeAspect="1"/>
          </p:cNvPicPr>
          <p:nvPr/>
        </p:nvPicPr>
        <p:blipFill>
          <a:blip r:embed="rId9"/>
          <a:stretch>
            <a:fillRect/>
          </a:stretch>
        </p:blipFill>
        <p:spPr>
          <a:xfrm>
            <a:off x="12223191" y="5514765"/>
            <a:ext cx="5563376" cy="2772162"/>
          </a:xfrm>
          <a:prstGeom prst="rect">
            <a:avLst/>
          </a:prstGeom>
        </p:spPr>
      </p:pic>
      <p:pic>
        <p:nvPicPr>
          <p:cNvPr id="25" name="Picture 24">
            <a:extLst>
              <a:ext uri="{FF2B5EF4-FFF2-40B4-BE49-F238E27FC236}">
                <a16:creationId xmlns:a16="http://schemas.microsoft.com/office/drawing/2014/main" id="{9FDD2243-14EE-11E2-D1E9-AEA18AC3563E}"/>
              </a:ext>
            </a:extLst>
          </p:cNvPr>
          <p:cNvPicPr>
            <a:picLocks noChangeAspect="1"/>
          </p:cNvPicPr>
          <p:nvPr/>
        </p:nvPicPr>
        <p:blipFill>
          <a:blip r:embed="rId10"/>
          <a:stretch>
            <a:fillRect/>
          </a:stretch>
        </p:blipFill>
        <p:spPr>
          <a:xfrm>
            <a:off x="-760838" y="10915271"/>
            <a:ext cx="5655402" cy="1054572"/>
          </a:xfrm>
          <a:prstGeom prst="rect">
            <a:avLst/>
          </a:prstGeom>
        </p:spPr>
      </p:pic>
      <p:graphicFrame>
        <p:nvGraphicFramePr>
          <p:cNvPr id="12" name="Table 13">
            <a:extLst>
              <a:ext uri="{FF2B5EF4-FFF2-40B4-BE49-F238E27FC236}">
                <a16:creationId xmlns:a16="http://schemas.microsoft.com/office/drawing/2014/main" id="{D9D1534B-172C-9502-66DF-EF43F862AAEE}"/>
              </a:ext>
            </a:extLst>
          </p:cNvPr>
          <p:cNvGraphicFramePr>
            <a:graphicFrameLocks noGrp="1"/>
          </p:cNvGraphicFramePr>
          <p:nvPr>
            <p:extLst>
              <p:ext uri="{D42A27DB-BD31-4B8C-83A1-F6EECF244321}">
                <p14:modId xmlns:p14="http://schemas.microsoft.com/office/powerpoint/2010/main" val="1714659200"/>
              </p:ext>
            </p:extLst>
          </p:nvPr>
        </p:nvGraphicFramePr>
        <p:xfrm>
          <a:off x="384174" y="1538396"/>
          <a:ext cx="11439526" cy="3322320"/>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sz="1600" dirty="0">
                          <a:latin typeface="Calibri" panose="020F0502020204030204" pitchFamily="34" charset="0"/>
                          <a:cs typeface="Calibri" panose="020F0502020204030204" pitchFamily="34" charset="0"/>
                        </a:rPr>
                        <a:t>Path Planning Algorithm</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otential Field w/ Gradient Desc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This approach is well-suited for large configuration spaces with several obstacles where it’s hard to map free configuration spac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Susceptible to failure due to the presence of local minima in the potential fiel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Uses a heuristic function to prioritize exploring nodes in the robot’s free configuration space which have a lower estimated distance to the goal</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ationally expensive when: (i) search space is large; (ii) dimensions of the search problem are high </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RRT / R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ully randomized approach, which runs several iterations of randomly adding points to a tree (if no collision) until a path to goal is found or time expir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By default, RRT can result in quite long and windy paths which require being pruned down to the shortest possible collision-free path</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
        <p:nvSpPr>
          <p:cNvPr id="13" name="TextBox 12">
            <a:extLst>
              <a:ext uri="{FF2B5EF4-FFF2-40B4-BE49-F238E27FC236}">
                <a16:creationId xmlns:a16="http://schemas.microsoft.com/office/drawing/2014/main" id="{A075DAB4-B20A-6436-3885-901FC342A878}"/>
              </a:ext>
            </a:extLst>
          </p:cNvPr>
          <p:cNvSpPr txBox="1"/>
          <p:nvPr/>
        </p:nvSpPr>
        <p:spPr>
          <a:xfrm>
            <a:off x="346074" y="1013794"/>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sp>
        <p:nvSpPr>
          <p:cNvPr id="15" name="Marcador de texto 3">
            <a:extLst>
              <a:ext uri="{FF2B5EF4-FFF2-40B4-BE49-F238E27FC236}">
                <a16:creationId xmlns:a16="http://schemas.microsoft.com/office/drawing/2014/main" id="{351A2A10-53D0-EA31-6BCF-4B2806571F4F}"/>
              </a:ext>
            </a:extLst>
          </p:cNvPr>
          <p:cNvSpPr txBox="1">
            <a:spLocks/>
          </p:cNvSpPr>
          <p:nvPr/>
        </p:nvSpPr>
        <p:spPr>
          <a:xfrm>
            <a:off x="384173" y="5077614"/>
            <a:ext cx="11430455" cy="1487342"/>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45720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Ultimately decided to proceed with potential field approach to path planning since the configuration space for our robot may have many obstacles based on human anatomy that we are trying to steer clear of</a:t>
            </a:r>
          </a:p>
          <a:p>
            <a:pPr marL="45720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This would make generating the free configuration space map (which A* and RRT rely on) a computationally intensive </a:t>
            </a:r>
            <a:r>
              <a:rPr lang="en-US" sz="1600" b="0" dirty="0" err="1">
                <a:latin typeface="Calibri" panose="020F0502020204030204" pitchFamily="34" charset="0"/>
                <a:cs typeface="Calibri" panose="020F0502020204030204" pitchFamily="34" charset="0"/>
              </a:rPr>
              <a:t>exercisex</a:t>
            </a:r>
            <a:endParaRPr lang="en-US" sz="16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0429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309096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Pros / Cons of closed loop PID control vs adaptive control methods</a:t>
            </a:r>
          </a:p>
        </p:txBody>
      </p:sp>
      <p:sp>
        <p:nvSpPr>
          <p:cNvPr id="13" name="TextBox 12">
            <a:extLst>
              <a:ext uri="{FF2B5EF4-FFF2-40B4-BE49-F238E27FC236}">
                <a16:creationId xmlns:a16="http://schemas.microsoft.com/office/drawing/2014/main" id="{7C0BFC82-2AAA-66AB-66D0-55729A66298F}"/>
              </a:ext>
            </a:extLst>
          </p:cNvPr>
          <p:cNvSpPr txBox="1"/>
          <p:nvPr/>
        </p:nvSpPr>
        <p:spPr>
          <a:xfrm>
            <a:off x="346074" y="1007031"/>
            <a:ext cx="10643189" cy="369332"/>
          </a:xfrm>
          <a:prstGeom prst="rect">
            <a:avLst/>
          </a:prstGeom>
          <a:noFill/>
        </p:spPr>
        <p:txBody>
          <a:bodyPr wrap="square">
            <a:spAutoFit/>
          </a:bodyPr>
          <a:lstStyle/>
          <a:p>
            <a:pPr algn="l"/>
            <a:r>
              <a:rPr lang="en-US" b="0" i="0" u="none" strike="noStrike" baseline="0" dirty="0">
                <a:latin typeface="Arial" panose="020B0604020202020204" pitchFamily="34" charset="0"/>
                <a:cs typeface="Arial" panose="020B0604020202020204" pitchFamily="34" charset="0"/>
              </a:rPr>
              <a:t>Commonly used control systems to enable trajectory following in robotics include:</a:t>
            </a:r>
          </a:p>
        </p:txBody>
      </p:sp>
      <p:grpSp>
        <p:nvGrpSpPr>
          <p:cNvPr id="14" name="Group 13">
            <a:extLst>
              <a:ext uri="{FF2B5EF4-FFF2-40B4-BE49-F238E27FC236}">
                <a16:creationId xmlns:a16="http://schemas.microsoft.com/office/drawing/2014/main" id="{F7A59A0D-E30F-0255-4360-5253DBE1396A}"/>
              </a:ext>
            </a:extLst>
          </p:cNvPr>
          <p:cNvGrpSpPr/>
          <p:nvPr/>
        </p:nvGrpSpPr>
        <p:grpSpPr>
          <a:xfrm>
            <a:off x="-2921921" y="8665491"/>
            <a:ext cx="23511390" cy="8049967"/>
            <a:chOff x="-8327265" y="5657247"/>
            <a:chExt cx="23511390" cy="8049967"/>
          </a:xfrm>
        </p:grpSpPr>
        <p:pic>
          <p:nvPicPr>
            <p:cNvPr id="16" name="Picture 15">
              <a:extLst>
                <a:ext uri="{FF2B5EF4-FFF2-40B4-BE49-F238E27FC236}">
                  <a16:creationId xmlns:a16="http://schemas.microsoft.com/office/drawing/2014/main" id="{63AC585F-4341-C4D4-95B7-9BC78EA36CB9}"/>
                </a:ext>
              </a:extLst>
            </p:cNvPr>
            <p:cNvPicPr>
              <a:picLocks noChangeAspect="1"/>
            </p:cNvPicPr>
            <p:nvPr/>
          </p:nvPicPr>
          <p:blipFill>
            <a:blip r:embed="rId5"/>
            <a:stretch>
              <a:fillRect/>
            </a:stretch>
          </p:blipFill>
          <p:spPr>
            <a:xfrm>
              <a:off x="-762000" y="5743356"/>
              <a:ext cx="7338547" cy="7963857"/>
            </a:xfrm>
            <a:prstGeom prst="rect">
              <a:avLst/>
            </a:prstGeom>
          </p:spPr>
        </p:pic>
        <p:pic>
          <p:nvPicPr>
            <p:cNvPr id="18" name="Picture 17">
              <a:extLst>
                <a:ext uri="{FF2B5EF4-FFF2-40B4-BE49-F238E27FC236}">
                  <a16:creationId xmlns:a16="http://schemas.microsoft.com/office/drawing/2014/main" id="{82489409-D93F-009C-E20D-1E241CE178F2}"/>
                </a:ext>
              </a:extLst>
            </p:cNvPr>
            <p:cNvPicPr>
              <a:picLocks noChangeAspect="1"/>
            </p:cNvPicPr>
            <p:nvPr/>
          </p:nvPicPr>
          <p:blipFill>
            <a:blip r:embed="rId6"/>
            <a:stretch>
              <a:fillRect/>
            </a:stretch>
          </p:blipFill>
          <p:spPr>
            <a:xfrm>
              <a:off x="-8327265" y="5657247"/>
              <a:ext cx="7573432" cy="3458058"/>
            </a:xfrm>
            <a:prstGeom prst="rect">
              <a:avLst/>
            </a:prstGeom>
          </p:spPr>
        </p:pic>
        <p:pic>
          <p:nvPicPr>
            <p:cNvPr id="20" name="Picture 19">
              <a:extLst>
                <a:ext uri="{FF2B5EF4-FFF2-40B4-BE49-F238E27FC236}">
                  <a16:creationId xmlns:a16="http://schemas.microsoft.com/office/drawing/2014/main" id="{9311098D-A895-61D8-34AE-FF6F3F5EE76C}"/>
                </a:ext>
              </a:extLst>
            </p:cNvPr>
            <p:cNvPicPr>
              <a:picLocks noChangeAspect="1"/>
            </p:cNvPicPr>
            <p:nvPr/>
          </p:nvPicPr>
          <p:blipFill>
            <a:blip r:embed="rId7"/>
            <a:stretch>
              <a:fillRect/>
            </a:stretch>
          </p:blipFill>
          <p:spPr>
            <a:xfrm>
              <a:off x="6567020" y="5657247"/>
              <a:ext cx="8617105" cy="4694784"/>
            </a:xfrm>
            <a:prstGeom prst="rect">
              <a:avLst/>
            </a:prstGeom>
          </p:spPr>
        </p:pic>
        <p:pic>
          <p:nvPicPr>
            <p:cNvPr id="15" name="Picture 14">
              <a:extLst>
                <a:ext uri="{FF2B5EF4-FFF2-40B4-BE49-F238E27FC236}">
                  <a16:creationId xmlns:a16="http://schemas.microsoft.com/office/drawing/2014/main" id="{FB219AAF-5F10-91C5-D6FD-44D47936A1B5}"/>
                </a:ext>
              </a:extLst>
            </p:cNvPr>
            <p:cNvPicPr>
              <a:picLocks noChangeAspect="1"/>
            </p:cNvPicPr>
            <p:nvPr/>
          </p:nvPicPr>
          <p:blipFill>
            <a:blip r:embed="rId8"/>
            <a:stretch>
              <a:fillRect/>
            </a:stretch>
          </p:blipFill>
          <p:spPr>
            <a:xfrm>
              <a:off x="-7916871" y="8996656"/>
              <a:ext cx="7163038" cy="4710558"/>
            </a:xfrm>
            <a:prstGeom prst="rect">
              <a:avLst/>
            </a:prstGeom>
          </p:spPr>
        </p:pic>
      </p:grpSp>
      <p:sp>
        <p:nvSpPr>
          <p:cNvPr id="11" name="TextBox 10">
            <a:extLst>
              <a:ext uri="{FF2B5EF4-FFF2-40B4-BE49-F238E27FC236}">
                <a16:creationId xmlns:a16="http://schemas.microsoft.com/office/drawing/2014/main" id="{A28E141E-87E8-3644-E504-C489245EF0BC}"/>
              </a:ext>
            </a:extLst>
          </p:cNvPr>
          <p:cNvSpPr txBox="1"/>
          <p:nvPr/>
        </p:nvSpPr>
        <p:spPr>
          <a:xfrm>
            <a:off x="-4726241" y="3839375"/>
            <a:ext cx="3608641" cy="1477328"/>
          </a:xfrm>
          <a:prstGeom prst="rect">
            <a:avLst/>
          </a:prstGeom>
          <a:noFill/>
        </p:spPr>
        <p:txBody>
          <a:bodyPr wrap="square">
            <a:spAutoFit/>
          </a:bodyPr>
          <a:lstStyle/>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Top approaches with key merits and drawbacks for each</a:t>
            </a:r>
          </a:p>
          <a:p>
            <a:pPr marL="228600" indent="-228600" algn="l">
              <a:buAutoNum type="arabicPeriod"/>
            </a:pPr>
            <a:r>
              <a:rPr lang="en-US" sz="1800" dirty="0">
                <a:latin typeface="Arial" panose="020B0604020202020204" pitchFamily="34" charset="0"/>
                <a:cs typeface="Arial" panose="020B0604020202020204" pitchFamily="34" charset="0"/>
              </a:rPr>
              <a:t>Ultimate deciding factor for current approach</a:t>
            </a:r>
          </a:p>
          <a:p>
            <a:pPr marL="228600" indent="-228600" algn="l">
              <a:buAutoNum type="arabicPeriod"/>
            </a:pPr>
            <a:r>
              <a:rPr lang="en-US" sz="1800" b="0" i="0" u="none" strike="noStrike" baseline="0" dirty="0">
                <a:latin typeface="Arial" panose="020B0604020202020204" pitchFamily="34" charset="0"/>
                <a:cs typeface="Arial" panose="020B0604020202020204" pitchFamily="34" charset="0"/>
              </a:rPr>
              <a:t>Key risks with this approach</a:t>
            </a:r>
          </a:p>
        </p:txBody>
      </p:sp>
      <p:graphicFrame>
        <p:nvGraphicFramePr>
          <p:cNvPr id="12" name="Table 13">
            <a:extLst>
              <a:ext uri="{FF2B5EF4-FFF2-40B4-BE49-F238E27FC236}">
                <a16:creationId xmlns:a16="http://schemas.microsoft.com/office/drawing/2014/main" id="{E7FADF18-DD76-1C0B-D4E3-57077A011D1F}"/>
              </a:ext>
            </a:extLst>
          </p:cNvPr>
          <p:cNvGraphicFramePr>
            <a:graphicFrameLocks noGrp="1"/>
          </p:cNvGraphicFramePr>
          <p:nvPr>
            <p:extLst>
              <p:ext uri="{D42A27DB-BD31-4B8C-83A1-F6EECF244321}">
                <p14:modId xmlns:p14="http://schemas.microsoft.com/office/powerpoint/2010/main" val="3365098110"/>
              </p:ext>
            </p:extLst>
          </p:nvPr>
        </p:nvGraphicFramePr>
        <p:xfrm>
          <a:off x="384174" y="1670024"/>
          <a:ext cx="11439526" cy="4280771"/>
        </p:xfrm>
        <a:graphic>
          <a:graphicData uri="http://schemas.openxmlformats.org/drawingml/2006/table">
            <a:tbl>
              <a:tblPr firstRow="1" bandRow="1">
                <a:tableStyleId>{69012ECD-51FC-41F1-AA8D-1B2483CD663E}</a:tableStyleId>
              </a:tblPr>
              <a:tblGrid>
                <a:gridCol w="2105026">
                  <a:extLst>
                    <a:ext uri="{9D8B030D-6E8A-4147-A177-3AD203B41FA5}">
                      <a16:colId xmlns:a16="http://schemas.microsoft.com/office/drawing/2014/main" val="242751757"/>
                    </a:ext>
                  </a:extLst>
                </a:gridCol>
                <a:gridCol w="4667250">
                  <a:extLst>
                    <a:ext uri="{9D8B030D-6E8A-4147-A177-3AD203B41FA5}">
                      <a16:colId xmlns:a16="http://schemas.microsoft.com/office/drawing/2014/main" val="3513444672"/>
                    </a:ext>
                  </a:extLst>
                </a:gridCol>
                <a:gridCol w="4667250">
                  <a:extLst>
                    <a:ext uri="{9D8B030D-6E8A-4147-A177-3AD203B41FA5}">
                      <a16:colId xmlns:a16="http://schemas.microsoft.com/office/drawing/2014/main" val="2802873439"/>
                    </a:ext>
                  </a:extLst>
                </a:gridCol>
              </a:tblGrid>
              <a:tr h="562211">
                <a:tc>
                  <a:txBody>
                    <a:bodyPr/>
                    <a:lstStyle/>
                    <a:p>
                      <a:r>
                        <a:rPr lang="en-US" sz="1600" dirty="0">
                          <a:latin typeface="Calibri" panose="020F0502020204030204" pitchFamily="34" charset="0"/>
                          <a:cs typeface="Calibri" panose="020F0502020204030204" pitchFamily="34" charset="0"/>
                        </a:rPr>
                        <a:t>Control System</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Description + Pros</a:t>
                      </a:r>
                    </a:p>
                  </a:txBody>
                  <a:tcPr>
                    <a:lnB w="12700" cap="flat" cmpd="sng" algn="ctr">
                      <a:solidFill>
                        <a:schemeClr val="tx1"/>
                      </a:solidFill>
                      <a:prstDash val="solid"/>
                      <a:round/>
                      <a:headEnd type="none" w="med" len="med"/>
                      <a:tailEnd type="none" w="med" len="med"/>
                    </a:lnB>
                  </a:tcPr>
                </a:tc>
                <a:tc>
                  <a:txBody>
                    <a:bodyPr/>
                    <a:lstStyle/>
                    <a:p>
                      <a:r>
                        <a:rPr lang="en-US" sz="1600" dirty="0">
                          <a:latin typeface="Calibri" panose="020F0502020204030204" pitchFamily="34" charset="0"/>
                          <a:cs typeface="Calibri" panose="020F0502020204030204" pitchFamily="34" charset="0"/>
                        </a:rPr>
                        <a:t>Cons + Key Risk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29902"/>
                  </a:ext>
                </a:extLst>
              </a:tr>
              <a:tr h="562211">
                <a:tc>
                  <a:txBody>
                    <a:bodyPr/>
                    <a:lstStyle/>
                    <a:p>
                      <a:r>
                        <a:rPr lang="en-US" sz="1600" b="1" dirty="0">
                          <a:latin typeface="Calibri" panose="020F0502020204030204" pitchFamily="34" charset="0"/>
                          <a:cs typeface="Calibri" panose="020F0502020204030204" pitchFamily="34" charset="0"/>
                        </a:rPr>
                        <a:t>PID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itial setup only involves gain tuning for every control variable (can be semi-automated)</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ght compute load vs adaptive controller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Gain-scheduling can help controller work for different state-space region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ains are good for small region of state-space and system is unstable outside this region</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Integrator wind-up occurs when large change in setpoint occurs, resulting in severe overshoot</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Optimal control / stability not guaranteed</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363753"/>
                  </a:ext>
                </a:extLst>
              </a:tr>
              <a:tr h="562211">
                <a:tc>
                  <a:txBody>
                    <a:bodyPr/>
                    <a:lstStyle/>
                    <a:p>
                      <a:r>
                        <a:rPr lang="en-US" sz="1600" b="1" dirty="0">
                          <a:latin typeface="Calibri" panose="020F0502020204030204" pitchFamily="34" charset="0"/>
                          <a:cs typeface="Calibri" panose="020F0502020204030204" pitchFamily="34" charset="0"/>
                        </a:rPr>
                        <a:t>Model Predictive Control (MP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Computes optimal control trajectory using linear approximation of system + recomputes when approximation is unlikely to be accurate</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Generating system model for our robot might be difficult given anatomical constraints</a:t>
                      </a:r>
                    </a:p>
                    <a:p>
                      <a:pPr marL="171450" marR="0" lvl="0" indent="-171450" algn="l"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Calibri" panose="020F0502020204030204" pitchFamily="34" charset="0"/>
                          <a:cs typeface="Calibri" panose="020F0502020204030204" pitchFamily="34" charset="0"/>
                        </a:rPr>
                        <a:t>In general, this approach is sensitive to model inaccuracies and tuning of the cost func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2354901"/>
                  </a:ext>
                </a:extLst>
              </a:tr>
              <a:tr h="562211">
                <a:tc>
                  <a:txBody>
                    <a:bodyPr/>
                    <a:lstStyle/>
                    <a:p>
                      <a:r>
                        <a:rPr lang="en-US" sz="1600" b="1" dirty="0">
                          <a:latin typeface="Calibri" panose="020F0502020204030204" pitchFamily="34" charset="0"/>
                          <a:cs typeface="Calibri" panose="020F0502020204030204" pitchFamily="34" charset="0"/>
                        </a:rPr>
                        <a:t>Linear Quadratic Regulator (LQ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Finds optimal control input for linear systems</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Handles constraints on control inputs and states</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Just like in MPC, generating system model for our use case might be challenging</a:t>
                      </a:r>
                    </a:p>
                    <a:p>
                      <a:pPr marL="171450" indent="-171450">
                        <a:buFont typeface="Arial" panose="020B0604020202020204" pitchFamily="34" charset="0"/>
                        <a:buChar char="•"/>
                      </a:pPr>
                      <a:r>
                        <a:rPr lang="en-US" sz="1600" dirty="0">
                          <a:latin typeface="Calibri" panose="020F0502020204030204" pitchFamily="34" charset="0"/>
                          <a:cs typeface="Calibri" panose="020F0502020204030204" pitchFamily="34" charset="0"/>
                        </a:rPr>
                        <a:t>Linearization of nonlinear systems leads to significant performance degradation</a:t>
                      </a:r>
                    </a:p>
                  </a:txBody>
                  <a:tcPr marL="45720" marR="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0646484"/>
                  </a:ext>
                </a:extLst>
              </a:tr>
            </a:tbl>
          </a:graphicData>
        </a:graphic>
      </p:graphicFrame>
    </p:spTree>
    <p:extLst>
      <p:ext uri="{BB962C8B-B14F-4D97-AF65-F5344CB8AC3E}">
        <p14:creationId xmlns:p14="http://schemas.microsoft.com/office/powerpoint/2010/main" val="4225745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517961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Broader surgical robotics issues which might require special consideration when designing our system</a:t>
            </a:r>
          </a:p>
        </p:txBody>
      </p:sp>
      <p:sp>
        <p:nvSpPr>
          <p:cNvPr id="13" name="TextBox 12">
            <a:extLst>
              <a:ext uri="{FF2B5EF4-FFF2-40B4-BE49-F238E27FC236}">
                <a16:creationId xmlns:a16="http://schemas.microsoft.com/office/drawing/2014/main" id="{7C0BFC82-2AAA-66AB-66D0-55729A66298F}"/>
              </a:ext>
            </a:extLst>
          </p:cNvPr>
          <p:cNvSpPr txBox="1"/>
          <p:nvPr/>
        </p:nvSpPr>
        <p:spPr>
          <a:xfrm>
            <a:off x="0" y="6955793"/>
            <a:ext cx="10643189" cy="3139321"/>
          </a:xfrm>
          <a:prstGeom prst="rect">
            <a:avLst/>
          </a:prstGeom>
          <a:noFill/>
        </p:spPr>
        <p:txBody>
          <a:bodyPr wrap="square">
            <a:spAutoFit/>
          </a:bodyPr>
          <a:lstStyle/>
          <a:p>
            <a:pPr marL="228600" indent="-228600" algn="l">
              <a:buAutoNum type="arabicPeriod"/>
            </a:pPr>
            <a:r>
              <a:rPr lang="en-US" sz="1800" b="0" i="0" u="none" strike="noStrike" baseline="0" dirty="0">
                <a:latin typeface="AdvP6965"/>
              </a:rPr>
              <a:t>Motion Canceling in Medical Interventions</a:t>
            </a:r>
          </a:p>
          <a:p>
            <a:pPr marL="685800" lvl="1" indent="-228600">
              <a:buAutoNum type="arabicPeriod"/>
            </a:pPr>
            <a:r>
              <a:rPr lang="en-US" dirty="0">
                <a:latin typeface="AdvP6965"/>
              </a:rPr>
              <a:t>E.g., Model-Based Active Relative Motion Cancelation; during coronary artery bypass graft (CABG) surgery. The tools need to track and manipulate a fast moving target with very high precision. During free beating, individual points on the heart move as much as 7–10mm. Although the dominant mode of heart motion is on the order of 1–2 Hz</a:t>
            </a:r>
            <a:endParaRPr lang="en-US" sz="2800" dirty="0">
              <a:latin typeface="Arial" panose="020B0604020202020204" pitchFamily="34" charset="0"/>
              <a:cs typeface="Arial" panose="020B0604020202020204" pitchFamily="34" charset="0"/>
            </a:endParaRPr>
          </a:p>
          <a:p>
            <a:pPr marL="228600" indent="-228600">
              <a:buAutoNum type="arabicPeriod"/>
            </a:pPr>
            <a:r>
              <a:rPr lang="en-US" dirty="0">
                <a:latin typeface="AdvP6965"/>
              </a:rPr>
              <a:t>Planning for deformable tissues</a:t>
            </a:r>
          </a:p>
          <a:p>
            <a:pPr marL="685800" lvl="1" indent="-228600">
              <a:buAutoNum type="arabicPeriod"/>
            </a:pPr>
            <a:r>
              <a:rPr lang="en-US" dirty="0">
                <a:latin typeface="AdvP6965"/>
              </a:rPr>
              <a:t>E.g., Inserting needles into soft tissues causes the surrounding tissues to displace and deform. Ignoring these deformations can result in substantial placement error. For example, while performing prostate brachytherapy cancer treatment, an experienced physician implanting radioactive seeds in 20 patients achieved an average placement error of 0.63 cm, a substantial error of over 15% of average prostate diameter [65] (Fig. 23.7)</a:t>
            </a:r>
          </a:p>
        </p:txBody>
      </p:sp>
      <p:sp>
        <p:nvSpPr>
          <p:cNvPr id="24" name="Rectangle 23">
            <a:extLst>
              <a:ext uri="{FF2B5EF4-FFF2-40B4-BE49-F238E27FC236}">
                <a16:creationId xmlns:a16="http://schemas.microsoft.com/office/drawing/2014/main" id="{69526FE7-34E2-0B88-DA78-E97EE930941A}"/>
              </a:ext>
            </a:extLst>
          </p:cNvPr>
          <p:cNvSpPr/>
          <p:nvPr/>
        </p:nvSpPr>
        <p:spPr>
          <a:xfrm>
            <a:off x="384174" y="1517506"/>
            <a:ext cx="5711826"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Motion canceling in medical interventions</a:t>
            </a:r>
          </a:p>
        </p:txBody>
      </p:sp>
      <p:sp>
        <p:nvSpPr>
          <p:cNvPr id="25" name="Rectangle 24">
            <a:extLst>
              <a:ext uri="{FF2B5EF4-FFF2-40B4-BE49-F238E27FC236}">
                <a16:creationId xmlns:a16="http://schemas.microsoft.com/office/drawing/2014/main" id="{5F1C5371-5BEB-65F3-5F47-B605C394D8AC}"/>
              </a:ext>
            </a:extLst>
          </p:cNvPr>
          <p:cNvSpPr/>
          <p:nvPr/>
        </p:nvSpPr>
        <p:spPr>
          <a:xfrm>
            <a:off x="6180136" y="1517506"/>
            <a:ext cx="5640389" cy="38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lanning for deformable tissues</a:t>
            </a:r>
          </a:p>
        </p:txBody>
      </p:sp>
      <p:sp>
        <p:nvSpPr>
          <p:cNvPr id="26" name="Footer Placeholder 4">
            <a:extLst>
              <a:ext uri="{FF2B5EF4-FFF2-40B4-BE49-F238E27FC236}">
                <a16:creationId xmlns:a16="http://schemas.microsoft.com/office/drawing/2014/main" id="{ADF97203-4F50-540B-9F4E-C5809A011A5E}"/>
              </a:ext>
            </a:extLst>
          </p:cNvPr>
          <p:cNvSpPr>
            <a:spLocks noGrp="1"/>
          </p:cNvSpPr>
          <p:nvPr>
            <p:ph type="ftr" sz="quarter" idx="3"/>
          </p:nvPr>
        </p:nvSpPr>
        <p:spPr>
          <a:xfrm>
            <a:off x="384173" y="6460383"/>
            <a:ext cx="5847522" cy="240681"/>
          </a:xfrm>
        </p:spPr>
        <p:txBody>
          <a:bodyPr/>
          <a:lstStyle/>
          <a:p>
            <a:r>
              <a:rPr lang="en-US" dirty="0"/>
              <a:t>Source: </a:t>
            </a:r>
            <a:r>
              <a:rPr lang="en-US" i="1" dirty="0"/>
              <a:t>Surgical Robotics, Systems Applications and Visions </a:t>
            </a:r>
            <a:r>
              <a:rPr lang="en-US" dirty="0"/>
              <a:t>(Springer)</a:t>
            </a:r>
          </a:p>
        </p:txBody>
      </p:sp>
      <p:sp>
        <p:nvSpPr>
          <p:cNvPr id="27" name="Marcador de texto 3">
            <a:extLst>
              <a:ext uri="{FF2B5EF4-FFF2-40B4-BE49-F238E27FC236}">
                <a16:creationId xmlns:a16="http://schemas.microsoft.com/office/drawing/2014/main" id="{5DD065B9-E7BF-35F4-D37A-5A5905BA042C}"/>
              </a:ext>
            </a:extLst>
          </p:cNvPr>
          <p:cNvSpPr txBox="1">
            <a:spLocks/>
          </p:cNvSpPr>
          <p:nvPr/>
        </p:nvSpPr>
        <p:spPr>
          <a:xfrm>
            <a:off x="371475" y="2061735"/>
            <a:ext cx="5610225" cy="4708525"/>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odel-Based Active Relative Motion Cancelation is required during coronary artery bypass graft (CABG) surgery. The tools need to track and manipulate a fast-moving target with very high precision. During free beating, individual points on the heart move as much as 7–10mm. Although the dominant mode of heart motion is on the order of 1–2 Hz</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Query whether movement in the human brain may require a similar motion canceling solution to ensure smooth and predictable mobility of our robot</a:t>
            </a:r>
          </a:p>
          <a:p>
            <a:pPr marL="285750" indent="-285750">
              <a:spcAft>
                <a:spcPts val="600"/>
              </a:spcAft>
              <a:buFont typeface="Arial" panose="020B0604020202020204" pitchFamily="34" charset="0"/>
              <a:buChar char="•"/>
            </a:pPr>
            <a:endParaRPr lang="en-US" sz="1600" b="0" dirty="0">
              <a:latin typeface="Calibri" panose="020F0502020204030204" pitchFamily="34" charset="0"/>
              <a:cs typeface="Calibri" panose="020F0502020204030204" pitchFamily="34" charset="0"/>
            </a:endParaRPr>
          </a:p>
        </p:txBody>
      </p:sp>
      <p:sp>
        <p:nvSpPr>
          <p:cNvPr id="28" name="Marcador de texto 3">
            <a:extLst>
              <a:ext uri="{FF2B5EF4-FFF2-40B4-BE49-F238E27FC236}">
                <a16:creationId xmlns:a16="http://schemas.microsoft.com/office/drawing/2014/main" id="{56F80D20-AF22-C0FF-EB2D-27C006767DFE}"/>
              </a:ext>
            </a:extLst>
          </p:cNvPr>
          <p:cNvSpPr txBox="1">
            <a:spLocks/>
          </p:cNvSpPr>
          <p:nvPr/>
        </p:nvSpPr>
        <p:spPr>
          <a:xfrm>
            <a:off x="6221039" y="2061735"/>
            <a:ext cx="5610225" cy="4347703"/>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Inserting needles into soft tissues causes surrounding tissues to displace and deform. Ignoring these deformations can result in substantial placement error</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Query if this is relevant for our use case where the robot may interact with soft tissues in the brain</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Perhaps formulating the problem as a Partially Observable Markov Decision Process (POMDP) might be helpful, since these can be solved to yield optimal control policies under uncertainty </a:t>
            </a:r>
          </a:p>
        </p:txBody>
      </p:sp>
      <p:pic>
        <p:nvPicPr>
          <p:cNvPr id="30" name="Picture 29">
            <a:extLst>
              <a:ext uri="{FF2B5EF4-FFF2-40B4-BE49-F238E27FC236}">
                <a16:creationId xmlns:a16="http://schemas.microsoft.com/office/drawing/2014/main" id="{6C66224A-BA2E-E97D-9E21-145A8D3CDE27}"/>
              </a:ext>
            </a:extLst>
          </p:cNvPr>
          <p:cNvPicPr>
            <a:picLocks noChangeAspect="1"/>
          </p:cNvPicPr>
          <p:nvPr/>
        </p:nvPicPr>
        <p:blipFill>
          <a:blip r:embed="rId5"/>
          <a:stretch>
            <a:fillRect/>
          </a:stretch>
        </p:blipFill>
        <p:spPr>
          <a:xfrm>
            <a:off x="880340" y="4450526"/>
            <a:ext cx="4363513" cy="1856253"/>
          </a:xfrm>
          <a:prstGeom prst="rect">
            <a:avLst/>
          </a:prstGeom>
        </p:spPr>
      </p:pic>
      <p:pic>
        <p:nvPicPr>
          <p:cNvPr id="32" name="Picture 31">
            <a:extLst>
              <a:ext uri="{FF2B5EF4-FFF2-40B4-BE49-F238E27FC236}">
                <a16:creationId xmlns:a16="http://schemas.microsoft.com/office/drawing/2014/main" id="{BA2D3E17-C713-AF31-28A5-D25718E19BD1}"/>
              </a:ext>
            </a:extLst>
          </p:cNvPr>
          <p:cNvPicPr>
            <a:picLocks noChangeAspect="1"/>
          </p:cNvPicPr>
          <p:nvPr/>
        </p:nvPicPr>
        <p:blipFill>
          <a:blip r:embed="rId6"/>
          <a:stretch>
            <a:fillRect/>
          </a:stretch>
        </p:blipFill>
        <p:spPr>
          <a:xfrm>
            <a:off x="6987710" y="4342997"/>
            <a:ext cx="3986311" cy="2113327"/>
          </a:xfrm>
          <a:prstGeom prst="rect">
            <a:avLst/>
          </a:prstGeom>
        </p:spPr>
      </p:pic>
    </p:spTree>
    <p:extLst>
      <p:ext uri="{BB962C8B-B14F-4D97-AF65-F5344CB8AC3E}">
        <p14:creationId xmlns:p14="http://schemas.microsoft.com/office/powerpoint/2010/main" val="1646586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5244430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5</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2"/>
            <a:ext cx="9489218"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ppendix</a:t>
            </a:r>
          </a:p>
        </p:txBody>
      </p:sp>
    </p:spTree>
    <p:extLst>
      <p:ext uri="{BB962C8B-B14F-4D97-AF65-F5344CB8AC3E}">
        <p14:creationId xmlns:p14="http://schemas.microsoft.com/office/powerpoint/2010/main" val="331595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0353492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SLAM using onboard sensor data [if possible to have onboard odometry]</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1070061"/>
            <a:ext cx="11449050" cy="4787900"/>
          </a:xfrm>
        </p:spPr>
        <p:txBody>
          <a:bodyPr/>
          <a:lstStyle/>
          <a:p>
            <a:r>
              <a:rPr lang="en-US" dirty="0">
                <a:latin typeface="Arial" panose="020B0604020202020204" pitchFamily="34" charset="0"/>
                <a:cs typeface="Arial" panose="020B0604020202020204" pitchFamily="34" charset="0"/>
              </a:rPr>
              <a:t>Pseudocode for SLAM:</a:t>
            </a:r>
          </a:p>
          <a:p>
            <a:pPr marL="400050" indent="-400050">
              <a:buFont typeface="+mj-lt"/>
              <a:buAutoNum type="romanUcPeriod"/>
            </a:pPr>
            <a:r>
              <a:rPr lang="en-US" b="0" dirty="0">
                <a:latin typeface="Calibri" panose="020F0502020204030204" pitchFamily="34" charset="0"/>
                <a:cs typeface="Calibri" panose="020F0502020204030204" pitchFamily="34" charset="0"/>
              </a:rPr>
              <a:t>Image acquisition: X-ray images of the environment are captured using an x-ray sensor.</a:t>
            </a:r>
          </a:p>
          <a:p>
            <a:pPr marL="400050" indent="-400050">
              <a:buFont typeface="+mj-lt"/>
              <a:buAutoNum type="romanUcPeriod"/>
            </a:pPr>
            <a:r>
              <a:rPr lang="en-US" b="0" dirty="0">
                <a:latin typeface="Calibri" panose="020F0502020204030204" pitchFamily="34" charset="0"/>
                <a:cs typeface="Calibri" panose="020F0502020204030204" pitchFamily="34" charset="0"/>
              </a:rPr>
              <a:t>Feature detection and extraction: Features, such as edges or corners, are detected and extracted from the x-ray images.</a:t>
            </a:r>
          </a:p>
          <a:p>
            <a:pPr marL="400050" indent="-400050">
              <a:buFont typeface="+mj-lt"/>
              <a:buAutoNum type="romanUcPeriod"/>
            </a:pPr>
            <a:r>
              <a:rPr lang="en-US" b="0" dirty="0">
                <a:latin typeface="Calibri" panose="020F0502020204030204" pitchFamily="34" charset="0"/>
                <a:cs typeface="Calibri" panose="020F0502020204030204" pitchFamily="34" charset="0"/>
              </a:rPr>
              <a:t>Feature matching: Features from consecutive x-ray images are matched to determine the motion of the sensor.</a:t>
            </a:r>
          </a:p>
          <a:p>
            <a:pPr marL="400050" indent="-400050">
              <a:buFont typeface="+mj-lt"/>
              <a:buAutoNum type="romanUcPeriod"/>
            </a:pPr>
            <a:r>
              <a:rPr lang="en-US" b="0" dirty="0">
                <a:latin typeface="Calibri" panose="020F0502020204030204" pitchFamily="34" charset="0"/>
                <a:cs typeface="Calibri" panose="020F0502020204030204" pitchFamily="34" charset="0"/>
              </a:rPr>
              <a:t>Pose estimation: The sensor's motion is used to estimate its position and orientation within the environment.</a:t>
            </a:r>
          </a:p>
          <a:p>
            <a:pPr marL="400050" indent="-400050">
              <a:buFont typeface="+mj-lt"/>
              <a:buAutoNum type="romanUcPeriod"/>
            </a:pPr>
            <a:r>
              <a:rPr lang="en-US" b="0" dirty="0">
                <a:latin typeface="Calibri" panose="020F0502020204030204" pitchFamily="34" charset="0"/>
                <a:cs typeface="Calibri" panose="020F0502020204030204" pitchFamily="34" charset="0"/>
              </a:rPr>
              <a:t>Map building: The sensor's position and orientation, along with the features extracted from the x-ray images, are used to build a map of the environment.</a:t>
            </a:r>
          </a:p>
          <a:p>
            <a:pPr marL="400050" indent="-400050">
              <a:buFont typeface="+mj-lt"/>
              <a:buAutoNum type="romanUcPeriod"/>
            </a:pPr>
            <a:r>
              <a:rPr lang="en-US" b="0" dirty="0">
                <a:latin typeface="Calibri" panose="020F0502020204030204" pitchFamily="34" charset="0"/>
                <a:cs typeface="Calibri" panose="020F0502020204030204" pitchFamily="34" charset="0"/>
              </a:rPr>
              <a:t>Loop closure: When the sensor revisits an area, loop closures are detected and used to refine the map and sensor's position.</a:t>
            </a:r>
          </a:p>
          <a:p>
            <a:r>
              <a:rPr lang="en-US" b="0" dirty="0">
                <a:latin typeface="Calibri" panose="020F0502020204030204" pitchFamily="34" charset="0"/>
                <a:cs typeface="Calibri" panose="020F0502020204030204" pitchFamily="34" charset="0"/>
              </a:rPr>
              <a:t>Some of the challenges of visual SLAM on x-ray imagery include the low contrast and texture of x-ray images, as well as the high computational demands of processing x-ray images in real-time. To overcome these challenges, researchers have proposed various methods such as using a combination of x-ray and visible light images, preprocessing the images to enhance features, and using efficient optimization algorithms.</a:t>
            </a:r>
          </a:p>
          <a:p>
            <a:endParaRPr lang="en-US"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41291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1253527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latin typeface="Arial" panose="020B0604020202020204" pitchFamily="34" charset="0"/>
                <a:cs typeface="Arial" panose="020B0604020202020204" pitchFamily="34" charset="0"/>
              </a:rPr>
              <a:t>Outlin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ssumed Inputs for localization and navig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roposed methodology for</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a) Localiz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b) Path Planning</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c) Trajectory Generatio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d) Control Syste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Design Criteria and Key Risks</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ppendix</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08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352163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Alternatives to 5</a:t>
            </a:r>
            <a:r>
              <a:rPr lang="en-US" baseline="30000" dirty="0">
                <a:latin typeface="Arial" panose="020B0604020202020204" pitchFamily="34" charset="0"/>
                <a:cs typeface="Arial" panose="020B0604020202020204" pitchFamily="34" charset="0"/>
              </a:rPr>
              <a:t>th</a:t>
            </a:r>
            <a:r>
              <a:rPr lang="en-US" dirty="0">
                <a:latin typeface="Arial" panose="020B0604020202020204" pitchFamily="34" charset="0"/>
                <a:cs typeface="Arial" panose="020B0604020202020204" pitchFamily="34" charset="0"/>
              </a:rPr>
              <a:t> degree polynomial-based trajectory generation (Cubic polynomial, Minimum-time trajectory)</a:t>
            </a:r>
          </a:p>
        </p:txBody>
      </p:sp>
      <p:grpSp>
        <p:nvGrpSpPr>
          <p:cNvPr id="21" name="Group 20">
            <a:extLst>
              <a:ext uri="{FF2B5EF4-FFF2-40B4-BE49-F238E27FC236}">
                <a16:creationId xmlns:a16="http://schemas.microsoft.com/office/drawing/2014/main" id="{3F92F171-9072-7794-60E1-EF188F76764B}"/>
              </a:ext>
            </a:extLst>
          </p:cNvPr>
          <p:cNvGrpSpPr/>
          <p:nvPr/>
        </p:nvGrpSpPr>
        <p:grpSpPr>
          <a:xfrm>
            <a:off x="487205" y="1623771"/>
            <a:ext cx="5001323" cy="4229977"/>
            <a:chOff x="90138" y="1110430"/>
            <a:chExt cx="5001323" cy="4229977"/>
          </a:xfrm>
        </p:grpSpPr>
        <p:pic>
          <p:nvPicPr>
            <p:cNvPr id="22" name="Picture 21">
              <a:extLst>
                <a:ext uri="{FF2B5EF4-FFF2-40B4-BE49-F238E27FC236}">
                  <a16:creationId xmlns:a16="http://schemas.microsoft.com/office/drawing/2014/main" id="{D1345B0E-5A80-1CB6-F881-01B989CD7517}"/>
                </a:ext>
              </a:extLst>
            </p:cNvPr>
            <p:cNvPicPr>
              <a:picLocks noChangeAspect="1"/>
            </p:cNvPicPr>
            <p:nvPr/>
          </p:nvPicPr>
          <p:blipFill>
            <a:blip r:embed="rId5"/>
            <a:stretch>
              <a:fillRect/>
            </a:stretch>
          </p:blipFill>
          <p:spPr>
            <a:xfrm>
              <a:off x="90138" y="1110430"/>
              <a:ext cx="5001323" cy="3181794"/>
            </a:xfrm>
            <a:prstGeom prst="rect">
              <a:avLst/>
            </a:prstGeom>
          </p:spPr>
        </p:pic>
        <p:pic>
          <p:nvPicPr>
            <p:cNvPr id="23" name="Picture 22">
              <a:extLst>
                <a:ext uri="{FF2B5EF4-FFF2-40B4-BE49-F238E27FC236}">
                  <a16:creationId xmlns:a16="http://schemas.microsoft.com/office/drawing/2014/main" id="{E6CA5CE2-961F-2563-6B8A-DF1FB95F1D96}"/>
                </a:ext>
              </a:extLst>
            </p:cNvPr>
            <p:cNvPicPr>
              <a:picLocks noChangeAspect="1"/>
            </p:cNvPicPr>
            <p:nvPr/>
          </p:nvPicPr>
          <p:blipFill>
            <a:blip r:embed="rId6"/>
            <a:stretch>
              <a:fillRect/>
            </a:stretch>
          </p:blipFill>
          <p:spPr>
            <a:xfrm>
              <a:off x="152270" y="4787880"/>
              <a:ext cx="3534268" cy="552527"/>
            </a:xfrm>
            <a:prstGeom prst="rect">
              <a:avLst/>
            </a:prstGeom>
          </p:spPr>
        </p:pic>
      </p:grpSp>
      <p:grpSp>
        <p:nvGrpSpPr>
          <p:cNvPr id="17" name="Group 16">
            <a:extLst>
              <a:ext uri="{FF2B5EF4-FFF2-40B4-BE49-F238E27FC236}">
                <a16:creationId xmlns:a16="http://schemas.microsoft.com/office/drawing/2014/main" id="{8666ABD1-108B-E23C-4442-E77437077196}"/>
              </a:ext>
            </a:extLst>
          </p:cNvPr>
          <p:cNvGrpSpPr/>
          <p:nvPr/>
        </p:nvGrpSpPr>
        <p:grpSpPr>
          <a:xfrm>
            <a:off x="6369349" y="1716327"/>
            <a:ext cx="5234453" cy="3700803"/>
            <a:chOff x="6369349" y="2386028"/>
            <a:chExt cx="5234453" cy="3700803"/>
          </a:xfrm>
        </p:grpSpPr>
        <p:pic>
          <p:nvPicPr>
            <p:cNvPr id="26" name="Picture 25">
              <a:extLst>
                <a:ext uri="{FF2B5EF4-FFF2-40B4-BE49-F238E27FC236}">
                  <a16:creationId xmlns:a16="http://schemas.microsoft.com/office/drawing/2014/main" id="{2B5C273D-F0B4-789E-87C2-6D06460AB889}"/>
                </a:ext>
              </a:extLst>
            </p:cNvPr>
            <p:cNvPicPr>
              <a:picLocks noChangeAspect="1"/>
            </p:cNvPicPr>
            <p:nvPr/>
          </p:nvPicPr>
          <p:blipFill rotWithShape="1">
            <a:blip r:embed="rId7"/>
            <a:srcRect b="69747"/>
            <a:stretch/>
          </p:blipFill>
          <p:spPr>
            <a:xfrm>
              <a:off x="6382229" y="2386028"/>
              <a:ext cx="5221573" cy="1606424"/>
            </a:xfrm>
            <a:prstGeom prst="rect">
              <a:avLst/>
            </a:prstGeom>
          </p:spPr>
        </p:pic>
        <p:pic>
          <p:nvPicPr>
            <p:cNvPr id="28" name="Picture 27">
              <a:extLst>
                <a:ext uri="{FF2B5EF4-FFF2-40B4-BE49-F238E27FC236}">
                  <a16:creationId xmlns:a16="http://schemas.microsoft.com/office/drawing/2014/main" id="{E8A4C52B-7CCE-3012-49B7-F658D93F8873}"/>
                </a:ext>
              </a:extLst>
            </p:cNvPr>
            <p:cNvPicPr>
              <a:picLocks noChangeAspect="1"/>
            </p:cNvPicPr>
            <p:nvPr/>
          </p:nvPicPr>
          <p:blipFill>
            <a:blip r:embed="rId8"/>
            <a:stretch>
              <a:fillRect/>
            </a:stretch>
          </p:blipFill>
          <p:spPr>
            <a:xfrm>
              <a:off x="6369349" y="4004615"/>
              <a:ext cx="5172567" cy="2082216"/>
            </a:xfrm>
            <a:prstGeom prst="rect">
              <a:avLst/>
            </a:prstGeom>
          </p:spPr>
        </p:pic>
      </p:grpSp>
      <p:sp>
        <p:nvSpPr>
          <p:cNvPr id="6" name="Footer Placeholder 4">
            <a:extLst>
              <a:ext uri="{FF2B5EF4-FFF2-40B4-BE49-F238E27FC236}">
                <a16:creationId xmlns:a16="http://schemas.microsoft.com/office/drawing/2014/main" id="{3BA1FDA8-E1B2-6FBA-B49A-0C29A2338185}"/>
              </a:ext>
            </a:extLst>
          </p:cNvPr>
          <p:cNvSpPr txBox="1">
            <a:spLocks/>
          </p:cNvSpPr>
          <p:nvPr/>
        </p:nvSpPr>
        <p:spPr>
          <a:xfrm>
            <a:off x="349348" y="6365036"/>
            <a:ext cx="11244859" cy="312964"/>
          </a:xfrm>
          <a:prstGeom prst="rect">
            <a:avLst/>
          </a:prstGeom>
        </p:spPr>
        <p:txBody>
          <a:bodyPr vert="horz" lIns="91440" tIns="45720" rIns="91440" bIns="45720" rtlCol="0" anchor="ct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latin typeface="Calibri" panose="020F0502020204030204" pitchFamily="34" charset="0"/>
                <a:cs typeface="Calibri" panose="020F0502020204030204" pitchFamily="34" charset="0"/>
              </a:rPr>
              <a:t>Source: Robot Modeling and Control (Spong, Hutchinson, Vidyasagar)</a:t>
            </a:r>
          </a:p>
          <a:p>
            <a:endParaRPr lang="en-US" sz="12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82851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9881883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eper Dive into PID control and potential stability considerations	</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87111" y="6344472"/>
            <a:ext cx="5847522" cy="240681"/>
          </a:xfrm>
        </p:spPr>
        <p:txBody>
          <a:bodyPr/>
          <a:lstStyle/>
          <a:p>
            <a:r>
              <a:rPr lang="en-US" sz="1100" dirty="0">
                <a:latin typeface="Calibri" panose="020F0502020204030204" pitchFamily="34" charset="0"/>
                <a:cs typeface="Calibri" panose="020F0502020204030204" pitchFamily="34" charset="0"/>
              </a:rPr>
              <a:t>Source: Feedback Control of Dynamic Systems (Franklin, Powell, </a:t>
            </a:r>
            <a:r>
              <a:rPr lang="en-US" sz="1100" dirty="0" err="1">
                <a:latin typeface="Calibri" panose="020F0502020204030204" pitchFamily="34" charset="0"/>
                <a:cs typeface="Calibri" panose="020F0502020204030204" pitchFamily="34" charset="0"/>
              </a:rPr>
              <a:t>Emami-Naeni</a:t>
            </a:r>
            <a:r>
              <a:rPr lang="en-US" sz="1100" dirty="0">
                <a:latin typeface="Calibri" panose="020F0502020204030204" pitchFamily="34" charset="0"/>
                <a:cs typeface="Calibri" panose="020F0502020204030204" pitchFamily="34" charset="0"/>
              </a:rPr>
              <a:t>)</a:t>
            </a:r>
          </a:p>
        </p:txBody>
      </p:sp>
      <p:pic>
        <p:nvPicPr>
          <p:cNvPr id="12" name="Picture 11">
            <a:extLst>
              <a:ext uri="{FF2B5EF4-FFF2-40B4-BE49-F238E27FC236}">
                <a16:creationId xmlns:a16="http://schemas.microsoft.com/office/drawing/2014/main" id="{C45FC9DE-73A6-947D-2484-26DE2BC428BE}"/>
              </a:ext>
            </a:extLst>
          </p:cNvPr>
          <p:cNvPicPr>
            <a:picLocks noChangeAspect="1"/>
          </p:cNvPicPr>
          <p:nvPr/>
        </p:nvPicPr>
        <p:blipFill>
          <a:blip r:embed="rId5"/>
          <a:stretch>
            <a:fillRect/>
          </a:stretch>
        </p:blipFill>
        <p:spPr>
          <a:xfrm>
            <a:off x="371475" y="1155915"/>
            <a:ext cx="5106113" cy="3410426"/>
          </a:xfrm>
          <a:prstGeom prst="rect">
            <a:avLst/>
          </a:prstGeom>
        </p:spPr>
      </p:pic>
      <p:pic>
        <p:nvPicPr>
          <p:cNvPr id="13" name="Picture 12">
            <a:extLst>
              <a:ext uri="{FF2B5EF4-FFF2-40B4-BE49-F238E27FC236}">
                <a16:creationId xmlns:a16="http://schemas.microsoft.com/office/drawing/2014/main" id="{7639C225-8581-4BB9-6F3B-615ED8FA72F0}"/>
              </a:ext>
            </a:extLst>
          </p:cNvPr>
          <p:cNvPicPr>
            <a:picLocks noChangeAspect="1"/>
          </p:cNvPicPr>
          <p:nvPr/>
        </p:nvPicPr>
        <p:blipFill>
          <a:blip r:embed="rId6"/>
          <a:stretch>
            <a:fillRect/>
          </a:stretch>
        </p:blipFill>
        <p:spPr>
          <a:xfrm>
            <a:off x="5544357" y="1520825"/>
            <a:ext cx="6276168" cy="2089420"/>
          </a:xfrm>
          <a:prstGeom prst="rect">
            <a:avLst/>
          </a:prstGeom>
        </p:spPr>
      </p:pic>
      <p:pic>
        <p:nvPicPr>
          <p:cNvPr id="15" name="Picture 14">
            <a:extLst>
              <a:ext uri="{FF2B5EF4-FFF2-40B4-BE49-F238E27FC236}">
                <a16:creationId xmlns:a16="http://schemas.microsoft.com/office/drawing/2014/main" id="{6FC121BA-CA47-B67F-10F6-9A05BB1EA32F}"/>
              </a:ext>
            </a:extLst>
          </p:cNvPr>
          <p:cNvPicPr>
            <a:picLocks noChangeAspect="1"/>
          </p:cNvPicPr>
          <p:nvPr/>
        </p:nvPicPr>
        <p:blipFill>
          <a:blip r:embed="rId7"/>
          <a:stretch>
            <a:fillRect/>
          </a:stretch>
        </p:blipFill>
        <p:spPr>
          <a:xfrm>
            <a:off x="5661763" y="3813751"/>
            <a:ext cx="5744377" cy="2133898"/>
          </a:xfrm>
          <a:prstGeom prst="rect">
            <a:avLst/>
          </a:prstGeom>
        </p:spPr>
      </p:pic>
    </p:spTree>
    <p:extLst>
      <p:ext uri="{BB962C8B-B14F-4D97-AF65-F5344CB8AC3E}">
        <p14:creationId xmlns:p14="http://schemas.microsoft.com/office/powerpoint/2010/main" val="31811458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026432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About Umbrex</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r>
              <a:rPr lang="en-US" dirty="0"/>
              <a:t>For clients</a:t>
            </a:r>
            <a:r>
              <a:rPr lang="en-US" b="0" dirty="0"/>
              <a:t>: Founded by McKinsey alums, Umbrex is the fastest way to find the right independent consultant for your project needs. We cover over 32 industries and over 27 functional areas. </a:t>
            </a:r>
          </a:p>
          <a:p>
            <a:r>
              <a:rPr lang="en-US" b="0" dirty="0"/>
              <a:t>Explore our capabilities and find a consultant at: </a:t>
            </a:r>
            <a:r>
              <a:rPr lang="en-US" b="0" dirty="0">
                <a:hlinkClick r:id="rId5"/>
              </a:rPr>
              <a:t>www.umbrex.com</a:t>
            </a:r>
            <a:endParaRPr lang="en-US" b="0" dirty="0"/>
          </a:p>
          <a:p>
            <a:endParaRPr lang="en-US" b="0" dirty="0"/>
          </a:p>
          <a:p>
            <a:r>
              <a:rPr lang="en-US" dirty="0"/>
              <a:t>For consultants: </a:t>
            </a:r>
            <a:r>
              <a:rPr lang="en-US" b="0" dirty="0"/>
              <a:t>Umbrex is a global community that connects top-tier independent management consultants with one another through in-person and online events. No membership fees, ever. Members also get exclusive access to events, a private online forum, and project opportunities. </a:t>
            </a:r>
          </a:p>
          <a:p>
            <a:r>
              <a:rPr lang="en-US" b="0" dirty="0"/>
              <a:t>Request to join here: </a:t>
            </a:r>
            <a:r>
              <a:rPr lang="en-US" b="0" dirty="0">
                <a:hlinkClick r:id="rId6"/>
              </a:rPr>
              <a:t>https://umbrex.com/join-our-community/</a:t>
            </a:r>
            <a:endParaRPr lang="en-US" b="0" dirty="0"/>
          </a:p>
          <a:p>
            <a:endParaRPr lang="en-US" b="0" dirty="0"/>
          </a:p>
          <a:p>
            <a:r>
              <a:rPr lang="en-US" dirty="0"/>
              <a:t>More resources: </a:t>
            </a:r>
            <a:r>
              <a:rPr lang="en-US" b="0" dirty="0"/>
              <a:t>To access several dozen other free resources visit: </a:t>
            </a:r>
            <a:r>
              <a:rPr lang="en-US" b="0" dirty="0">
                <a:hlinkClick r:id="rId7"/>
              </a:rPr>
              <a:t>https://umbrex.com/resources/</a:t>
            </a:r>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pic>
        <p:nvPicPr>
          <p:cNvPr id="8" name="Picture 7" descr="A picture containing text, clipart&#10;&#10;Description automatically generated">
            <a:extLst>
              <a:ext uri="{FF2B5EF4-FFF2-40B4-BE49-F238E27FC236}">
                <a16:creationId xmlns:a16="http://schemas.microsoft.com/office/drawing/2014/main" id="{D16CBFC7-5D06-C9A2-7456-A92B6847D98F}"/>
              </a:ext>
            </a:extLst>
          </p:cNvPr>
          <p:cNvPicPr>
            <a:picLocks noChangeAspect="1"/>
          </p:cNvPicPr>
          <p:nvPr/>
        </p:nvPicPr>
        <p:blipFill>
          <a:blip r:embed="rId8"/>
          <a:stretch>
            <a:fillRect/>
          </a:stretch>
        </p:blipFill>
        <p:spPr>
          <a:xfrm>
            <a:off x="9533001" y="182030"/>
            <a:ext cx="2287524" cy="620268"/>
          </a:xfrm>
          <a:prstGeom prst="rect">
            <a:avLst/>
          </a:prstGeom>
        </p:spPr>
      </p:pic>
    </p:spTree>
    <p:extLst>
      <p:ext uri="{BB962C8B-B14F-4D97-AF65-F5344CB8AC3E}">
        <p14:creationId xmlns:p14="http://schemas.microsoft.com/office/powerpoint/2010/main" val="3889085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7DA448-92FD-D313-90DF-645047103661}"/>
              </a:ext>
            </a:extLst>
          </p:cNvPr>
          <p:cNvSpPr/>
          <p:nvPr/>
        </p:nvSpPr>
        <p:spPr>
          <a:xfrm>
            <a:off x="6772152"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8" name="Rectangle 7">
            <a:extLst>
              <a:ext uri="{FF2B5EF4-FFF2-40B4-BE49-F238E27FC236}">
                <a16:creationId xmlns:a16="http://schemas.microsoft.com/office/drawing/2014/main" id="{3712275A-766E-11B1-2B52-07B942A3A565}"/>
              </a:ext>
            </a:extLst>
          </p:cNvPr>
          <p:cNvSpPr/>
          <p:nvPr/>
        </p:nvSpPr>
        <p:spPr>
          <a:xfrm>
            <a:off x="800099" y="1288073"/>
            <a:ext cx="4441703" cy="47879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 would go right here, or you can delete this box if you don’t have a 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Just one request</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1224329" y="2291970"/>
            <a:ext cx="3769702" cy="2729955"/>
          </a:xfrm>
        </p:spPr>
        <p:txBody>
          <a:bodyPr/>
          <a:lstStyle/>
          <a:p>
            <a:pPr>
              <a:lnSpc>
                <a:spcPct val="120000"/>
              </a:lnSpc>
            </a:pPr>
            <a:r>
              <a:rPr lang="en-US" sz="3200" b="0" dirty="0">
                <a:solidFill>
                  <a:schemeClr val="bg1"/>
                </a:solidFill>
              </a:rPr>
              <a:t>Do you have a slide design other consultants would find helpful?</a:t>
            </a:r>
          </a:p>
          <a:p>
            <a:endParaRPr lang="en-US" b="0" dirty="0"/>
          </a:p>
          <a:p>
            <a:endParaRPr lang="en-US" b="0" dirty="0"/>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dirty="0"/>
              <a:t>Source: team analysis</a:t>
            </a:r>
          </a:p>
        </p:txBody>
      </p:sp>
      <p:sp>
        <p:nvSpPr>
          <p:cNvPr id="6" name="Marcador de texto 3">
            <a:extLst>
              <a:ext uri="{FF2B5EF4-FFF2-40B4-BE49-F238E27FC236}">
                <a16:creationId xmlns:a16="http://schemas.microsoft.com/office/drawing/2014/main" id="{6E8EF370-0827-9671-B033-4E131A4F546D}"/>
              </a:ext>
            </a:extLst>
          </p:cNvPr>
          <p:cNvSpPr txBox="1">
            <a:spLocks/>
          </p:cNvSpPr>
          <p:nvPr/>
        </p:nvSpPr>
        <p:spPr>
          <a:xfrm>
            <a:off x="7108152" y="1713824"/>
            <a:ext cx="3769702" cy="4787900"/>
          </a:xfrm>
          <a:prstGeom prst="rect">
            <a:avLst/>
          </a:prstGeom>
        </p:spPr>
        <p:txBody>
          <a:bodyPr vert="horz" lIns="0" tIns="0" rIns="0" bIns="0" rtlCol="0">
            <a:noAutofit/>
          </a:bodyPr>
          <a:lst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a:lstStyle>
          <a:p>
            <a:pPr>
              <a:lnSpc>
                <a:spcPct val="120000"/>
              </a:lnSpc>
            </a:pPr>
            <a:r>
              <a:rPr lang="en-US" sz="3200" b="0" dirty="0">
                <a:solidFill>
                  <a:schemeClr val="bg1"/>
                </a:solidFill>
              </a:rPr>
              <a:t>Please share with us to include in an update version of this deck. </a:t>
            </a:r>
          </a:p>
          <a:p>
            <a:pPr>
              <a:lnSpc>
                <a:spcPct val="120000"/>
              </a:lnSpc>
            </a:pPr>
            <a:r>
              <a:rPr lang="en-US" sz="3200" b="0" dirty="0">
                <a:solidFill>
                  <a:schemeClr val="bg1"/>
                </a:solidFill>
              </a:rPr>
              <a:t>Email to: </a:t>
            </a:r>
          </a:p>
          <a:p>
            <a:pPr>
              <a:lnSpc>
                <a:spcPct val="120000"/>
              </a:lnSpc>
            </a:pPr>
            <a:r>
              <a:rPr lang="en-US" b="0" dirty="0">
                <a:solidFill>
                  <a:schemeClr val="bg1"/>
                </a:solidFill>
              </a:rPr>
              <a:t>inquiry@umbrex.com</a:t>
            </a:r>
          </a:p>
          <a:p>
            <a:endParaRPr lang="en-US" b="0" dirty="0">
              <a:solidFill>
                <a:schemeClr val="bg1"/>
              </a:solidFill>
            </a:endParaRPr>
          </a:p>
          <a:p>
            <a:endParaRPr lang="en-US" b="0" dirty="0"/>
          </a:p>
        </p:txBody>
      </p:sp>
      <p:sp>
        <p:nvSpPr>
          <p:cNvPr id="10" name="Arrow: Right 9">
            <a:extLst>
              <a:ext uri="{FF2B5EF4-FFF2-40B4-BE49-F238E27FC236}">
                <a16:creationId xmlns:a16="http://schemas.microsoft.com/office/drawing/2014/main" id="{BB1D2F2F-2888-4654-1C18-39E2C7020CEB}"/>
              </a:ext>
            </a:extLst>
          </p:cNvPr>
          <p:cNvSpPr/>
          <p:nvPr/>
        </p:nvSpPr>
        <p:spPr>
          <a:xfrm>
            <a:off x="5820873" y="2409093"/>
            <a:ext cx="372208" cy="2171700"/>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433426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080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414202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47B874B-E4EA-6EB1-03CA-9DE005DE6EBD}"/>
              </a:ext>
            </a:extLst>
          </p:cNvPr>
          <p:cNvGraphicFramePr>
            <a:graphicFrameLocks noChangeAspect="1"/>
          </p:cNvGraphicFramePr>
          <p:nvPr>
            <p:custDataLst>
              <p:tags r:id="rId1"/>
            </p:custDataLst>
            <p:extLst>
              <p:ext uri="{D42A27DB-BD31-4B8C-83A1-F6EECF244321}">
                <p14:modId xmlns:p14="http://schemas.microsoft.com/office/powerpoint/2010/main" val="262582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47B874B-E4EA-6EB1-03CA-9DE005DE6E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0524823-5FD3-394C-A8A5-23154C7D2BD4}"/>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A331C77-EBCB-B687-D9B9-89E668F51D6F}"/>
              </a:ext>
            </a:extLst>
          </p:cNvPr>
          <p:cNvSpPr>
            <a:spLocks noGrp="1"/>
          </p:cNvSpPr>
          <p:nvPr>
            <p:ph type="title"/>
          </p:nvPr>
        </p:nvSpPr>
        <p:spPr/>
        <p:txBody>
          <a:bodyPr vert="horz"/>
          <a:lstStyle/>
          <a:p>
            <a:r>
              <a:rPr lang="en-GB" dirty="0"/>
              <a:t>Template - Executive Summary 1</a:t>
            </a:r>
          </a:p>
        </p:txBody>
      </p:sp>
      <p:sp>
        <p:nvSpPr>
          <p:cNvPr id="4" name="Marcador de pie de página 3">
            <a:extLst>
              <a:ext uri="{FF2B5EF4-FFF2-40B4-BE49-F238E27FC236}">
                <a16:creationId xmlns:a16="http://schemas.microsoft.com/office/drawing/2014/main" id="{CB0326CE-0A68-8802-D8D7-8C0EDF938DDE}"/>
              </a:ext>
            </a:extLst>
          </p:cNvPr>
          <p:cNvSpPr>
            <a:spLocks noGrp="1"/>
          </p:cNvSpPr>
          <p:nvPr>
            <p:ph type="ftr" sz="quarter" idx="3"/>
          </p:nvPr>
        </p:nvSpPr>
        <p:spPr/>
        <p:txBody>
          <a:bodyPr/>
          <a:lstStyle/>
          <a:p>
            <a:r>
              <a:rPr lang="en-US"/>
              <a:t>Source:_______</a:t>
            </a:r>
            <a:endParaRPr lang="en-US" dirty="0"/>
          </a:p>
        </p:txBody>
      </p:sp>
      <p:sp>
        <p:nvSpPr>
          <p:cNvPr id="8" name="Rectangle 89">
            <a:extLst>
              <a:ext uri="{FF2B5EF4-FFF2-40B4-BE49-F238E27FC236}">
                <a16:creationId xmlns:a16="http://schemas.microsoft.com/office/drawing/2014/main" id="{EF2157A9-32B7-5B22-7885-7D2C8C035DD0}"/>
              </a:ext>
            </a:extLst>
          </p:cNvPr>
          <p:cNvSpPr/>
          <p:nvPr/>
        </p:nvSpPr>
        <p:spPr>
          <a:xfrm>
            <a:off x="4400556" y="1520825"/>
            <a:ext cx="7419974"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762C9988-A578-E709-10F0-3154C1781335}"/>
              </a:ext>
            </a:extLst>
          </p:cNvPr>
          <p:cNvSpPr txBox="1"/>
          <p:nvPr/>
        </p:nvSpPr>
        <p:spPr>
          <a:xfrm>
            <a:off x="4561490" y="1530219"/>
            <a:ext cx="7041931" cy="4787900"/>
          </a:xfrm>
          <a:prstGeom prst="rect">
            <a:avLst/>
          </a:prstGeom>
          <a:noFill/>
        </p:spPr>
        <p:txBody>
          <a:bodyPr wrap="square" lIns="0" tIns="0" rIns="0" bIns="0" rtlCol="0" anchor="ctr">
            <a:noAutofit/>
          </a:bodyPr>
          <a:lstStyle/>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a:p>
            <a:pPr marL="285750" indent="-285750">
              <a:spcBef>
                <a:spcPts val="600"/>
              </a:spcBef>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5" name="Rectangle 4">
            <a:extLst>
              <a:ext uri="{FF2B5EF4-FFF2-40B4-BE49-F238E27FC236}">
                <a16:creationId xmlns:a16="http://schemas.microsoft.com/office/drawing/2014/main" id="{DD357582-00E3-67F6-DBF4-C3B7EC488644}"/>
              </a:ext>
            </a:extLst>
          </p:cNvPr>
          <p:cNvSpPr/>
          <p:nvPr/>
        </p:nvSpPr>
        <p:spPr>
          <a:xfrm>
            <a:off x="0" y="1520825"/>
            <a:ext cx="4183447"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dirty="0"/>
              <a:t>Image</a:t>
            </a:r>
          </a:p>
        </p:txBody>
      </p:sp>
      <p:sp>
        <p:nvSpPr>
          <p:cNvPr id="7" name="Rectangle 104">
            <a:extLst>
              <a:ext uri="{FF2B5EF4-FFF2-40B4-BE49-F238E27FC236}">
                <a16:creationId xmlns:a16="http://schemas.microsoft.com/office/drawing/2014/main" id="{3812068E-16E2-F4DD-08EE-FE8CACA8B961}"/>
              </a:ext>
            </a:extLst>
          </p:cNvPr>
          <p:cNvSpPr/>
          <p:nvPr/>
        </p:nvSpPr>
        <p:spPr>
          <a:xfrm>
            <a:off x="0" y="3337738"/>
            <a:ext cx="97104" cy="11540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16400550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extLst>
              <p:ext uri="{D42A27DB-BD31-4B8C-83A1-F6EECF244321}">
                <p14:modId xmlns:p14="http://schemas.microsoft.com/office/powerpoint/2010/main" val="3356034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AB98466-5DC8-6B8C-0C82-C71AC176CCE2}"/>
              </a:ext>
            </a:extLst>
          </p:cNvPr>
          <p:cNvSpPr>
            <a:spLocks noGrp="1"/>
          </p:cNvSpPr>
          <p:nvPr>
            <p:ph type="body" sz="quarter" idx="14"/>
          </p:nvPr>
        </p:nvSpPr>
        <p:spPr/>
        <p:txBody>
          <a:bodyPr/>
          <a:lstStyle/>
          <a:p>
            <a:r>
              <a:rPr lang="en-US" dirty="0"/>
              <a:t>Subtitle</a:t>
            </a:r>
          </a:p>
        </p:txBody>
      </p:sp>
      <p:sp>
        <p:nvSpPr>
          <p:cNvPr id="4" name="Rectangle 89">
            <a:extLst>
              <a:ext uri="{FF2B5EF4-FFF2-40B4-BE49-F238E27FC236}">
                <a16:creationId xmlns:a16="http://schemas.microsoft.com/office/drawing/2014/main" id="{6A2C76AF-48DD-70B0-C9E4-B5D8A9BAE3E7}"/>
              </a:ext>
            </a:extLst>
          </p:cNvPr>
          <p:cNvSpPr/>
          <p:nvPr/>
        </p:nvSpPr>
        <p:spPr>
          <a:xfrm>
            <a:off x="371473" y="3255989"/>
            <a:ext cx="11449052" cy="305273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8">
            <a:extLst>
              <a:ext uri="{FF2B5EF4-FFF2-40B4-BE49-F238E27FC236}">
                <a16:creationId xmlns:a16="http://schemas.microsoft.com/office/drawing/2014/main" id="{23062713-04D1-67C8-388E-860B5F682D73}"/>
              </a:ext>
            </a:extLst>
          </p:cNvPr>
          <p:cNvSpPr/>
          <p:nvPr/>
        </p:nvSpPr>
        <p:spPr>
          <a:xfrm>
            <a:off x="371473"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1</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8230CEEE-EC39-CD44-8F35-F659EEFF8B11}"/>
              </a:ext>
            </a:extLst>
          </p:cNvPr>
          <p:cNvSpPr txBox="1"/>
          <p:nvPr/>
        </p:nvSpPr>
        <p:spPr>
          <a:xfrm>
            <a:off x="371473" y="268332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TextBox 25">
            <a:extLst>
              <a:ext uri="{FF2B5EF4-FFF2-40B4-BE49-F238E27FC236}">
                <a16:creationId xmlns:a16="http://schemas.microsoft.com/office/drawing/2014/main" id="{D2E717C7-7748-D661-A75B-5ACB8B5DFABD}"/>
              </a:ext>
            </a:extLst>
          </p:cNvPr>
          <p:cNvSpPr txBox="1"/>
          <p:nvPr/>
        </p:nvSpPr>
        <p:spPr>
          <a:xfrm>
            <a:off x="567395" y="3429001"/>
            <a:ext cx="11078505" cy="2413000"/>
          </a:xfrm>
          <a:prstGeom prst="rect">
            <a:avLst/>
          </a:prstGeom>
          <a:noFill/>
        </p:spPr>
        <p:txBody>
          <a:bodyPr wrap="square" lIns="0" tIns="0" rIns="0" bIns="0" numCol="2" rtlCol="0">
            <a:no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pPr marL="285750" indent="-285750">
              <a:buFont typeface="Arial" panose="020B0604020202020204" pitchFamily="34" charset="0"/>
              <a:buChar char="•"/>
            </a:pPr>
            <a:endPar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cxnSp>
        <p:nvCxnSpPr>
          <p:cNvPr id="13" name="Conector recto 12">
            <a:extLst>
              <a:ext uri="{FF2B5EF4-FFF2-40B4-BE49-F238E27FC236}">
                <a16:creationId xmlns:a16="http://schemas.microsoft.com/office/drawing/2014/main" id="{D2C77F58-CE6D-1DB6-A655-44A98549D8DA}"/>
              </a:ext>
            </a:extLst>
          </p:cNvPr>
          <p:cNvCxnSpPr>
            <a:cxnSpLocks/>
          </p:cNvCxnSpPr>
          <p:nvPr/>
        </p:nvCxnSpPr>
        <p:spPr>
          <a:xfrm>
            <a:off x="361640" y="3123542"/>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8">
            <a:extLst>
              <a:ext uri="{FF2B5EF4-FFF2-40B4-BE49-F238E27FC236}">
                <a16:creationId xmlns:a16="http://schemas.microsoft.com/office/drawing/2014/main" id="{2DBB2947-C0CB-284D-52B7-DC23EA342328}"/>
              </a:ext>
            </a:extLst>
          </p:cNvPr>
          <p:cNvSpPr/>
          <p:nvPr/>
        </p:nvSpPr>
        <p:spPr>
          <a:xfrm>
            <a:off x="3333749"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2</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6296025"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3</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18BDBE29-E4DD-C465-0276-0DD7BF2D078C}"/>
              </a:ext>
            </a:extLst>
          </p:cNvPr>
          <p:cNvSpPr/>
          <p:nvPr/>
        </p:nvSpPr>
        <p:spPr>
          <a:xfrm>
            <a:off x="9258302" y="1722510"/>
            <a:ext cx="2562227" cy="819948"/>
          </a:xfrm>
          <a:prstGeom prst="rect">
            <a:avLst/>
          </a:prstGeom>
          <a:gradFill>
            <a:gsLst>
              <a:gs pos="0">
                <a:schemeClr val="tx2"/>
              </a:gs>
              <a:gs pos="99000">
                <a:schemeClr val="accent1"/>
              </a:gs>
            </a:gsLst>
            <a:lin ang="2700000" scaled="0"/>
          </a:gradFill>
          <a:effectLst/>
        </p:spPr>
        <p:txBody>
          <a:bodyPr lIns="216000" rIns="89988" bIns="180000" anchor="ctr"/>
          <a:lstStyle/>
          <a:p>
            <a:pPr algn="ctr" defTabSz="228554"/>
            <a:r>
              <a:rPr lang="en-GB" sz="16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HIGHLIGHT 4</a:t>
            </a:r>
          </a:p>
          <a:p>
            <a:pPr algn="ctr" defTabSz="228554"/>
            <a:r>
              <a:rPr lang="en-GB" sz="16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xxxx</a:t>
            </a:r>
            <a:endParaRPr lang="en-GB" sz="16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ooter Placeholder 5">
            <a:extLst>
              <a:ext uri="{FF2B5EF4-FFF2-40B4-BE49-F238E27FC236}">
                <a16:creationId xmlns:a16="http://schemas.microsoft.com/office/drawing/2014/main" id="{6935FDC4-B879-D277-AA0E-926B375D5222}"/>
              </a:ext>
            </a:extLst>
          </p:cNvPr>
          <p:cNvSpPr>
            <a:spLocks noGrp="1"/>
          </p:cNvSpPr>
          <p:nvPr>
            <p:ph type="ftr" sz="quarter" idx="3"/>
          </p:nvPr>
        </p:nvSpPr>
        <p:spPr/>
        <p:txBody>
          <a:bodyPr/>
          <a:lstStyle/>
          <a:p>
            <a:r>
              <a:rPr lang="en-US"/>
              <a:t>Source:_______</a:t>
            </a:r>
            <a:endParaRPr lang="en-US" dirty="0"/>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dirty="0"/>
              <a:t>Template - Executive Summary 2</a:t>
            </a:r>
            <a:endParaRPr lang="en-GB" dirty="0"/>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947449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extLst>
              <p:ext uri="{D42A27DB-BD31-4B8C-83A1-F6EECF244321}">
                <p14:modId xmlns:p14="http://schemas.microsoft.com/office/powerpoint/2010/main" val="15232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032777-274E-2693-F121-4C01131F21D2}"/>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en-US" dirty="0"/>
              <a:t>Template - </a:t>
            </a:r>
            <a:r>
              <a:rPr lang="en-GB" dirty="0"/>
              <a:t>Table of words</a:t>
            </a:r>
          </a:p>
        </p:txBody>
      </p:sp>
      <p:sp>
        <p:nvSpPr>
          <p:cNvPr id="4" name="Marcador de pie de página 3">
            <a:extLst>
              <a:ext uri="{FF2B5EF4-FFF2-40B4-BE49-F238E27FC236}">
                <a16:creationId xmlns:a16="http://schemas.microsoft.com/office/drawing/2014/main" id="{5CBC5191-3EC0-85E3-4D72-733A634C31F8}"/>
              </a:ext>
            </a:extLst>
          </p:cNvPr>
          <p:cNvSpPr>
            <a:spLocks noGrp="1"/>
          </p:cNvSpPr>
          <p:nvPr>
            <p:ph type="ftr" sz="quarter" idx="3"/>
          </p:nvPr>
        </p:nvSpPr>
        <p:spPr/>
        <p:txBody>
          <a:bodyPr/>
          <a:lstStyle/>
          <a:p>
            <a:r>
              <a:rPr lang="en-US"/>
              <a:t>Source:_______</a:t>
            </a:r>
            <a:endParaRPr lang="en-US" dirty="0"/>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642129190"/>
              </p:ext>
            </p:extLst>
          </p:nvPr>
        </p:nvGraphicFramePr>
        <p:xfrm>
          <a:off x="384174" y="1520825"/>
          <a:ext cx="11418888" cy="2849455"/>
        </p:xfrm>
        <a:graphic>
          <a:graphicData uri="http://schemas.openxmlformats.org/drawingml/2006/table">
            <a:tbl>
              <a:tblPr firstRow="1" bandRow="1">
                <a:tableStyleId>{5C22544A-7EE6-4342-B048-85BDC9FD1C3A}</a:tableStyleId>
              </a:tblPr>
              <a:tblGrid>
                <a:gridCol w="1903148">
                  <a:extLst>
                    <a:ext uri="{9D8B030D-6E8A-4147-A177-3AD203B41FA5}">
                      <a16:colId xmlns:a16="http://schemas.microsoft.com/office/drawing/2014/main" val="1265793115"/>
                    </a:ext>
                  </a:extLst>
                </a:gridCol>
                <a:gridCol w="1903148">
                  <a:extLst>
                    <a:ext uri="{9D8B030D-6E8A-4147-A177-3AD203B41FA5}">
                      <a16:colId xmlns:a16="http://schemas.microsoft.com/office/drawing/2014/main" val="1717126807"/>
                    </a:ext>
                  </a:extLst>
                </a:gridCol>
                <a:gridCol w="1903148">
                  <a:extLst>
                    <a:ext uri="{9D8B030D-6E8A-4147-A177-3AD203B41FA5}">
                      <a16:colId xmlns:a16="http://schemas.microsoft.com/office/drawing/2014/main" val="3292836116"/>
                    </a:ext>
                  </a:extLst>
                </a:gridCol>
                <a:gridCol w="1903148">
                  <a:extLst>
                    <a:ext uri="{9D8B030D-6E8A-4147-A177-3AD203B41FA5}">
                      <a16:colId xmlns:a16="http://schemas.microsoft.com/office/drawing/2014/main" val="4130511795"/>
                    </a:ext>
                  </a:extLst>
                </a:gridCol>
                <a:gridCol w="1903148">
                  <a:extLst>
                    <a:ext uri="{9D8B030D-6E8A-4147-A177-3AD203B41FA5}">
                      <a16:colId xmlns:a16="http://schemas.microsoft.com/office/drawing/2014/main" val="3328929683"/>
                    </a:ext>
                  </a:extLst>
                </a:gridCol>
                <a:gridCol w="1903148">
                  <a:extLst>
                    <a:ext uri="{9D8B030D-6E8A-4147-A177-3AD203B41FA5}">
                      <a16:colId xmlns:a16="http://schemas.microsoft.com/office/drawing/2014/main" val="3282894858"/>
                    </a:ext>
                  </a:extLst>
                </a:gridCol>
              </a:tblGrid>
              <a:tr h="643255">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65004"/>
                  </a:ext>
                </a:extLst>
              </a:tr>
              <a:tr h="551550">
                <a:tc>
                  <a:txBody>
                    <a:bodyPr/>
                    <a:lstStyle/>
                    <a:p>
                      <a:endParaRPr lang="en-GB" sz="1200" dirty="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dirty="0">
                          <a:solidFill>
                            <a:schemeClr val="tx1"/>
                          </a:solidFill>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Verdana"/>
                          <a:ea typeface="+mn-ea"/>
                          <a:cs typeface="+mn-cs"/>
                        </a:rPr>
                        <a:t>Text</a:t>
                      </a:r>
                      <a:endParaRPr kumimoji="0" lang="en-GB" sz="1400" b="1"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Verdana"/>
                          <a:ea typeface="+mn-ea"/>
                          <a:cs typeface="+mn-cs"/>
                        </a:rPr>
                        <a:t>Text</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Text</a:t>
                      </a: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9" name="Freeform 984">
            <a:extLst>
              <a:ext uri="{FF2B5EF4-FFF2-40B4-BE49-F238E27FC236}">
                <a16:creationId xmlns:a16="http://schemas.microsoft.com/office/drawing/2014/main" id="{0DF769F3-E475-97F7-2519-73561B1398F9}"/>
              </a:ext>
            </a:extLst>
          </p:cNvPr>
          <p:cNvSpPr>
            <a:spLocks noChangeAspect="1" noChangeArrowheads="1"/>
          </p:cNvSpPr>
          <p:nvPr/>
        </p:nvSpPr>
        <p:spPr bwMode="auto">
          <a:xfrm>
            <a:off x="2396896" y="1573600"/>
            <a:ext cx="374892" cy="49256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tx2"/>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4317020" y="1573601"/>
            <a:ext cx="492558" cy="49255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F16EF58C-E0E4-2323-E06D-7837E693E4C9}"/>
              </a:ext>
            </a:extLst>
          </p:cNvPr>
          <p:cNvSpPr>
            <a:spLocks noChangeAspect="1" noChangeArrowheads="1"/>
          </p:cNvSpPr>
          <p:nvPr/>
        </p:nvSpPr>
        <p:spPr bwMode="auto">
          <a:xfrm>
            <a:off x="6229298" y="1573601"/>
            <a:ext cx="492558" cy="49255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2"/>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CC519C13-D24A-5DE3-FAEF-74D495793FF5}"/>
              </a:ext>
            </a:extLst>
          </p:cNvPr>
          <p:cNvSpPr>
            <a:spLocks noChangeAspect="1" noChangeArrowheads="1"/>
          </p:cNvSpPr>
          <p:nvPr/>
        </p:nvSpPr>
        <p:spPr bwMode="auto">
          <a:xfrm>
            <a:off x="8124032" y="1573601"/>
            <a:ext cx="492558" cy="49255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30A6790-CB0A-D095-82DD-2ACB261F0974}"/>
              </a:ext>
            </a:extLst>
          </p:cNvPr>
          <p:cNvSpPr>
            <a:spLocks noChangeAspect="1" noChangeArrowheads="1"/>
          </p:cNvSpPr>
          <p:nvPr/>
        </p:nvSpPr>
        <p:spPr bwMode="auto">
          <a:xfrm>
            <a:off x="10033202" y="1573601"/>
            <a:ext cx="492558" cy="49255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200" dirty="0"/>
          </a:p>
        </p:txBody>
      </p:sp>
    </p:spTree>
    <p:extLst>
      <p:ext uri="{BB962C8B-B14F-4D97-AF65-F5344CB8AC3E}">
        <p14:creationId xmlns:p14="http://schemas.microsoft.com/office/powerpoint/2010/main" val="3465359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98241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431960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31204121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1</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4"/>
            <a:ext cx="8162925" cy="2664556"/>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ssumed Inputs for localization and navigation </a:t>
            </a:r>
          </a:p>
          <a:p>
            <a:endPar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138534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extLst>
              <p:ext uri="{D42A27DB-BD31-4B8C-83A1-F6EECF244321}">
                <p14:modId xmlns:p14="http://schemas.microsoft.com/office/powerpoint/2010/main" val="896098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33150DD7-833E-5492-C340-207A5F35DAFA}"/>
              </a:ext>
            </a:extLst>
          </p:cNvPr>
          <p:cNvSpPr>
            <a:spLocks noGrp="1"/>
          </p:cNvSpPr>
          <p:nvPr>
            <p:ph type="pic" sz="quarter" idx="13"/>
          </p:nvPr>
        </p:nvSpPr>
        <p:spPr/>
      </p:sp>
      <p:sp>
        <p:nvSpPr>
          <p:cNvPr id="8" name="Text Placeholder 7">
            <a:extLst>
              <a:ext uri="{FF2B5EF4-FFF2-40B4-BE49-F238E27FC236}">
                <a16:creationId xmlns:a16="http://schemas.microsoft.com/office/drawing/2014/main" id="{5D29D2FF-2485-59A3-F1AD-21DA341FE40A}"/>
              </a:ext>
            </a:extLst>
          </p:cNvPr>
          <p:cNvSpPr>
            <a:spLocks noGrp="1"/>
          </p:cNvSpPr>
          <p:nvPr>
            <p:ph type="body" sz="quarter" idx="14"/>
          </p:nvPr>
        </p:nvSpPr>
        <p:spPr/>
        <p:txBody>
          <a:bodyPr/>
          <a:lstStyle/>
          <a:p>
            <a:r>
              <a:rPr lang="en-US" dirty="0"/>
              <a:t>Subtitle</a:t>
            </a:r>
          </a:p>
        </p:txBody>
      </p:sp>
      <p:sp>
        <p:nvSpPr>
          <p:cNvPr id="41" name="TextBox 47">
            <a:extLst>
              <a:ext uri="{FF2B5EF4-FFF2-40B4-BE49-F238E27FC236}">
                <a16:creationId xmlns:a16="http://schemas.microsoft.com/office/drawing/2014/main" id="{0FBB6F4D-55B7-3717-B972-FB57E2F0FD84}"/>
              </a:ext>
            </a:extLst>
          </p:cNvPr>
          <p:cNvSpPr txBox="1"/>
          <p:nvPr/>
        </p:nvSpPr>
        <p:spPr>
          <a:xfrm>
            <a:off x="384174" y="3388927"/>
            <a:ext cx="5783264" cy="830997"/>
          </a:xfrm>
          <a:prstGeom prst="rect">
            <a:avLst/>
          </a:prstGeom>
          <a:noFill/>
        </p:spPr>
        <p:txBody>
          <a:bodyPr wrap="square" rtlCol="0" anchor="ctr">
            <a:spAutoFit/>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hort description here in 1 or two lines</a:t>
            </a:r>
          </a:p>
        </p:txBody>
      </p:sp>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ID" sz="7200" b="1"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5" y="2402743"/>
            <a:ext cx="5783264" cy="830997"/>
          </a:xfrm>
          <a:prstGeom prst="rect">
            <a:avLst/>
          </a:prstGeom>
          <a:noFill/>
        </p:spPr>
        <p:txBody>
          <a:bodyPr wrap="square" rtlCol="0" anchor="ctr">
            <a:spAutoFit/>
          </a:bodyPr>
          <a:lstStyle/>
          <a:p>
            <a:r>
              <a:rPr lang="en-US" sz="48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itle in 1 line</a:t>
            </a:r>
          </a:p>
        </p:txBody>
      </p:sp>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r>
              <a:rPr lang="en-US" dirty="0"/>
              <a:t>Template – Section Divider</a:t>
            </a:r>
          </a:p>
        </p:txBody>
      </p:sp>
    </p:spTree>
    <p:extLst>
      <p:ext uri="{BB962C8B-B14F-4D97-AF65-F5344CB8AC3E}">
        <p14:creationId xmlns:p14="http://schemas.microsoft.com/office/powerpoint/2010/main" val="1811224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A16D33-1190-5DB5-08F3-0399679EEA40}"/>
              </a:ext>
            </a:extLst>
          </p:cNvPr>
          <p:cNvGraphicFramePr>
            <a:graphicFrameLocks noChangeAspect="1"/>
          </p:cNvGraphicFramePr>
          <p:nvPr>
            <p:custDataLst>
              <p:tags r:id="rId1"/>
            </p:custDataLst>
            <p:extLst>
              <p:ext uri="{D42A27DB-BD31-4B8C-83A1-F6EECF244321}">
                <p14:modId xmlns:p14="http://schemas.microsoft.com/office/powerpoint/2010/main" val="2741217817"/>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2" name="Object 1" hidden="1">
                        <a:extLst>
                          <a:ext uri="{FF2B5EF4-FFF2-40B4-BE49-F238E27FC236}">
                            <a16:creationId xmlns:a16="http://schemas.microsoft.com/office/drawing/2014/main" id="{4BA16D33-1190-5DB5-08F3-0399679EEA4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id="{14CA70C0-8031-E172-E1AD-BF0EF34F3CDB}"/>
              </a:ext>
            </a:extLst>
          </p:cNvPr>
          <p:cNvSpPr>
            <a:spLocks noGrp="1"/>
          </p:cNvSpPr>
          <p:nvPr>
            <p:ph type="body" sz="quarter" idx="14"/>
          </p:nvPr>
        </p:nvSpPr>
        <p:spPr/>
        <p:txBody>
          <a:bodyPr/>
          <a:lstStyle/>
          <a:p>
            <a:r>
              <a:rPr lang="en-US" dirty="0"/>
              <a:t>Subtitle</a:t>
            </a:r>
          </a:p>
        </p:txBody>
      </p:sp>
      <p:sp>
        <p:nvSpPr>
          <p:cNvPr id="90" name="Rectangle 89">
            <a:extLst>
              <a:ext uri="{FF2B5EF4-FFF2-40B4-BE49-F238E27FC236}">
                <a16:creationId xmlns:a16="http://schemas.microsoft.com/office/drawing/2014/main" id="{F52700A8-660A-F586-10BD-6E98A70E5067}"/>
              </a:ext>
            </a:extLst>
          </p:cNvPr>
          <p:cNvSpPr/>
          <p:nvPr/>
        </p:nvSpPr>
        <p:spPr>
          <a:xfrm>
            <a:off x="371474" y="2596823"/>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2" name="Rectangle 91">
            <a:extLst>
              <a:ext uri="{FF2B5EF4-FFF2-40B4-BE49-F238E27FC236}">
                <a16:creationId xmlns:a16="http://schemas.microsoft.com/office/drawing/2014/main" id="{6075FF24-D446-25CC-309C-03DE941F5AB2}"/>
              </a:ext>
            </a:extLst>
          </p:cNvPr>
          <p:cNvSpPr/>
          <p:nvPr/>
        </p:nvSpPr>
        <p:spPr>
          <a:xfrm>
            <a:off x="269322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3" name="Rectangle 102">
            <a:extLst>
              <a:ext uri="{FF2B5EF4-FFF2-40B4-BE49-F238E27FC236}">
                <a16:creationId xmlns:a16="http://schemas.microsoft.com/office/drawing/2014/main" id="{CBFABEEF-52CE-9798-B1AD-5C51EBB42DB1}"/>
              </a:ext>
            </a:extLst>
          </p:cNvPr>
          <p:cNvSpPr/>
          <p:nvPr/>
        </p:nvSpPr>
        <p:spPr>
          <a:xfrm>
            <a:off x="5014973"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4" name="Rectangle 113">
            <a:extLst>
              <a:ext uri="{FF2B5EF4-FFF2-40B4-BE49-F238E27FC236}">
                <a16:creationId xmlns:a16="http://schemas.microsoft.com/office/drawing/2014/main" id="{96C06375-344D-2E69-541E-D0DAFD2A5F84}"/>
              </a:ext>
            </a:extLst>
          </p:cNvPr>
          <p:cNvSpPr/>
          <p:nvPr/>
        </p:nvSpPr>
        <p:spPr>
          <a:xfrm>
            <a:off x="7336721"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5" name="Rectangle 124">
            <a:extLst>
              <a:ext uri="{FF2B5EF4-FFF2-40B4-BE49-F238E27FC236}">
                <a16:creationId xmlns:a16="http://schemas.microsoft.com/office/drawing/2014/main" id="{BD6B27D7-72D6-CD3E-6259-A7935906CBC2}"/>
              </a:ext>
            </a:extLst>
          </p:cNvPr>
          <p:cNvSpPr/>
          <p:nvPr/>
        </p:nvSpPr>
        <p:spPr>
          <a:xfrm>
            <a:off x="9658470" y="2596822"/>
            <a:ext cx="1788935" cy="212290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ctr"/>
          <a:lstStyle/>
          <a:p>
            <a:pPr algn="ctr" defTabSz="914263"/>
            <a:endParaRPr lang="en-GB"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7" name="Text Placeholder 6">
            <a:extLst>
              <a:ext uri="{FF2B5EF4-FFF2-40B4-BE49-F238E27FC236}">
                <a16:creationId xmlns:a16="http://schemas.microsoft.com/office/drawing/2014/main" id="{12823E32-CBEB-1C1C-89CA-0F3D604B35AD}"/>
              </a:ext>
            </a:extLst>
          </p:cNvPr>
          <p:cNvSpPr txBox="1">
            <a:spLocks/>
          </p:cNvSpPr>
          <p:nvPr/>
        </p:nvSpPr>
        <p:spPr>
          <a:xfrm>
            <a:off x="2808806"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8" name="Text Placeholder 6">
            <a:extLst>
              <a:ext uri="{FF2B5EF4-FFF2-40B4-BE49-F238E27FC236}">
                <a16:creationId xmlns:a16="http://schemas.microsoft.com/office/drawing/2014/main" id="{F617DB71-7C52-88BD-DFFA-D6BC5B3A06D1}"/>
              </a:ext>
            </a:extLst>
          </p:cNvPr>
          <p:cNvSpPr txBox="1">
            <a:spLocks/>
          </p:cNvSpPr>
          <p:nvPr/>
        </p:nvSpPr>
        <p:spPr>
          <a:xfrm>
            <a:off x="5130555"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9" name="Text Placeholder 6">
            <a:extLst>
              <a:ext uri="{FF2B5EF4-FFF2-40B4-BE49-F238E27FC236}">
                <a16:creationId xmlns:a16="http://schemas.microsoft.com/office/drawing/2014/main" id="{FDF02FC3-427A-798E-CDCD-1980D9E1E0CD}"/>
              </a:ext>
            </a:extLst>
          </p:cNvPr>
          <p:cNvSpPr txBox="1">
            <a:spLocks/>
          </p:cNvSpPr>
          <p:nvPr/>
        </p:nvSpPr>
        <p:spPr>
          <a:xfrm>
            <a:off x="745230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71" name="Text Placeholder 6">
            <a:extLst>
              <a:ext uri="{FF2B5EF4-FFF2-40B4-BE49-F238E27FC236}">
                <a16:creationId xmlns:a16="http://schemas.microsoft.com/office/drawing/2014/main" id="{864D93BA-916F-7CFC-0808-7D466BD60414}"/>
              </a:ext>
            </a:extLst>
          </p:cNvPr>
          <p:cNvSpPr txBox="1">
            <a:spLocks/>
          </p:cNvSpPr>
          <p:nvPr/>
        </p:nvSpPr>
        <p:spPr>
          <a:xfrm>
            <a:off x="9774054" y="2757291"/>
            <a:ext cx="1908082" cy="2196107"/>
          </a:xfrm>
          <a:prstGeom prst="rect">
            <a:avLst/>
          </a:prstGeom>
          <a:solidFill>
            <a:schemeClr val="bg1">
              <a:lumMod val="95000"/>
            </a:schemeClr>
          </a:solidFill>
          <a:effectLst/>
        </p:spPr>
        <p:txBody>
          <a:bodyPr lIns="216000" rIns="89988" bIns="180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66" name="Text Placeholder 6">
            <a:extLst>
              <a:ext uri="{FF2B5EF4-FFF2-40B4-BE49-F238E27FC236}">
                <a16:creationId xmlns:a16="http://schemas.microsoft.com/office/drawing/2014/main" id="{2DAE4432-678E-8484-326C-B7DF8A4E2E81}"/>
              </a:ext>
            </a:extLst>
          </p:cNvPr>
          <p:cNvSpPr txBox="1">
            <a:spLocks/>
          </p:cNvSpPr>
          <p:nvPr/>
        </p:nvSpPr>
        <p:spPr>
          <a:xfrm>
            <a:off x="487057" y="2757291"/>
            <a:ext cx="1908082" cy="2196107"/>
          </a:xfrm>
          <a:prstGeom prst="rect">
            <a:avLst/>
          </a:prstGeom>
          <a:solidFill>
            <a:schemeClr val="bg1">
              <a:lumMod val="95000"/>
            </a:schemeClr>
          </a:solidFill>
          <a:effectLst/>
        </p:spPr>
        <p:txBody>
          <a:bodyPr lIns="216000" rIns="89988" bIns="180000" anchor="ctr"/>
          <a:lstStyle>
            <a:lvl1pPr marL="0" indent="0" algn="l" defTabSz="457200" rtl="0" eaLnBrk="1" latinLnBrk="0" hangingPunct="1">
              <a:lnSpc>
                <a:spcPct val="100000"/>
              </a:lnSpc>
              <a:spcBef>
                <a:spcPts val="0"/>
              </a:spcBef>
              <a:spcAft>
                <a:spcPts val="2400"/>
              </a:spcAft>
              <a:buFont typeface="Arial" panose="020B0604020202020204" pitchFamily="34" charset="0"/>
              <a:buNone/>
              <a:defRPr sz="4000" b="0" kern="1200">
                <a:solidFill>
                  <a:schemeClr val="tx1"/>
                </a:solidFill>
                <a:latin typeface="Graphik Light" panose="020B0403030202060203" pitchFamily="34" charset="0"/>
                <a:ea typeface="+mn-ea"/>
                <a:cs typeface="+mn-cs"/>
              </a:defRPr>
            </a:lvl1pPr>
            <a:lvl2pPr marL="457200" indent="-457200" algn="l" defTabSz="457200" rtl="0" eaLnBrk="1" latinLnBrk="0" hangingPunct="1">
              <a:lnSpc>
                <a:spcPct val="100000"/>
              </a:lnSpc>
              <a:spcBef>
                <a:spcPts val="0"/>
              </a:spcBef>
              <a:spcAft>
                <a:spcPts val="2400"/>
              </a:spcAft>
              <a:buClrTx/>
              <a:buFont typeface="Arial" panose="020B0604020202020204" pitchFamily="34" charset="0"/>
              <a:buChar char="•"/>
              <a:defRPr sz="4000" kern="1200">
                <a:solidFill>
                  <a:schemeClr val="tx1"/>
                </a:solidFill>
                <a:latin typeface="Graphik Light" panose="020B0403030202060203" pitchFamily="34" charset="0"/>
                <a:ea typeface="+mn-ea"/>
                <a:cs typeface="+mn-cs"/>
              </a:defRPr>
            </a:lvl2pPr>
            <a:lvl3pPr marL="914400" indent="-457200" algn="l" defTabSz="457200" rtl="0" eaLnBrk="1" latinLnBrk="0" hangingPunct="1">
              <a:lnSpc>
                <a:spcPct val="100000"/>
              </a:lnSpc>
              <a:spcBef>
                <a:spcPts val="0"/>
              </a:spcBef>
              <a:spcAft>
                <a:spcPts val="2400"/>
              </a:spcAft>
              <a:buFont typeface="Verdana"/>
              <a:buChar char="–"/>
              <a:defRPr sz="4000" kern="1200">
                <a:solidFill>
                  <a:schemeClr val="tx1"/>
                </a:solidFill>
                <a:latin typeface="Graphik Light" panose="020B0403030202060203" pitchFamily="34" charset="0"/>
                <a:ea typeface="+mn-ea"/>
                <a:cs typeface="+mn-cs"/>
              </a:defRPr>
            </a:lvl3pPr>
            <a:lvl4pPr marL="1371600" indent="-457200" algn="l" defTabSz="457200" rtl="0" eaLnBrk="1" latinLnBrk="0" hangingPunct="1">
              <a:lnSpc>
                <a:spcPct val="100000"/>
              </a:lnSpc>
              <a:spcBef>
                <a:spcPts val="0"/>
              </a:spcBef>
              <a:spcAft>
                <a:spcPts val="2400"/>
              </a:spcAft>
              <a:buFont typeface="Arial" panose="020B0604020202020204" pitchFamily="34" charset="0"/>
              <a:buChar char="•"/>
              <a:defRPr sz="3600" kern="1200">
                <a:solidFill>
                  <a:schemeClr val="tx1"/>
                </a:solidFill>
                <a:latin typeface="Graphik Light" panose="020B0403030202060203" pitchFamily="34" charset="0"/>
                <a:ea typeface="+mn-ea"/>
                <a:cs typeface="+mn-cs"/>
              </a:defRPr>
            </a:lvl4pPr>
            <a:lvl5pPr marL="1828800" indent="-457200" algn="l" defTabSz="457200" rtl="0" eaLnBrk="1" latinLnBrk="0" hangingPunct="1">
              <a:lnSpc>
                <a:spcPct val="100000"/>
              </a:lnSpc>
              <a:spcBef>
                <a:spcPts val="0"/>
              </a:spcBef>
              <a:spcAft>
                <a:spcPts val="2400"/>
              </a:spcAft>
              <a:buFont typeface="Verdana"/>
              <a:buChar char="–"/>
              <a:defRPr sz="3600" kern="1200">
                <a:solidFill>
                  <a:schemeClr val="tx1"/>
                </a:solidFill>
                <a:latin typeface="Graphik Light" panose="020B0403030202060203" pitchFamily="34" charset="0"/>
                <a:ea typeface="+mn-ea"/>
                <a:cs typeface="+mn-cs"/>
              </a:defRPr>
            </a:lvl5pPr>
            <a:lvl6pPr marL="22226" indent="0" algn="l" defTabSz="457200" rtl="0" eaLnBrk="1" latinLnBrk="0" hangingPunct="1">
              <a:lnSpc>
                <a:spcPct val="90000"/>
              </a:lnSpc>
              <a:spcBef>
                <a:spcPts val="0"/>
              </a:spcBef>
              <a:spcAft>
                <a:spcPts val="2400"/>
              </a:spcAft>
              <a:buFont typeface="Graphik" panose="020B0503030202060203" pitchFamily="34" charset="0"/>
              <a:buNone/>
              <a:tabLst/>
              <a:defRPr sz="3200" kern="1200">
                <a:solidFill>
                  <a:schemeClr val="tx1"/>
                </a:solidFill>
                <a:latin typeface="Graphik Light" panose="020B0403030202060203" pitchFamily="34" charset="0"/>
                <a:ea typeface="+mn-ea"/>
                <a:cs typeface="+mn-cs"/>
              </a:defRPr>
            </a:lvl6pPr>
            <a:lvl7pPr marL="0" indent="0" algn="l" defTabSz="457200" rtl="0" eaLnBrk="1" latinLnBrk="0" hangingPunct="1">
              <a:lnSpc>
                <a:spcPct val="90000"/>
              </a:lnSpc>
              <a:spcBef>
                <a:spcPts val="0"/>
              </a:spcBef>
              <a:spcAft>
                <a:spcPts val="2400"/>
              </a:spcAft>
              <a:buFont typeface="Arial" panose="020B0604020202020204" pitchFamily="34" charset="0"/>
              <a:buNone/>
              <a:defRPr sz="2400" kern="1200">
                <a:solidFill>
                  <a:schemeClr val="tx1"/>
                </a:solidFill>
                <a:latin typeface="Graphik Light" panose="020B0403030202060203" pitchFamily="34" charset="0"/>
                <a:ea typeface="+mn-ea"/>
                <a:cs typeface="+mn-cs"/>
              </a:defRPr>
            </a:lvl7pPr>
            <a:lvl8pPr marL="0" indent="0" algn="l" defTabSz="457200" rtl="0" eaLnBrk="1" latinLnBrk="0" hangingPunct="1">
              <a:lnSpc>
                <a:spcPct val="90000"/>
              </a:lnSpc>
              <a:spcBef>
                <a:spcPts val="0"/>
              </a:spcBef>
              <a:spcAft>
                <a:spcPts val="2400"/>
              </a:spcAft>
              <a:buFont typeface="Arial" panose="020B0604020202020204" pitchFamily="34" charset="0"/>
              <a:buNone/>
              <a:defRPr sz="2000" b="1" kern="1200">
                <a:solidFill>
                  <a:schemeClr val="tx1"/>
                </a:solidFill>
                <a:latin typeface="Graphik Light" panose="020B0403030202060203" pitchFamily="34" charset="0"/>
                <a:ea typeface="+mn-ea"/>
                <a:cs typeface="+mn-cs"/>
              </a:defRPr>
            </a:lvl8pPr>
            <a:lvl9pPr marL="0" indent="0" algn="l" defTabSz="457200" rtl="0" eaLnBrk="1" latinLnBrk="0" hangingPunct="1">
              <a:lnSpc>
                <a:spcPct val="90000"/>
              </a:lnSpc>
              <a:spcBef>
                <a:spcPts val="0"/>
              </a:spcBef>
              <a:spcAft>
                <a:spcPts val="2400"/>
              </a:spcAft>
              <a:buFont typeface="Arial" panose="020B0604020202020204" pitchFamily="34" charset="0"/>
              <a:buNone/>
              <a:defRPr sz="1600" kern="1200">
                <a:solidFill>
                  <a:schemeClr val="tx2"/>
                </a:solidFill>
                <a:latin typeface="Graphik Light" panose="020B0403030202060203" pitchFamily="34" charset="0"/>
                <a:ea typeface="+mn-ea"/>
                <a:cs typeface="+mn-cs"/>
              </a:defRPr>
            </a:lvl9pPr>
          </a:lstStyle>
          <a:p>
            <a:pPr defTabSz="228554">
              <a:spcAft>
                <a:spcPts val="0"/>
              </a:spcAf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
            <a:extLst>
              <a:ext uri="{FF2B5EF4-FFF2-40B4-BE49-F238E27FC236}">
                <a16:creationId xmlns:a16="http://schemas.microsoft.com/office/drawing/2014/main" id="{904E5F80-75D4-AE57-B41C-80E5453C4D17}"/>
              </a:ext>
            </a:extLst>
          </p:cNvPr>
          <p:cNvSpPr/>
          <p:nvPr/>
        </p:nvSpPr>
        <p:spPr>
          <a:xfrm>
            <a:off x="1608958" y="2415078"/>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35" name="Group 34">
            <a:extLst>
              <a:ext uri="{FF2B5EF4-FFF2-40B4-BE49-F238E27FC236}">
                <a16:creationId xmlns:a16="http://schemas.microsoft.com/office/drawing/2014/main" id="{1D3D2154-677E-D0BF-D2BC-E73D844F14C4}"/>
              </a:ext>
            </a:extLst>
          </p:cNvPr>
          <p:cNvGrpSpPr>
            <a:grpSpLocks noChangeAspect="1"/>
          </p:cNvGrpSpPr>
          <p:nvPr/>
        </p:nvGrpSpPr>
        <p:grpSpPr>
          <a:xfrm>
            <a:off x="1837719" y="2643840"/>
            <a:ext cx="457522" cy="457522"/>
            <a:chOff x="1146176" y="2373313"/>
            <a:chExt cx="692150" cy="692150"/>
          </a:xfrm>
          <a:solidFill>
            <a:schemeClr val="bg1"/>
          </a:solidFill>
        </p:grpSpPr>
        <p:sp>
          <p:nvSpPr>
            <p:cNvPr id="36" name="Freeform 5">
              <a:extLst>
                <a:ext uri="{FF2B5EF4-FFF2-40B4-BE49-F238E27FC236}">
                  <a16:creationId xmlns:a16="http://schemas.microsoft.com/office/drawing/2014/main" id="{8298DACD-6161-81C9-A591-29B43FFF7593}"/>
                </a:ext>
              </a:extLst>
            </p:cNvPr>
            <p:cNvSpPr>
              <a:spLocks noEditPoints="1"/>
            </p:cNvSpPr>
            <p:nvPr/>
          </p:nvSpPr>
          <p:spPr bwMode="auto">
            <a:xfrm>
              <a:off x="1519238" y="2747963"/>
              <a:ext cx="319088" cy="317500"/>
            </a:xfrm>
            <a:custGeom>
              <a:avLst/>
              <a:gdLst>
                <a:gd name="T0" fmla="*/ 114 w 133"/>
                <a:gd name="T1" fmla="*/ 132 h 132"/>
                <a:gd name="T2" fmla="*/ 111 w 133"/>
                <a:gd name="T3" fmla="*/ 131 h 132"/>
                <a:gd name="T4" fmla="*/ 66 w 133"/>
                <a:gd name="T5" fmla="*/ 103 h 132"/>
                <a:gd name="T6" fmla="*/ 22 w 133"/>
                <a:gd name="T7" fmla="*/ 131 h 132"/>
                <a:gd name="T8" fmla="*/ 14 w 133"/>
                <a:gd name="T9" fmla="*/ 130 h 132"/>
                <a:gd name="T10" fmla="*/ 13 w 133"/>
                <a:gd name="T11" fmla="*/ 123 h 132"/>
                <a:gd name="T12" fmla="*/ 35 w 133"/>
                <a:gd name="T13" fmla="*/ 79 h 132"/>
                <a:gd name="T14" fmla="*/ 2 w 133"/>
                <a:gd name="T15" fmla="*/ 46 h 132"/>
                <a:gd name="T16" fmla="*/ 1 w 133"/>
                <a:gd name="T17" fmla="*/ 40 h 132"/>
                <a:gd name="T18" fmla="*/ 6 w 133"/>
                <a:gd name="T19" fmla="*/ 36 h 132"/>
                <a:gd name="T20" fmla="*/ 45 w 133"/>
                <a:gd name="T21" fmla="*/ 36 h 132"/>
                <a:gd name="T22" fmla="*/ 61 w 133"/>
                <a:gd name="T23" fmla="*/ 3 h 132"/>
                <a:gd name="T24" fmla="*/ 66 w 133"/>
                <a:gd name="T25" fmla="*/ 0 h 132"/>
                <a:gd name="T26" fmla="*/ 66 w 133"/>
                <a:gd name="T27" fmla="*/ 0 h 132"/>
                <a:gd name="T28" fmla="*/ 72 w 133"/>
                <a:gd name="T29" fmla="*/ 3 h 132"/>
                <a:gd name="T30" fmla="*/ 88 w 133"/>
                <a:gd name="T31" fmla="*/ 36 h 132"/>
                <a:gd name="T32" fmla="*/ 126 w 133"/>
                <a:gd name="T33" fmla="*/ 36 h 132"/>
                <a:gd name="T34" fmla="*/ 132 w 133"/>
                <a:gd name="T35" fmla="*/ 40 h 132"/>
                <a:gd name="T36" fmla="*/ 131 w 133"/>
                <a:gd name="T37" fmla="*/ 46 h 132"/>
                <a:gd name="T38" fmla="*/ 98 w 133"/>
                <a:gd name="T39" fmla="*/ 79 h 132"/>
                <a:gd name="T40" fmla="*/ 120 w 133"/>
                <a:gd name="T41" fmla="*/ 123 h 132"/>
                <a:gd name="T42" fmla="*/ 119 w 133"/>
                <a:gd name="T43" fmla="*/ 130 h 132"/>
                <a:gd name="T44" fmla="*/ 114 w 133"/>
                <a:gd name="T45" fmla="*/ 132 h 132"/>
                <a:gd name="T46" fmla="*/ 66 w 133"/>
                <a:gd name="T47" fmla="*/ 90 h 132"/>
                <a:gd name="T48" fmla="*/ 69 w 133"/>
                <a:gd name="T49" fmla="*/ 91 h 132"/>
                <a:gd name="T50" fmla="*/ 100 w 133"/>
                <a:gd name="T51" fmla="*/ 110 h 132"/>
                <a:gd name="T52" fmla="*/ 85 w 133"/>
                <a:gd name="T53" fmla="*/ 81 h 132"/>
                <a:gd name="T54" fmla="*/ 86 w 133"/>
                <a:gd name="T55" fmla="*/ 74 h 132"/>
                <a:gd name="T56" fmla="*/ 112 w 133"/>
                <a:gd name="T57" fmla="*/ 48 h 132"/>
                <a:gd name="T58" fmla="*/ 84 w 133"/>
                <a:gd name="T59" fmla="*/ 48 h 132"/>
                <a:gd name="T60" fmla="*/ 79 w 133"/>
                <a:gd name="T61" fmla="*/ 45 h 132"/>
                <a:gd name="T62" fmla="*/ 66 w 133"/>
                <a:gd name="T63" fmla="*/ 19 h 132"/>
                <a:gd name="T64" fmla="*/ 54 w 133"/>
                <a:gd name="T65" fmla="*/ 45 h 132"/>
                <a:gd name="T66" fmla="*/ 48 w 133"/>
                <a:gd name="T67" fmla="*/ 48 h 132"/>
                <a:gd name="T68" fmla="*/ 21 w 133"/>
                <a:gd name="T69" fmla="*/ 48 h 132"/>
                <a:gd name="T70" fmla="*/ 47 w 133"/>
                <a:gd name="T71" fmla="*/ 74 h 132"/>
                <a:gd name="T72" fmla="*/ 48 w 133"/>
                <a:gd name="T73" fmla="*/ 81 h 132"/>
                <a:gd name="T74" fmla="*/ 33 w 133"/>
                <a:gd name="T75" fmla="*/ 110 h 132"/>
                <a:gd name="T76" fmla="*/ 63 w 133"/>
                <a:gd name="T77" fmla="*/ 91 h 132"/>
                <a:gd name="T78" fmla="*/ 66 w 133"/>
                <a:gd name="T79"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32">
                  <a:moveTo>
                    <a:pt x="114" y="132"/>
                  </a:moveTo>
                  <a:cubicBezTo>
                    <a:pt x="113" y="132"/>
                    <a:pt x="112" y="132"/>
                    <a:pt x="111" y="131"/>
                  </a:cubicBezTo>
                  <a:cubicBezTo>
                    <a:pt x="66" y="103"/>
                    <a:pt x="66" y="103"/>
                    <a:pt x="66" y="103"/>
                  </a:cubicBezTo>
                  <a:cubicBezTo>
                    <a:pt x="22" y="131"/>
                    <a:pt x="22" y="131"/>
                    <a:pt x="22" y="131"/>
                  </a:cubicBezTo>
                  <a:cubicBezTo>
                    <a:pt x="19" y="132"/>
                    <a:pt x="16" y="132"/>
                    <a:pt x="14" y="130"/>
                  </a:cubicBezTo>
                  <a:cubicBezTo>
                    <a:pt x="12" y="129"/>
                    <a:pt x="12" y="126"/>
                    <a:pt x="13" y="123"/>
                  </a:cubicBezTo>
                  <a:cubicBezTo>
                    <a:pt x="35" y="79"/>
                    <a:pt x="35" y="79"/>
                    <a:pt x="35" y="79"/>
                  </a:cubicBezTo>
                  <a:cubicBezTo>
                    <a:pt x="2" y="46"/>
                    <a:pt x="2" y="46"/>
                    <a:pt x="2" y="46"/>
                  </a:cubicBezTo>
                  <a:cubicBezTo>
                    <a:pt x="0" y="45"/>
                    <a:pt x="0" y="42"/>
                    <a:pt x="1" y="40"/>
                  </a:cubicBezTo>
                  <a:cubicBezTo>
                    <a:pt x="2" y="37"/>
                    <a:pt x="4" y="36"/>
                    <a:pt x="6" y="36"/>
                  </a:cubicBezTo>
                  <a:cubicBezTo>
                    <a:pt x="45" y="36"/>
                    <a:pt x="45" y="36"/>
                    <a:pt x="45" y="36"/>
                  </a:cubicBezTo>
                  <a:cubicBezTo>
                    <a:pt x="61" y="3"/>
                    <a:pt x="61" y="3"/>
                    <a:pt x="61" y="3"/>
                  </a:cubicBezTo>
                  <a:cubicBezTo>
                    <a:pt x="62" y="1"/>
                    <a:pt x="64" y="0"/>
                    <a:pt x="66" y="0"/>
                  </a:cubicBezTo>
                  <a:cubicBezTo>
                    <a:pt x="66" y="0"/>
                    <a:pt x="66" y="0"/>
                    <a:pt x="66" y="0"/>
                  </a:cubicBezTo>
                  <a:cubicBezTo>
                    <a:pt x="69" y="0"/>
                    <a:pt x="71" y="1"/>
                    <a:pt x="72" y="3"/>
                  </a:cubicBezTo>
                  <a:cubicBezTo>
                    <a:pt x="88" y="36"/>
                    <a:pt x="88" y="36"/>
                    <a:pt x="88" y="36"/>
                  </a:cubicBezTo>
                  <a:cubicBezTo>
                    <a:pt x="126" y="36"/>
                    <a:pt x="126" y="36"/>
                    <a:pt x="126" y="36"/>
                  </a:cubicBezTo>
                  <a:cubicBezTo>
                    <a:pt x="129" y="36"/>
                    <a:pt x="131" y="37"/>
                    <a:pt x="132" y="40"/>
                  </a:cubicBezTo>
                  <a:cubicBezTo>
                    <a:pt x="133" y="42"/>
                    <a:pt x="132" y="45"/>
                    <a:pt x="131" y="46"/>
                  </a:cubicBezTo>
                  <a:cubicBezTo>
                    <a:pt x="98" y="79"/>
                    <a:pt x="98" y="79"/>
                    <a:pt x="98" y="79"/>
                  </a:cubicBezTo>
                  <a:cubicBezTo>
                    <a:pt x="120" y="123"/>
                    <a:pt x="120" y="123"/>
                    <a:pt x="120" y="123"/>
                  </a:cubicBezTo>
                  <a:cubicBezTo>
                    <a:pt x="121" y="126"/>
                    <a:pt x="121" y="129"/>
                    <a:pt x="119" y="130"/>
                  </a:cubicBezTo>
                  <a:cubicBezTo>
                    <a:pt x="117" y="131"/>
                    <a:pt x="116" y="132"/>
                    <a:pt x="114" y="132"/>
                  </a:cubicBezTo>
                  <a:close/>
                  <a:moveTo>
                    <a:pt x="66" y="90"/>
                  </a:moveTo>
                  <a:cubicBezTo>
                    <a:pt x="67" y="90"/>
                    <a:pt x="69" y="90"/>
                    <a:pt x="69" y="91"/>
                  </a:cubicBezTo>
                  <a:cubicBezTo>
                    <a:pt x="100" y="110"/>
                    <a:pt x="100" y="110"/>
                    <a:pt x="100" y="110"/>
                  </a:cubicBezTo>
                  <a:cubicBezTo>
                    <a:pt x="85" y="81"/>
                    <a:pt x="85" y="81"/>
                    <a:pt x="85" y="81"/>
                  </a:cubicBezTo>
                  <a:cubicBezTo>
                    <a:pt x="84" y="78"/>
                    <a:pt x="84" y="75"/>
                    <a:pt x="86" y="74"/>
                  </a:cubicBezTo>
                  <a:cubicBezTo>
                    <a:pt x="112" y="48"/>
                    <a:pt x="112" y="48"/>
                    <a:pt x="112" y="48"/>
                  </a:cubicBezTo>
                  <a:cubicBezTo>
                    <a:pt x="84" y="48"/>
                    <a:pt x="84" y="48"/>
                    <a:pt x="84" y="48"/>
                  </a:cubicBezTo>
                  <a:cubicBezTo>
                    <a:pt x="82" y="48"/>
                    <a:pt x="80" y="47"/>
                    <a:pt x="79" y="45"/>
                  </a:cubicBezTo>
                  <a:cubicBezTo>
                    <a:pt x="66" y="19"/>
                    <a:pt x="66" y="19"/>
                    <a:pt x="66" y="19"/>
                  </a:cubicBezTo>
                  <a:cubicBezTo>
                    <a:pt x="54" y="45"/>
                    <a:pt x="54" y="45"/>
                    <a:pt x="54" y="45"/>
                  </a:cubicBezTo>
                  <a:cubicBezTo>
                    <a:pt x="53" y="47"/>
                    <a:pt x="51" y="48"/>
                    <a:pt x="48" y="48"/>
                  </a:cubicBezTo>
                  <a:cubicBezTo>
                    <a:pt x="21" y="48"/>
                    <a:pt x="21" y="48"/>
                    <a:pt x="21" y="48"/>
                  </a:cubicBezTo>
                  <a:cubicBezTo>
                    <a:pt x="47" y="74"/>
                    <a:pt x="47" y="74"/>
                    <a:pt x="47" y="74"/>
                  </a:cubicBezTo>
                  <a:cubicBezTo>
                    <a:pt x="48" y="75"/>
                    <a:pt x="49" y="78"/>
                    <a:pt x="48" y="81"/>
                  </a:cubicBezTo>
                  <a:cubicBezTo>
                    <a:pt x="33" y="110"/>
                    <a:pt x="33" y="110"/>
                    <a:pt x="33" y="110"/>
                  </a:cubicBezTo>
                  <a:cubicBezTo>
                    <a:pt x="63" y="91"/>
                    <a:pt x="63" y="91"/>
                    <a:pt x="63" y="91"/>
                  </a:cubicBezTo>
                  <a:cubicBezTo>
                    <a:pt x="64" y="90"/>
                    <a:pt x="65" y="90"/>
                    <a:pt x="6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6">
              <a:extLst>
                <a:ext uri="{FF2B5EF4-FFF2-40B4-BE49-F238E27FC236}">
                  <a16:creationId xmlns:a16="http://schemas.microsoft.com/office/drawing/2014/main" id="{8ABC41A5-8232-7DA2-D92B-3CB18FFDC90B}"/>
                </a:ext>
              </a:extLst>
            </p:cNvPr>
            <p:cNvSpPr>
              <a:spLocks/>
            </p:cNvSpPr>
            <p:nvPr/>
          </p:nvSpPr>
          <p:spPr bwMode="auto">
            <a:xfrm>
              <a:off x="1497013" y="2378075"/>
              <a:ext cx="155575" cy="327025"/>
            </a:xfrm>
            <a:custGeom>
              <a:avLst/>
              <a:gdLst>
                <a:gd name="T0" fmla="*/ 65 w 65"/>
                <a:gd name="T1" fmla="*/ 136 h 136"/>
                <a:gd name="T2" fmla="*/ 53 w 65"/>
                <a:gd name="T3" fmla="*/ 136 h 136"/>
                <a:gd name="T4" fmla="*/ 0 w 65"/>
                <a:gd name="T5" fmla="*/ 8 h 136"/>
                <a:gd name="T6" fmla="*/ 9 w 65"/>
                <a:gd name="T7" fmla="*/ 0 h 136"/>
                <a:gd name="T8" fmla="*/ 65 w 65"/>
                <a:gd name="T9" fmla="*/ 136 h 136"/>
              </a:gdLst>
              <a:ahLst/>
              <a:cxnLst>
                <a:cxn ang="0">
                  <a:pos x="T0" y="T1"/>
                </a:cxn>
                <a:cxn ang="0">
                  <a:pos x="T2" y="T3"/>
                </a:cxn>
                <a:cxn ang="0">
                  <a:pos x="T4" y="T5"/>
                </a:cxn>
                <a:cxn ang="0">
                  <a:pos x="T6" y="T7"/>
                </a:cxn>
                <a:cxn ang="0">
                  <a:pos x="T8" y="T9"/>
                </a:cxn>
              </a:cxnLst>
              <a:rect l="0" t="0" r="r" b="b"/>
              <a:pathLst>
                <a:path w="65" h="136">
                  <a:moveTo>
                    <a:pt x="65" y="136"/>
                  </a:moveTo>
                  <a:cubicBezTo>
                    <a:pt x="53" y="136"/>
                    <a:pt x="53" y="136"/>
                    <a:pt x="53" y="136"/>
                  </a:cubicBezTo>
                  <a:cubicBezTo>
                    <a:pt x="53" y="90"/>
                    <a:pt x="35" y="46"/>
                    <a:pt x="0" y="8"/>
                  </a:cubicBezTo>
                  <a:cubicBezTo>
                    <a:pt x="9" y="0"/>
                    <a:pt x="9" y="0"/>
                    <a:pt x="9" y="0"/>
                  </a:cubicBezTo>
                  <a:cubicBezTo>
                    <a:pt x="46" y="40"/>
                    <a:pt x="65" y="86"/>
                    <a:pt x="6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7">
              <a:extLst>
                <a:ext uri="{FF2B5EF4-FFF2-40B4-BE49-F238E27FC236}">
                  <a16:creationId xmlns:a16="http://schemas.microsoft.com/office/drawing/2014/main" id="{7DC01825-CEAF-F139-5636-2D396578DEF5}"/>
                </a:ext>
              </a:extLst>
            </p:cNvPr>
            <p:cNvSpPr>
              <a:spLocks/>
            </p:cNvSpPr>
            <p:nvPr/>
          </p:nvSpPr>
          <p:spPr bwMode="auto">
            <a:xfrm>
              <a:off x="1192213" y="2863850"/>
              <a:ext cx="317500" cy="28575"/>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9"/>
                    <a:pt x="0" y="6"/>
                  </a:cubicBezTo>
                  <a:cubicBezTo>
                    <a:pt x="0" y="3"/>
                    <a:pt x="2" y="0"/>
                    <a:pt x="6" y="0"/>
                  </a:cubicBezTo>
                  <a:cubicBezTo>
                    <a:pt x="126" y="0"/>
                    <a:pt x="126" y="0"/>
                    <a:pt x="126" y="0"/>
                  </a:cubicBezTo>
                  <a:cubicBezTo>
                    <a:pt x="129" y="0"/>
                    <a:pt x="132" y="3"/>
                    <a:pt x="132" y="6"/>
                  </a:cubicBezTo>
                  <a:cubicBezTo>
                    <a:pt x="132" y="9"/>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Rectangle 8">
              <a:extLst>
                <a:ext uri="{FF2B5EF4-FFF2-40B4-BE49-F238E27FC236}">
                  <a16:creationId xmlns:a16="http://schemas.microsoft.com/office/drawing/2014/main" id="{20F49F65-D9FC-D93B-8A7F-A139D6764294}"/>
                </a:ext>
              </a:extLst>
            </p:cNvPr>
            <p:cNvSpPr>
              <a:spLocks noChangeArrowheads="1"/>
            </p:cNvSpPr>
            <p:nvPr/>
          </p:nvSpPr>
          <p:spPr bwMode="auto">
            <a:xfrm>
              <a:off x="1216026" y="2517775"/>
              <a:ext cx="5524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9">
              <a:extLst>
                <a:ext uri="{FF2B5EF4-FFF2-40B4-BE49-F238E27FC236}">
                  <a16:creationId xmlns:a16="http://schemas.microsoft.com/office/drawing/2014/main" id="{C602E220-9A4D-61F6-FFA9-0A3535ADB910}"/>
                </a:ext>
              </a:extLst>
            </p:cNvPr>
            <p:cNvSpPr>
              <a:spLocks noEditPoints="1"/>
            </p:cNvSpPr>
            <p:nvPr/>
          </p:nvSpPr>
          <p:spPr bwMode="auto">
            <a:xfrm>
              <a:off x="1146176" y="2373313"/>
              <a:ext cx="692150" cy="692150"/>
            </a:xfrm>
            <a:custGeom>
              <a:avLst/>
              <a:gdLst>
                <a:gd name="T0" fmla="*/ 137 w 288"/>
                <a:gd name="T1" fmla="*/ 288 h 288"/>
                <a:gd name="T2" fmla="*/ 137 w 288"/>
                <a:gd name="T3" fmla="*/ 288 h 288"/>
                <a:gd name="T4" fmla="*/ 131 w 288"/>
                <a:gd name="T5" fmla="*/ 288 h 288"/>
                <a:gd name="T6" fmla="*/ 0 w 288"/>
                <a:gd name="T7" fmla="*/ 141 h 288"/>
                <a:gd name="T8" fmla="*/ 0 w 288"/>
                <a:gd name="T9" fmla="*/ 138 h 288"/>
                <a:gd name="T10" fmla="*/ 0 w 288"/>
                <a:gd name="T11" fmla="*/ 138 h 288"/>
                <a:gd name="T12" fmla="*/ 0 w 288"/>
                <a:gd name="T13" fmla="*/ 138 h 288"/>
                <a:gd name="T14" fmla="*/ 134 w 288"/>
                <a:gd name="T15" fmla="*/ 1 h 288"/>
                <a:gd name="T16" fmla="*/ 136 w 288"/>
                <a:gd name="T17" fmla="*/ 0 h 288"/>
                <a:gd name="T18" fmla="*/ 138 w 288"/>
                <a:gd name="T19" fmla="*/ 0 h 288"/>
                <a:gd name="T20" fmla="*/ 145 w 288"/>
                <a:gd name="T21" fmla="*/ 0 h 288"/>
                <a:gd name="T22" fmla="*/ 288 w 288"/>
                <a:gd name="T23" fmla="*/ 131 h 288"/>
                <a:gd name="T24" fmla="*/ 288 w 288"/>
                <a:gd name="T25" fmla="*/ 132 h 288"/>
                <a:gd name="T26" fmla="*/ 288 w 288"/>
                <a:gd name="T27" fmla="*/ 138 h 288"/>
                <a:gd name="T28" fmla="*/ 282 w 288"/>
                <a:gd name="T29" fmla="*/ 144 h 288"/>
                <a:gd name="T30" fmla="*/ 88 w 288"/>
                <a:gd name="T31" fmla="*/ 144 h 288"/>
                <a:gd name="T32" fmla="*/ 142 w 288"/>
                <a:gd name="T33" fmla="*/ 279 h 288"/>
                <a:gd name="T34" fmla="*/ 143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2 h 288"/>
                <a:gd name="T56" fmla="*/ 138 w 288"/>
                <a:gd name="T57" fmla="*/ 12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1"/>
                    <a:pt x="0" y="217"/>
                    <a:pt x="0" y="141"/>
                  </a:cubicBezTo>
                  <a:cubicBezTo>
                    <a:pt x="0" y="140"/>
                    <a:pt x="0" y="139"/>
                    <a:pt x="0" y="138"/>
                  </a:cubicBezTo>
                  <a:cubicBezTo>
                    <a:pt x="0" y="138"/>
                    <a:pt x="0" y="138"/>
                    <a:pt x="0" y="138"/>
                  </a:cubicBezTo>
                  <a:cubicBezTo>
                    <a:pt x="0" y="138"/>
                    <a:pt x="0" y="138"/>
                    <a:pt x="0" y="138"/>
                  </a:cubicBezTo>
                  <a:cubicBezTo>
                    <a:pt x="2" y="64"/>
                    <a:pt x="59" y="6"/>
                    <a:pt x="134" y="1"/>
                  </a:cubicBezTo>
                  <a:cubicBezTo>
                    <a:pt x="135" y="0"/>
                    <a:pt x="136" y="0"/>
                    <a:pt x="136" y="0"/>
                  </a:cubicBezTo>
                  <a:cubicBezTo>
                    <a:pt x="137" y="0"/>
                    <a:pt x="138" y="0"/>
                    <a:pt x="138" y="0"/>
                  </a:cubicBezTo>
                  <a:cubicBezTo>
                    <a:pt x="140" y="0"/>
                    <a:pt x="143" y="0"/>
                    <a:pt x="145" y="0"/>
                  </a:cubicBezTo>
                  <a:cubicBezTo>
                    <a:pt x="220" y="0"/>
                    <a:pt x="282" y="57"/>
                    <a:pt x="288" y="131"/>
                  </a:cubicBezTo>
                  <a:cubicBezTo>
                    <a:pt x="288" y="132"/>
                    <a:pt x="288" y="132"/>
                    <a:pt x="288" y="132"/>
                  </a:cubicBezTo>
                  <a:cubicBezTo>
                    <a:pt x="288" y="138"/>
                    <a:pt x="288" y="138"/>
                    <a:pt x="288" y="138"/>
                  </a:cubicBezTo>
                  <a:cubicBezTo>
                    <a:pt x="288" y="142"/>
                    <a:pt x="285" y="144"/>
                    <a:pt x="282" y="144"/>
                  </a:cubicBezTo>
                  <a:cubicBezTo>
                    <a:pt x="88" y="144"/>
                    <a:pt x="88" y="144"/>
                    <a:pt x="88" y="144"/>
                  </a:cubicBezTo>
                  <a:cubicBezTo>
                    <a:pt x="90" y="188"/>
                    <a:pt x="108" y="234"/>
                    <a:pt x="142" y="279"/>
                  </a:cubicBezTo>
                  <a:cubicBezTo>
                    <a:pt x="143" y="280"/>
                    <a:pt x="144" y="283"/>
                    <a:pt x="143" y="285"/>
                  </a:cubicBezTo>
                  <a:cubicBezTo>
                    <a:pt x="141" y="287"/>
                    <a:pt x="139" y="288"/>
                    <a:pt x="137" y="288"/>
                  </a:cubicBezTo>
                  <a:close/>
                  <a:moveTo>
                    <a:pt x="12" y="144"/>
                  </a:moveTo>
                  <a:cubicBezTo>
                    <a:pt x="14" y="210"/>
                    <a:pt x="62" y="265"/>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2"/>
                    <a:pt x="139" y="12"/>
                  </a:cubicBezTo>
                  <a:cubicBezTo>
                    <a:pt x="139" y="12"/>
                    <a:pt x="139" y="12"/>
                    <a:pt x="138" y="12"/>
                  </a:cubicBezTo>
                  <a:cubicBezTo>
                    <a:pt x="106" y="48"/>
                    <a:pt x="89" y="89"/>
                    <a:pt x="88" y="132"/>
                  </a:cubicBezTo>
                  <a:close/>
                  <a:moveTo>
                    <a:pt x="13" y="132"/>
                  </a:moveTo>
                  <a:cubicBezTo>
                    <a:pt x="77" y="132"/>
                    <a:pt x="77" y="132"/>
                    <a:pt x="77" y="132"/>
                  </a:cubicBezTo>
                  <a:cubicBezTo>
                    <a:pt x="78" y="90"/>
                    <a:pt x="93"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94" name="Rectangle 93">
            <a:extLst>
              <a:ext uri="{FF2B5EF4-FFF2-40B4-BE49-F238E27FC236}">
                <a16:creationId xmlns:a16="http://schemas.microsoft.com/office/drawing/2014/main" id="{AD1123D4-4FEF-59D6-B257-C9ECFCEC605E}"/>
              </a:ext>
            </a:extLst>
          </p:cNvPr>
          <p:cNvSpPr/>
          <p:nvPr/>
        </p:nvSpPr>
        <p:spPr>
          <a:xfrm>
            <a:off x="393070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5" name="Rectangle 104">
            <a:extLst>
              <a:ext uri="{FF2B5EF4-FFF2-40B4-BE49-F238E27FC236}">
                <a16:creationId xmlns:a16="http://schemas.microsoft.com/office/drawing/2014/main" id="{5132F4D8-42A3-8688-DEF3-631F95A5386E}"/>
              </a:ext>
            </a:extLst>
          </p:cNvPr>
          <p:cNvSpPr/>
          <p:nvPr/>
        </p:nvSpPr>
        <p:spPr>
          <a:xfrm>
            <a:off x="6252457"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6" name="Rectangle 115">
            <a:extLst>
              <a:ext uri="{FF2B5EF4-FFF2-40B4-BE49-F238E27FC236}">
                <a16:creationId xmlns:a16="http://schemas.microsoft.com/office/drawing/2014/main" id="{822F2EA1-C458-E95C-D0EA-D8D456514882}"/>
              </a:ext>
            </a:extLst>
          </p:cNvPr>
          <p:cNvSpPr/>
          <p:nvPr/>
        </p:nvSpPr>
        <p:spPr>
          <a:xfrm>
            <a:off x="857420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7" name="Rectangle 126">
            <a:extLst>
              <a:ext uri="{FF2B5EF4-FFF2-40B4-BE49-F238E27FC236}">
                <a16:creationId xmlns:a16="http://schemas.microsoft.com/office/drawing/2014/main" id="{B363359B-BF88-81D7-E856-DA32FC37525A}"/>
              </a:ext>
            </a:extLst>
          </p:cNvPr>
          <p:cNvSpPr/>
          <p:nvPr/>
        </p:nvSpPr>
        <p:spPr>
          <a:xfrm>
            <a:off x="10895955" y="2415079"/>
            <a:ext cx="915044" cy="915045"/>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1" name="Group 40">
            <a:extLst>
              <a:ext uri="{FF2B5EF4-FFF2-40B4-BE49-F238E27FC236}">
                <a16:creationId xmlns:a16="http://schemas.microsoft.com/office/drawing/2014/main" id="{CEAD0068-5855-C6B5-E3C1-5F0F7BC01D62}"/>
              </a:ext>
            </a:extLst>
          </p:cNvPr>
          <p:cNvGrpSpPr>
            <a:grpSpLocks noChangeAspect="1"/>
          </p:cNvGrpSpPr>
          <p:nvPr/>
        </p:nvGrpSpPr>
        <p:grpSpPr>
          <a:xfrm>
            <a:off x="4158942" y="2643840"/>
            <a:ext cx="458577" cy="457522"/>
            <a:chOff x="4786313" y="2373313"/>
            <a:chExt cx="692150" cy="690562"/>
          </a:xfrm>
          <a:solidFill>
            <a:schemeClr val="bg1"/>
          </a:solidFill>
        </p:grpSpPr>
        <p:sp>
          <p:nvSpPr>
            <p:cNvPr id="42" name="Freeform 27">
              <a:extLst>
                <a:ext uri="{FF2B5EF4-FFF2-40B4-BE49-F238E27FC236}">
                  <a16:creationId xmlns:a16="http://schemas.microsoft.com/office/drawing/2014/main" id="{6704FE65-E30A-262C-16BC-66B99C719BAD}"/>
                </a:ext>
              </a:extLst>
            </p:cNvPr>
            <p:cNvSpPr>
              <a:spLocks noEditPoints="1"/>
            </p:cNvSpPr>
            <p:nvPr/>
          </p:nvSpPr>
          <p:spPr bwMode="auto">
            <a:xfrm>
              <a:off x="5016500" y="2459038"/>
              <a:ext cx="231775" cy="23018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8">
              <a:extLst>
                <a:ext uri="{FF2B5EF4-FFF2-40B4-BE49-F238E27FC236}">
                  <a16:creationId xmlns:a16="http://schemas.microsoft.com/office/drawing/2014/main" id="{F9975067-CF29-29C1-AED2-65618201281C}"/>
                </a:ext>
              </a:extLst>
            </p:cNvPr>
            <p:cNvSpPr>
              <a:spLocks noEditPoints="1"/>
            </p:cNvSpPr>
            <p:nvPr/>
          </p:nvSpPr>
          <p:spPr bwMode="auto">
            <a:xfrm>
              <a:off x="4921250" y="2373313"/>
              <a:ext cx="425450" cy="635000"/>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9">
              <a:extLst>
                <a:ext uri="{FF2B5EF4-FFF2-40B4-BE49-F238E27FC236}">
                  <a16:creationId xmlns:a16="http://schemas.microsoft.com/office/drawing/2014/main" id="{E6D07C2E-3D79-15B4-B327-C716BDC8E985}"/>
                </a:ext>
              </a:extLst>
            </p:cNvPr>
            <p:cNvSpPr>
              <a:spLocks noEditPoints="1"/>
            </p:cNvSpPr>
            <p:nvPr/>
          </p:nvSpPr>
          <p:spPr bwMode="auto">
            <a:xfrm>
              <a:off x="4786313" y="2927350"/>
              <a:ext cx="692150" cy="136525"/>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45" name="Group 44">
            <a:extLst>
              <a:ext uri="{FF2B5EF4-FFF2-40B4-BE49-F238E27FC236}">
                <a16:creationId xmlns:a16="http://schemas.microsoft.com/office/drawing/2014/main" id="{CAC030E0-9A81-F8B2-4C8D-E62783B71EAA}"/>
              </a:ext>
            </a:extLst>
          </p:cNvPr>
          <p:cNvGrpSpPr>
            <a:grpSpLocks noChangeAspect="1"/>
          </p:cNvGrpSpPr>
          <p:nvPr/>
        </p:nvGrpSpPr>
        <p:grpSpPr>
          <a:xfrm>
            <a:off x="6470771" y="2643840"/>
            <a:ext cx="478416" cy="457522"/>
            <a:chOff x="4443413" y="4208463"/>
            <a:chExt cx="690563" cy="660400"/>
          </a:xfrm>
          <a:solidFill>
            <a:schemeClr val="bg1"/>
          </a:solidFill>
        </p:grpSpPr>
        <p:sp>
          <p:nvSpPr>
            <p:cNvPr id="46" name="Freeform 50">
              <a:extLst>
                <a:ext uri="{FF2B5EF4-FFF2-40B4-BE49-F238E27FC236}">
                  <a16:creationId xmlns:a16="http://schemas.microsoft.com/office/drawing/2014/main" id="{948F8C5F-8EF8-001A-1F44-98BDB30A195A}"/>
                </a:ext>
              </a:extLst>
            </p:cNvPr>
            <p:cNvSpPr>
              <a:spLocks noEditPoints="1"/>
            </p:cNvSpPr>
            <p:nvPr/>
          </p:nvSpPr>
          <p:spPr bwMode="auto">
            <a:xfrm>
              <a:off x="4443413" y="4668838"/>
              <a:ext cx="144463" cy="200025"/>
            </a:xfrm>
            <a:custGeom>
              <a:avLst/>
              <a:gdLst>
                <a:gd name="T0" fmla="*/ 54 w 60"/>
                <a:gd name="T1" fmla="*/ 84 h 84"/>
                <a:gd name="T2" fmla="*/ 6 w 60"/>
                <a:gd name="T3" fmla="*/ 84 h 84"/>
                <a:gd name="T4" fmla="*/ 0 w 60"/>
                <a:gd name="T5" fmla="*/ 78 h 84"/>
                <a:gd name="T6" fmla="*/ 0 w 60"/>
                <a:gd name="T7" fmla="*/ 6 h 84"/>
                <a:gd name="T8" fmla="*/ 6 w 60"/>
                <a:gd name="T9" fmla="*/ 0 h 84"/>
                <a:gd name="T10" fmla="*/ 54 w 60"/>
                <a:gd name="T11" fmla="*/ 0 h 84"/>
                <a:gd name="T12" fmla="*/ 60 w 60"/>
                <a:gd name="T13" fmla="*/ 6 h 84"/>
                <a:gd name="T14" fmla="*/ 60 w 60"/>
                <a:gd name="T15" fmla="*/ 78 h 84"/>
                <a:gd name="T16" fmla="*/ 54 w 60"/>
                <a:gd name="T17" fmla="*/ 84 h 84"/>
                <a:gd name="T18" fmla="*/ 12 w 60"/>
                <a:gd name="T19" fmla="*/ 72 h 84"/>
                <a:gd name="T20" fmla="*/ 48 w 60"/>
                <a:gd name="T21" fmla="*/ 72 h 84"/>
                <a:gd name="T22" fmla="*/ 48 w 60"/>
                <a:gd name="T23" fmla="*/ 12 h 84"/>
                <a:gd name="T24" fmla="*/ 12 w 60"/>
                <a:gd name="T25" fmla="*/ 12 h 84"/>
                <a:gd name="T26" fmla="*/ 12 w 60"/>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4">
                  <a:moveTo>
                    <a:pt x="54" y="84"/>
                  </a:moveTo>
                  <a:cubicBezTo>
                    <a:pt x="6" y="84"/>
                    <a:pt x="6" y="84"/>
                    <a:pt x="6" y="84"/>
                  </a:cubicBezTo>
                  <a:cubicBezTo>
                    <a:pt x="3" y="84"/>
                    <a:pt x="0" y="81"/>
                    <a:pt x="0" y="78"/>
                  </a:cubicBezTo>
                  <a:cubicBezTo>
                    <a:pt x="0" y="6"/>
                    <a:pt x="0" y="6"/>
                    <a:pt x="0" y="6"/>
                  </a:cubicBezTo>
                  <a:cubicBezTo>
                    <a:pt x="0" y="2"/>
                    <a:pt x="3" y="0"/>
                    <a:pt x="6" y="0"/>
                  </a:cubicBezTo>
                  <a:cubicBezTo>
                    <a:pt x="54" y="0"/>
                    <a:pt x="54" y="0"/>
                    <a:pt x="54" y="0"/>
                  </a:cubicBezTo>
                  <a:cubicBezTo>
                    <a:pt x="58" y="0"/>
                    <a:pt x="60" y="2"/>
                    <a:pt x="60" y="6"/>
                  </a:cubicBezTo>
                  <a:cubicBezTo>
                    <a:pt x="60" y="78"/>
                    <a:pt x="60" y="78"/>
                    <a:pt x="60" y="78"/>
                  </a:cubicBezTo>
                  <a:cubicBezTo>
                    <a:pt x="60" y="81"/>
                    <a:pt x="58" y="84"/>
                    <a:pt x="54" y="84"/>
                  </a:cubicBezTo>
                  <a:close/>
                  <a:moveTo>
                    <a:pt x="12" y="72"/>
                  </a:moveTo>
                  <a:cubicBezTo>
                    <a:pt x="48" y="72"/>
                    <a:pt x="48" y="72"/>
                    <a:pt x="48" y="72"/>
                  </a:cubicBezTo>
                  <a:cubicBezTo>
                    <a:pt x="48" y="12"/>
                    <a:pt x="48" y="12"/>
                    <a:pt x="48"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51">
              <a:extLst>
                <a:ext uri="{FF2B5EF4-FFF2-40B4-BE49-F238E27FC236}">
                  <a16:creationId xmlns:a16="http://schemas.microsoft.com/office/drawing/2014/main" id="{F7F2394B-F496-552A-839A-7E5E0D528BC2}"/>
                </a:ext>
              </a:extLst>
            </p:cNvPr>
            <p:cNvSpPr>
              <a:spLocks/>
            </p:cNvSpPr>
            <p:nvPr/>
          </p:nvSpPr>
          <p:spPr bwMode="auto">
            <a:xfrm>
              <a:off x="4559300" y="4754563"/>
              <a:ext cx="458788" cy="85725"/>
            </a:xfrm>
            <a:custGeom>
              <a:avLst/>
              <a:gdLst>
                <a:gd name="T0" fmla="*/ 186 w 192"/>
                <a:gd name="T1" fmla="*/ 36 h 36"/>
                <a:gd name="T2" fmla="*/ 6 w 192"/>
                <a:gd name="T3" fmla="*/ 36 h 36"/>
                <a:gd name="T4" fmla="*/ 0 w 192"/>
                <a:gd name="T5" fmla="*/ 30 h 36"/>
                <a:gd name="T6" fmla="*/ 6 w 192"/>
                <a:gd name="T7" fmla="*/ 24 h 36"/>
                <a:gd name="T8" fmla="*/ 176 w 192"/>
                <a:gd name="T9" fmla="*/ 24 h 36"/>
                <a:gd name="T10" fmla="*/ 96 w 192"/>
                <a:gd name="T11" fmla="*/ 12 h 36"/>
                <a:gd name="T12" fmla="*/ 36 w 192"/>
                <a:gd name="T13" fmla="*/ 12 h 36"/>
                <a:gd name="T14" fmla="*/ 30 w 192"/>
                <a:gd name="T15" fmla="*/ 6 h 36"/>
                <a:gd name="T16" fmla="*/ 36 w 192"/>
                <a:gd name="T17" fmla="*/ 0 h 36"/>
                <a:gd name="T18" fmla="*/ 96 w 192"/>
                <a:gd name="T19" fmla="*/ 0 h 36"/>
                <a:gd name="T20" fmla="*/ 192 w 192"/>
                <a:gd name="T21" fmla="*/ 30 h 36"/>
                <a:gd name="T22" fmla="*/ 186 w 192"/>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36">
                  <a:moveTo>
                    <a:pt x="186" y="36"/>
                  </a:moveTo>
                  <a:cubicBezTo>
                    <a:pt x="6" y="36"/>
                    <a:pt x="6" y="36"/>
                    <a:pt x="6" y="36"/>
                  </a:cubicBezTo>
                  <a:cubicBezTo>
                    <a:pt x="3" y="36"/>
                    <a:pt x="0" y="33"/>
                    <a:pt x="0" y="30"/>
                  </a:cubicBezTo>
                  <a:cubicBezTo>
                    <a:pt x="0" y="26"/>
                    <a:pt x="3" y="24"/>
                    <a:pt x="6" y="24"/>
                  </a:cubicBezTo>
                  <a:cubicBezTo>
                    <a:pt x="176" y="24"/>
                    <a:pt x="176" y="24"/>
                    <a:pt x="176" y="24"/>
                  </a:cubicBezTo>
                  <a:cubicBezTo>
                    <a:pt x="167" y="17"/>
                    <a:pt x="141" y="12"/>
                    <a:pt x="96" y="12"/>
                  </a:cubicBezTo>
                  <a:cubicBezTo>
                    <a:pt x="36" y="12"/>
                    <a:pt x="36" y="12"/>
                    <a:pt x="36" y="12"/>
                  </a:cubicBezTo>
                  <a:cubicBezTo>
                    <a:pt x="33" y="12"/>
                    <a:pt x="30" y="9"/>
                    <a:pt x="30" y="6"/>
                  </a:cubicBezTo>
                  <a:cubicBezTo>
                    <a:pt x="30" y="2"/>
                    <a:pt x="33" y="0"/>
                    <a:pt x="36" y="0"/>
                  </a:cubicBezTo>
                  <a:cubicBezTo>
                    <a:pt x="96" y="0"/>
                    <a:pt x="96" y="0"/>
                    <a:pt x="96" y="0"/>
                  </a:cubicBezTo>
                  <a:cubicBezTo>
                    <a:pt x="161" y="0"/>
                    <a:pt x="192" y="10"/>
                    <a:pt x="192" y="30"/>
                  </a:cubicBezTo>
                  <a:cubicBezTo>
                    <a:pt x="192" y="33"/>
                    <a:pt x="190" y="36"/>
                    <a:pt x="18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52">
              <a:extLst>
                <a:ext uri="{FF2B5EF4-FFF2-40B4-BE49-F238E27FC236}">
                  <a16:creationId xmlns:a16="http://schemas.microsoft.com/office/drawing/2014/main" id="{EB401B1F-8E8B-C132-BCA0-27BC1CE9CD02}"/>
                </a:ext>
              </a:extLst>
            </p:cNvPr>
            <p:cNvSpPr>
              <a:spLocks/>
            </p:cNvSpPr>
            <p:nvPr/>
          </p:nvSpPr>
          <p:spPr bwMode="auto">
            <a:xfrm>
              <a:off x="4573588" y="4697413"/>
              <a:ext cx="195263" cy="80962"/>
            </a:xfrm>
            <a:custGeom>
              <a:avLst/>
              <a:gdLst>
                <a:gd name="T0" fmla="*/ 74 w 82"/>
                <a:gd name="T1" fmla="*/ 34 h 34"/>
                <a:gd name="T2" fmla="*/ 72 w 82"/>
                <a:gd name="T3" fmla="*/ 32 h 34"/>
                <a:gd name="T4" fmla="*/ 30 w 82"/>
                <a:gd name="T5" fmla="*/ 12 h 34"/>
                <a:gd name="T6" fmla="*/ 0 w 82"/>
                <a:gd name="T7" fmla="*/ 12 h 34"/>
                <a:gd name="T8" fmla="*/ 0 w 82"/>
                <a:gd name="T9" fmla="*/ 0 h 34"/>
                <a:gd name="T10" fmla="*/ 30 w 82"/>
                <a:gd name="T11" fmla="*/ 0 h 34"/>
                <a:gd name="T12" fmla="*/ 81 w 82"/>
                <a:gd name="T13" fmla="*/ 23 h 34"/>
                <a:gd name="T14" fmla="*/ 82 w 82"/>
                <a:gd name="T15" fmla="*/ 25 h 34"/>
                <a:gd name="T16" fmla="*/ 74 w 8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4">
                  <a:moveTo>
                    <a:pt x="74" y="34"/>
                  </a:moveTo>
                  <a:cubicBezTo>
                    <a:pt x="73" y="33"/>
                    <a:pt x="73" y="33"/>
                    <a:pt x="72" y="32"/>
                  </a:cubicBezTo>
                  <a:cubicBezTo>
                    <a:pt x="65" y="25"/>
                    <a:pt x="53" y="12"/>
                    <a:pt x="30" y="12"/>
                  </a:cubicBezTo>
                  <a:cubicBezTo>
                    <a:pt x="0" y="12"/>
                    <a:pt x="0" y="12"/>
                    <a:pt x="0" y="12"/>
                  </a:cubicBezTo>
                  <a:cubicBezTo>
                    <a:pt x="0" y="0"/>
                    <a:pt x="0" y="0"/>
                    <a:pt x="0" y="0"/>
                  </a:cubicBezTo>
                  <a:cubicBezTo>
                    <a:pt x="30" y="0"/>
                    <a:pt x="30" y="0"/>
                    <a:pt x="30" y="0"/>
                  </a:cubicBezTo>
                  <a:cubicBezTo>
                    <a:pt x="58" y="0"/>
                    <a:pt x="73" y="16"/>
                    <a:pt x="81" y="23"/>
                  </a:cubicBezTo>
                  <a:cubicBezTo>
                    <a:pt x="81" y="24"/>
                    <a:pt x="82" y="25"/>
                    <a:pt x="82" y="25"/>
                  </a:cubicBezTo>
                  <a:lnTo>
                    <a:pt x="74"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Oval 53">
              <a:extLst>
                <a:ext uri="{FF2B5EF4-FFF2-40B4-BE49-F238E27FC236}">
                  <a16:creationId xmlns:a16="http://schemas.microsoft.com/office/drawing/2014/main" id="{EF92DFFE-DA69-E166-E09C-91D8C04E2F6B}"/>
                </a:ext>
              </a:extLst>
            </p:cNvPr>
            <p:cNvSpPr>
              <a:spLocks noChangeArrowheads="1"/>
            </p:cNvSpPr>
            <p:nvPr/>
          </p:nvSpPr>
          <p:spPr bwMode="auto">
            <a:xfrm>
              <a:off x="4500563" y="4783138"/>
              <a:ext cx="28575"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54">
              <a:extLst>
                <a:ext uri="{FF2B5EF4-FFF2-40B4-BE49-F238E27FC236}">
                  <a16:creationId xmlns:a16="http://schemas.microsoft.com/office/drawing/2014/main" id="{5C913C24-E58D-192D-5471-1C967560971A}"/>
                </a:ext>
              </a:extLst>
            </p:cNvPr>
            <p:cNvSpPr>
              <a:spLocks noEditPoints="1"/>
            </p:cNvSpPr>
            <p:nvPr/>
          </p:nvSpPr>
          <p:spPr bwMode="auto">
            <a:xfrm>
              <a:off x="4471988" y="4552950"/>
              <a:ext cx="635000" cy="85725"/>
            </a:xfrm>
            <a:custGeom>
              <a:avLst/>
              <a:gdLst>
                <a:gd name="T0" fmla="*/ 234 w 265"/>
                <a:gd name="T1" fmla="*/ 36 h 36"/>
                <a:gd name="T2" fmla="*/ 30 w 265"/>
                <a:gd name="T3" fmla="*/ 36 h 36"/>
                <a:gd name="T4" fmla="*/ 26 w 265"/>
                <a:gd name="T5" fmla="*/ 34 h 36"/>
                <a:gd name="T6" fmla="*/ 2 w 265"/>
                <a:gd name="T7" fmla="*/ 10 h 36"/>
                <a:gd name="T8" fmla="*/ 1 w 265"/>
                <a:gd name="T9" fmla="*/ 3 h 36"/>
                <a:gd name="T10" fmla="*/ 6 w 265"/>
                <a:gd name="T11" fmla="*/ 0 h 36"/>
                <a:gd name="T12" fmla="*/ 258 w 265"/>
                <a:gd name="T13" fmla="*/ 0 h 36"/>
                <a:gd name="T14" fmla="*/ 264 w 265"/>
                <a:gd name="T15" fmla="*/ 3 h 36"/>
                <a:gd name="T16" fmla="*/ 262 w 265"/>
                <a:gd name="T17" fmla="*/ 10 h 36"/>
                <a:gd name="T18" fmla="*/ 238 w 265"/>
                <a:gd name="T19" fmla="*/ 34 h 36"/>
                <a:gd name="T20" fmla="*/ 234 w 265"/>
                <a:gd name="T21" fmla="*/ 36 h 36"/>
                <a:gd name="T22" fmla="*/ 33 w 265"/>
                <a:gd name="T23" fmla="*/ 24 h 36"/>
                <a:gd name="T24" fmla="*/ 232 w 265"/>
                <a:gd name="T25" fmla="*/ 24 h 36"/>
                <a:gd name="T26" fmla="*/ 244 w 265"/>
                <a:gd name="T27" fmla="*/ 12 h 36"/>
                <a:gd name="T28" fmla="*/ 21 w 265"/>
                <a:gd name="T29" fmla="*/ 12 h 36"/>
                <a:gd name="T30" fmla="*/ 33 w 265"/>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6">
                  <a:moveTo>
                    <a:pt x="234" y="36"/>
                  </a:moveTo>
                  <a:cubicBezTo>
                    <a:pt x="30" y="36"/>
                    <a:pt x="30" y="36"/>
                    <a:pt x="30" y="36"/>
                  </a:cubicBezTo>
                  <a:cubicBezTo>
                    <a:pt x="29" y="36"/>
                    <a:pt x="27" y="35"/>
                    <a:pt x="26" y="34"/>
                  </a:cubicBezTo>
                  <a:cubicBezTo>
                    <a:pt x="2" y="10"/>
                    <a:pt x="2" y="10"/>
                    <a:pt x="2" y="10"/>
                  </a:cubicBezTo>
                  <a:cubicBezTo>
                    <a:pt x="0" y="8"/>
                    <a:pt x="0" y="6"/>
                    <a:pt x="1" y="3"/>
                  </a:cubicBezTo>
                  <a:cubicBezTo>
                    <a:pt x="2" y="1"/>
                    <a:pt x="4" y="0"/>
                    <a:pt x="6" y="0"/>
                  </a:cubicBezTo>
                  <a:cubicBezTo>
                    <a:pt x="258" y="0"/>
                    <a:pt x="258" y="0"/>
                    <a:pt x="258" y="0"/>
                  </a:cubicBezTo>
                  <a:cubicBezTo>
                    <a:pt x="261" y="0"/>
                    <a:pt x="263" y="1"/>
                    <a:pt x="264" y="3"/>
                  </a:cubicBezTo>
                  <a:cubicBezTo>
                    <a:pt x="265" y="6"/>
                    <a:pt x="264" y="8"/>
                    <a:pt x="262" y="10"/>
                  </a:cubicBezTo>
                  <a:cubicBezTo>
                    <a:pt x="238" y="34"/>
                    <a:pt x="238" y="34"/>
                    <a:pt x="238" y="34"/>
                  </a:cubicBezTo>
                  <a:cubicBezTo>
                    <a:pt x="237" y="35"/>
                    <a:pt x="236" y="36"/>
                    <a:pt x="234" y="36"/>
                  </a:cubicBezTo>
                  <a:close/>
                  <a:moveTo>
                    <a:pt x="33" y="24"/>
                  </a:moveTo>
                  <a:cubicBezTo>
                    <a:pt x="232" y="24"/>
                    <a:pt x="232" y="24"/>
                    <a:pt x="232" y="24"/>
                  </a:cubicBezTo>
                  <a:cubicBezTo>
                    <a:pt x="244" y="12"/>
                    <a:pt x="244" y="12"/>
                    <a:pt x="244" y="12"/>
                  </a:cubicBezTo>
                  <a:cubicBezTo>
                    <a:pt x="21" y="12"/>
                    <a:pt x="21" y="12"/>
                    <a:pt x="21" y="12"/>
                  </a:cubicBezTo>
                  <a:lnTo>
                    <a:pt x="3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55">
              <a:extLst>
                <a:ext uri="{FF2B5EF4-FFF2-40B4-BE49-F238E27FC236}">
                  <a16:creationId xmlns:a16="http://schemas.microsoft.com/office/drawing/2014/main" id="{F6EE2CD9-C67C-2C77-0EE2-1A9D1F06FB95}"/>
                </a:ext>
              </a:extLst>
            </p:cNvPr>
            <p:cNvSpPr>
              <a:spLocks/>
            </p:cNvSpPr>
            <p:nvPr/>
          </p:nvSpPr>
          <p:spPr bwMode="auto">
            <a:xfrm>
              <a:off x="4443413" y="4552950"/>
              <a:ext cx="690563" cy="28575"/>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56">
              <a:extLst>
                <a:ext uri="{FF2B5EF4-FFF2-40B4-BE49-F238E27FC236}">
                  <a16:creationId xmlns:a16="http://schemas.microsoft.com/office/drawing/2014/main" id="{9BC84384-8AD3-9733-CAD8-F24903AA0113}"/>
                </a:ext>
              </a:extLst>
            </p:cNvPr>
            <p:cNvSpPr>
              <a:spLocks noEditPoints="1"/>
            </p:cNvSpPr>
            <p:nvPr/>
          </p:nvSpPr>
          <p:spPr bwMode="auto">
            <a:xfrm>
              <a:off x="4730750" y="4208463"/>
              <a:ext cx="115888" cy="11430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57">
              <a:extLst>
                <a:ext uri="{FF2B5EF4-FFF2-40B4-BE49-F238E27FC236}">
                  <a16:creationId xmlns:a16="http://schemas.microsoft.com/office/drawing/2014/main" id="{AED4DD0B-2E2A-549A-70AB-BDC729314D68}"/>
                </a:ext>
              </a:extLst>
            </p:cNvPr>
            <p:cNvSpPr>
              <a:spLocks/>
            </p:cNvSpPr>
            <p:nvPr/>
          </p:nvSpPr>
          <p:spPr bwMode="auto">
            <a:xfrm>
              <a:off x="4514850" y="4294188"/>
              <a:ext cx="547688" cy="287337"/>
            </a:xfrm>
            <a:custGeom>
              <a:avLst/>
              <a:gdLst>
                <a:gd name="T0" fmla="*/ 222 w 228"/>
                <a:gd name="T1" fmla="*/ 120 h 120"/>
                <a:gd name="T2" fmla="*/ 216 w 228"/>
                <a:gd name="T3" fmla="*/ 114 h 120"/>
                <a:gd name="T4" fmla="*/ 114 w 228"/>
                <a:gd name="T5" fmla="*/ 12 h 120"/>
                <a:gd name="T6" fmla="*/ 12 w 228"/>
                <a:gd name="T7" fmla="*/ 114 h 120"/>
                <a:gd name="T8" fmla="*/ 6 w 228"/>
                <a:gd name="T9" fmla="*/ 120 h 120"/>
                <a:gd name="T10" fmla="*/ 0 w 228"/>
                <a:gd name="T11" fmla="*/ 114 h 120"/>
                <a:gd name="T12" fmla="*/ 114 w 228"/>
                <a:gd name="T13" fmla="*/ 0 h 120"/>
                <a:gd name="T14" fmla="*/ 228 w 228"/>
                <a:gd name="T15" fmla="*/ 114 h 120"/>
                <a:gd name="T16" fmla="*/ 222 w 22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120">
                  <a:moveTo>
                    <a:pt x="222" y="120"/>
                  </a:moveTo>
                  <a:cubicBezTo>
                    <a:pt x="219" y="120"/>
                    <a:pt x="216" y="117"/>
                    <a:pt x="216" y="114"/>
                  </a:cubicBezTo>
                  <a:cubicBezTo>
                    <a:pt x="216" y="57"/>
                    <a:pt x="170" y="12"/>
                    <a:pt x="114" y="12"/>
                  </a:cubicBezTo>
                  <a:cubicBezTo>
                    <a:pt x="58" y="12"/>
                    <a:pt x="12" y="57"/>
                    <a:pt x="12" y="114"/>
                  </a:cubicBezTo>
                  <a:cubicBezTo>
                    <a:pt x="12" y="117"/>
                    <a:pt x="10" y="120"/>
                    <a:pt x="6" y="120"/>
                  </a:cubicBezTo>
                  <a:cubicBezTo>
                    <a:pt x="3" y="120"/>
                    <a:pt x="0" y="117"/>
                    <a:pt x="0" y="114"/>
                  </a:cubicBezTo>
                  <a:cubicBezTo>
                    <a:pt x="0" y="51"/>
                    <a:pt x="51" y="0"/>
                    <a:pt x="114" y="0"/>
                  </a:cubicBezTo>
                  <a:cubicBezTo>
                    <a:pt x="177" y="0"/>
                    <a:pt x="228" y="51"/>
                    <a:pt x="228" y="114"/>
                  </a:cubicBezTo>
                  <a:cubicBezTo>
                    <a:pt x="228" y="117"/>
                    <a:pt x="226" y="120"/>
                    <a:pt x="22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58">
              <a:extLst>
                <a:ext uri="{FF2B5EF4-FFF2-40B4-BE49-F238E27FC236}">
                  <a16:creationId xmlns:a16="http://schemas.microsoft.com/office/drawing/2014/main" id="{D45D3CDC-352C-45DA-F63E-B6F33BED676B}"/>
                </a:ext>
              </a:extLst>
            </p:cNvPr>
            <p:cNvSpPr>
              <a:spLocks/>
            </p:cNvSpPr>
            <p:nvPr/>
          </p:nvSpPr>
          <p:spPr bwMode="auto">
            <a:xfrm>
              <a:off x="4616450" y="4365625"/>
              <a:ext cx="187325" cy="115887"/>
            </a:xfrm>
            <a:custGeom>
              <a:avLst/>
              <a:gdLst>
                <a:gd name="T0" fmla="*/ 6 w 78"/>
                <a:gd name="T1" fmla="*/ 48 h 48"/>
                <a:gd name="T2" fmla="*/ 3 w 78"/>
                <a:gd name="T3" fmla="*/ 47 h 48"/>
                <a:gd name="T4" fmla="*/ 1 w 78"/>
                <a:gd name="T5" fmla="*/ 38 h 48"/>
                <a:gd name="T6" fmla="*/ 72 w 78"/>
                <a:gd name="T7" fmla="*/ 0 h 48"/>
                <a:gd name="T8" fmla="*/ 78 w 78"/>
                <a:gd name="T9" fmla="*/ 6 h 48"/>
                <a:gd name="T10" fmla="*/ 72 w 78"/>
                <a:gd name="T11" fmla="*/ 12 h 48"/>
                <a:gd name="T12" fmla="*/ 12 w 78"/>
                <a:gd name="T13" fmla="*/ 45 h 48"/>
                <a:gd name="T14" fmla="*/ 6 w 7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48">
                  <a:moveTo>
                    <a:pt x="6" y="48"/>
                  </a:moveTo>
                  <a:cubicBezTo>
                    <a:pt x="5" y="48"/>
                    <a:pt x="4" y="47"/>
                    <a:pt x="3" y="47"/>
                  </a:cubicBezTo>
                  <a:cubicBezTo>
                    <a:pt x="0" y="45"/>
                    <a:pt x="0" y="41"/>
                    <a:pt x="1" y="38"/>
                  </a:cubicBezTo>
                  <a:cubicBezTo>
                    <a:pt x="17" y="14"/>
                    <a:pt x="43" y="0"/>
                    <a:pt x="72" y="0"/>
                  </a:cubicBezTo>
                  <a:cubicBezTo>
                    <a:pt x="76" y="0"/>
                    <a:pt x="78" y="2"/>
                    <a:pt x="78" y="6"/>
                  </a:cubicBezTo>
                  <a:cubicBezTo>
                    <a:pt x="78" y="9"/>
                    <a:pt x="76" y="12"/>
                    <a:pt x="72" y="12"/>
                  </a:cubicBezTo>
                  <a:cubicBezTo>
                    <a:pt x="48" y="12"/>
                    <a:pt x="25" y="24"/>
                    <a:pt x="12" y="45"/>
                  </a:cubicBezTo>
                  <a:cubicBezTo>
                    <a:pt x="10" y="47"/>
                    <a:pt x="8"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59" name="Group 58">
            <a:extLst>
              <a:ext uri="{FF2B5EF4-FFF2-40B4-BE49-F238E27FC236}">
                <a16:creationId xmlns:a16="http://schemas.microsoft.com/office/drawing/2014/main" id="{6984D4EA-D173-1A94-7884-6ABC67F9DB10}"/>
              </a:ext>
            </a:extLst>
          </p:cNvPr>
          <p:cNvGrpSpPr>
            <a:grpSpLocks noChangeAspect="1"/>
          </p:cNvGrpSpPr>
          <p:nvPr/>
        </p:nvGrpSpPr>
        <p:grpSpPr>
          <a:xfrm>
            <a:off x="11107165" y="2643840"/>
            <a:ext cx="492624" cy="457522"/>
            <a:chOff x="4575176" y="4965701"/>
            <a:chExt cx="690563" cy="641350"/>
          </a:xfrm>
          <a:solidFill>
            <a:schemeClr val="bg1"/>
          </a:solidFill>
        </p:grpSpPr>
        <p:sp>
          <p:nvSpPr>
            <p:cNvPr id="60" name="Freeform 62">
              <a:extLst>
                <a:ext uri="{FF2B5EF4-FFF2-40B4-BE49-F238E27FC236}">
                  <a16:creationId xmlns:a16="http://schemas.microsoft.com/office/drawing/2014/main" id="{CEB74E45-C216-9D6F-B5E9-4461CAE0FF58}"/>
                </a:ext>
              </a:extLst>
            </p:cNvPr>
            <p:cNvSpPr>
              <a:spLocks noEditPoints="1"/>
            </p:cNvSpPr>
            <p:nvPr/>
          </p:nvSpPr>
          <p:spPr bwMode="auto">
            <a:xfrm>
              <a:off x="4575176" y="4965701"/>
              <a:ext cx="690563" cy="641350"/>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0 h 267"/>
                <a:gd name="T18" fmla="*/ 19 w 288"/>
                <a:gd name="T19" fmla="*/ 266 h 267"/>
                <a:gd name="T20" fmla="*/ 16 w 288"/>
                <a:gd name="T21" fmla="*/ 267 h 267"/>
                <a:gd name="T22" fmla="*/ 144 w 288"/>
                <a:gd name="T23" fmla="*/ 12 h 267"/>
                <a:gd name="T24" fmla="*/ 12 w 288"/>
                <a:gd name="T25" fmla="*/ 119 h 267"/>
                <a:gd name="T26" fmla="*/ 51 w 288"/>
                <a:gd name="T27" fmla="*/ 194 h 267"/>
                <a:gd name="T28" fmla="*/ 53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5" y="267"/>
                    <a:pt x="13" y="266"/>
                    <a:pt x="12" y="265"/>
                  </a:cubicBezTo>
                  <a:cubicBezTo>
                    <a:pt x="10" y="263"/>
                    <a:pt x="10" y="261"/>
                    <a:pt x="11" y="258"/>
                  </a:cubicBezTo>
                  <a:cubicBezTo>
                    <a:pt x="40" y="201"/>
                    <a:pt x="40" y="201"/>
                    <a:pt x="40" y="201"/>
                  </a:cubicBezTo>
                  <a:cubicBezTo>
                    <a:pt x="14" y="178"/>
                    <a:pt x="0" y="149"/>
                    <a:pt x="0" y="119"/>
                  </a:cubicBezTo>
                  <a:cubicBezTo>
                    <a:pt x="0" y="53"/>
                    <a:pt x="64" y="0"/>
                    <a:pt x="144" y="0"/>
                  </a:cubicBezTo>
                  <a:cubicBezTo>
                    <a:pt x="223" y="0"/>
                    <a:pt x="288" y="53"/>
                    <a:pt x="288" y="119"/>
                  </a:cubicBezTo>
                  <a:cubicBezTo>
                    <a:pt x="288" y="184"/>
                    <a:pt x="223" y="237"/>
                    <a:pt x="144" y="237"/>
                  </a:cubicBezTo>
                  <a:cubicBezTo>
                    <a:pt x="127" y="237"/>
                    <a:pt x="111" y="235"/>
                    <a:pt x="96" y="230"/>
                  </a:cubicBezTo>
                  <a:cubicBezTo>
                    <a:pt x="19" y="266"/>
                    <a:pt x="19" y="266"/>
                    <a:pt x="19" y="266"/>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3"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7" y="225"/>
                    <a:pt x="276" y="177"/>
                    <a:pt x="276" y="119"/>
                  </a:cubicBezTo>
                  <a:cubicBezTo>
                    <a:pt x="276" y="60"/>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63">
              <a:extLst>
                <a:ext uri="{FF2B5EF4-FFF2-40B4-BE49-F238E27FC236}">
                  <a16:creationId xmlns:a16="http://schemas.microsoft.com/office/drawing/2014/main" id="{DA1CEB25-079C-EB90-A447-C2E6291076B2}"/>
                </a:ext>
              </a:extLst>
            </p:cNvPr>
            <p:cNvSpPr>
              <a:spLocks/>
            </p:cNvSpPr>
            <p:nvPr/>
          </p:nvSpPr>
          <p:spPr bwMode="auto">
            <a:xfrm>
              <a:off x="4891088" y="5102226"/>
              <a:ext cx="28575" cy="201613"/>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9" y="0"/>
                    <a:pt x="12" y="3"/>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64">
              <a:extLst>
                <a:ext uri="{FF2B5EF4-FFF2-40B4-BE49-F238E27FC236}">
                  <a16:creationId xmlns:a16="http://schemas.microsoft.com/office/drawing/2014/main" id="{267CA9AB-804F-E272-726E-FA5F61BC5FB0}"/>
                </a:ext>
              </a:extLst>
            </p:cNvPr>
            <p:cNvSpPr>
              <a:spLocks noEditPoints="1"/>
            </p:cNvSpPr>
            <p:nvPr/>
          </p:nvSpPr>
          <p:spPr bwMode="auto">
            <a:xfrm>
              <a:off x="4876801" y="5326063"/>
              <a:ext cx="58738" cy="5715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9"/>
                    <a:pt x="0" y="12"/>
                  </a:cubicBezTo>
                  <a:cubicBezTo>
                    <a:pt x="0" y="5"/>
                    <a:pt x="5" y="0"/>
                    <a:pt x="12" y="0"/>
                  </a:cubicBezTo>
                  <a:cubicBezTo>
                    <a:pt x="18" y="0"/>
                    <a:pt x="24" y="5"/>
                    <a:pt x="24" y="12"/>
                  </a:cubicBezTo>
                  <a:cubicBezTo>
                    <a:pt x="24" y="19"/>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263"/>
              <a:endParaRPr lang="en-US" sz="4323">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grpSp>
        <p:nvGrpSpPr>
          <p:cNvPr id="80" name="Grupo 79">
            <a:extLst>
              <a:ext uri="{FF2B5EF4-FFF2-40B4-BE49-F238E27FC236}">
                <a16:creationId xmlns:a16="http://schemas.microsoft.com/office/drawing/2014/main" id="{F7AB3272-B80D-63A8-41EE-F46D51996D25}"/>
              </a:ext>
            </a:extLst>
          </p:cNvPr>
          <p:cNvGrpSpPr/>
          <p:nvPr/>
        </p:nvGrpSpPr>
        <p:grpSpPr>
          <a:xfrm>
            <a:off x="8751780" y="2630262"/>
            <a:ext cx="562467" cy="484674"/>
            <a:chOff x="3396568" y="5931108"/>
            <a:chExt cx="574701" cy="495216"/>
          </a:xfrm>
          <a:solidFill>
            <a:schemeClr val="bg1"/>
          </a:solidFill>
        </p:grpSpPr>
        <p:sp>
          <p:nvSpPr>
            <p:cNvPr id="8" name="Forma libre 7">
              <a:extLst>
                <a:ext uri="{FF2B5EF4-FFF2-40B4-BE49-F238E27FC236}">
                  <a16:creationId xmlns:a16="http://schemas.microsoft.com/office/drawing/2014/main" id="{7F7B88F9-1360-8702-9F40-85D0A8C439A9}"/>
                </a:ext>
              </a:extLst>
            </p:cNvPr>
            <p:cNvSpPr/>
            <p:nvPr/>
          </p:nvSpPr>
          <p:spPr>
            <a:xfrm>
              <a:off x="3396568" y="5931108"/>
              <a:ext cx="574701" cy="495216"/>
            </a:xfrm>
            <a:custGeom>
              <a:avLst/>
              <a:gdLst>
                <a:gd name="connsiteX0" fmla="*/ 4745757 w 4827993"/>
                <a:gd name="connsiteY0" fmla="*/ 3606155 h 4160250"/>
                <a:gd name="connsiteX1" fmla="*/ 576386 w 4827993"/>
                <a:gd name="connsiteY1" fmla="*/ 3606155 h 4160250"/>
                <a:gd name="connsiteX2" fmla="*/ 576386 w 4827993"/>
                <a:gd name="connsiteY2" fmla="*/ 82319 h 4160250"/>
                <a:gd name="connsiteX3" fmla="*/ 494106 w 4827993"/>
                <a:gd name="connsiteY3" fmla="*/ 0 h 4160250"/>
                <a:gd name="connsiteX4" fmla="*/ 411788 w 4827993"/>
                <a:gd name="connsiteY4" fmla="*/ 82319 h 4160250"/>
                <a:gd name="connsiteX5" fmla="*/ 411788 w 4827993"/>
                <a:gd name="connsiteY5" fmla="*/ 890387 h 4160250"/>
                <a:gd name="connsiteX6" fmla="*/ 82280 w 4827993"/>
                <a:gd name="connsiteY6" fmla="*/ 890387 h 4160250"/>
                <a:gd name="connsiteX7" fmla="*/ 0 w 4827993"/>
                <a:gd name="connsiteY7" fmla="*/ 972705 h 4160250"/>
                <a:gd name="connsiteX8" fmla="*/ 82280 w 4827993"/>
                <a:gd name="connsiteY8" fmla="*/ 1054986 h 4160250"/>
                <a:gd name="connsiteX9" fmla="*/ 411788 w 4827993"/>
                <a:gd name="connsiteY9" fmla="*/ 1054986 h 4160250"/>
                <a:gd name="connsiteX10" fmla="*/ 411788 w 4827993"/>
                <a:gd name="connsiteY10" fmla="*/ 2014302 h 4160250"/>
                <a:gd name="connsiteX11" fmla="*/ 82280 w 4827993"/>
                <a:gd name="connsiteY11" fmla="*/ 2014302 h 4160250"/>
                <a:gd name="connsiteX12" fmla="*/ 0 w 4827993"/>
                <a:gd name="connsiteY12" fmla="*/ 2096583 h 4160250"/>
                <a:gd name="connsiteX13" fmla="*/ 82280 w 4827993"/>
                <a:gd name="connsiteY13" fmla="*/ 2178863 h 4160250"/>
                <a:gd name="connsiteX14" fmla="*/ 411788 w 4827993"/>
                <a:gd name="connsiteY14" fmla="*/ 2178863 h 4160250"/>
                <a:gd name="connsiteX15" fmla="*/ 411788 w 4827993"/>
                <a:gd name="connsiteY15" fmla="*/ 3138601 h 4160250"/>
                <a:gd name="connsiteX16" fmla="*/ 82280 w 4827993"/>
                <a:gd name="connsiteY16" fmla="*/ 3138601 h 4160250"/>
                <a:gd name="connsiteX17" fmla="*/ 0 w 4827993"/>
                <a:gd name="connsiteY17" fmla="*/ 3220920 h 4160250"/>
                <a:gd name="connsiteX18" fmla="*/ 82280 w 4827993"/>
                <a:gd name="connsiteY18" fmla="*/ 3303200 h 4160250"/>
                <a:gd name="connsiteX19" fmla="*/ 411788 w 4827993"/>
                <a:gd name="connsiteY19" fmla="*/ 3303200 h 4160250"/>
                <a:gd name="connsiteX20" fmla="*/ 411788 w 4827993"/>
                <a:gd name="connsiteY20" fmla="*/ 3688424 h 4160250"/>
                <a:gd name="connsiteX21" fmla="*/ 494106 w 4827993"/>
                <a:gd name="connsiteY21" fmla="*/ 3770704 h 4160250"/>
                <a:gd name="connsiteX22" fmla="*/ 923799 w 4827993"/>
                <a:gd name="connsiteY22" fmla="*/ 3770704 h 4160250"/>
                <a:gd name="connsiteX23" fmla="*/ 923799 w 4827993"/>
                <a:gd name="connsiteY23" fmla="*/ 4077933 h 4160250"/>
                <a:gd name="connsiteX24" fmla="*/ 1006079 w 4827993"/>
                <a:gd name="connsiteY24" fmla="*/ 4160251 h 4160250"/>
                <a:gd name="connsiteX25" fmla="*/ 1088360 w 4827993"/>
                <a:gd name="connsiteY25" fmla="*/ 4077933 h 4160250"/>
                <a:gd name="connsiteX26" fmla="*/ 1088360 w 4827993"/>
                <a:gd name="connsiteY26" fmla="*/ 3770704 h 4160250"/>
                <a:gd name="connsiteX27" fmla="*/ 1981124 w 4827993"/>
                <a:gd name="connsiteY27" fmla="*/ 3770704 h 4160250"/>
                <a:gd name="connsiteX28" fmla="*/ 1981124 w 4827993"/>
                <a:gd name="connsiteY28" fmla="*/ 4077933 h 4160250"/>
                <a:gd name="connsiteX29" fmla="*/ 2063405 w 4827993"/>
                <a:gd name="connsiteY29" fmla="*/ 4160251 h 4160250"/>
                <a:gd name="connsiteX30" fmla="*/ 2145723 w 4827993"/>
                <a:gd name="connsiteY30" fmla="*/ 4077933 h 4160250"/>
                <a:gd name="connsiteX31" fmla="*/ 2145723 w 4827993"/>
                <a:gd name="connsiteY31" fmla="*/ 3770704 h 4160250"/>
                <a:gd name="connsiteX32" fmla="*/ 3038449 w 4827993"/>
                <a:gd name="connsiteY32" fmla="*/ 3770704 h 4160250"/>
                <a:gd name="connsiteX33" fmla="*/ 3038449 w 4827993"/>
                <a:gd name="connsiteY33" fmla="*/ 4077933 h 4160250"/>
                <a:gd name="connsiteX34" fmla="*/ 3120767 w 4827993"/>
                <a:gd name="connsiteY34" fmla="*/ 4160251 h 4160250"/>
                <a:gd name="connsiteX35" fmla="*/ 3203048 w 4827993"/>
                <a:gd name="connsiteY35" fmla="*/ 4077933 h 4160250"/>
                <a:gd name="connsiteX36" fmla="*/ 3203048 w 4827993"/>
                <a:gd name="connsiteY36" fmla="*/ 3770704 h 4160250"/>
                <a:gd name="connsiteX37" fmla="*/ 4095812 w 4827993"/>
                <a:gd name="connsiteY37" fmla="*/ 3770704 h 4160250"/>
                <a:gd name="connsiteX38" fmla="*/ 4095812 w 4827993"/>
                <a:gd name="connsiteY38" fmla="*/ 4077933 h 4160250"/>
                <a:gd name="connsiteX39" fmla="*/ 4178093 w 4827993"/>
                <a:gd name="connsiteY39" fmla="*/ 4160251 h 4160250"/>
                <a:gd name="connsiteX40" fmla="*/ 4260373 w 4827993"/>
                <a:gd name="connsiteY40" fmla="*/ 4077933 h 4160250"/>
                <a:gd name="connsiteX41" fmla="*/ 4260373 w 4827993"/>
                <a:gd name="connsiteY41" fmla="*/ 3770704 h 4160250"/>
                <a:gd name="connsiteX42" fmla="*/ 4745714 w 4827993"/>
                <a:gd name="connsiteY42" fmla="*/ 3770704 h 4160250"/>
                <a:gd name="connsiteX43" fmla="*/ 4827994 w 4827993"/>
                <a:gd name="connsiteY43" fmla="*/ 3688424 h 4160250"/>
                <a:gd name="connsiteX44" fmla="*/ 4745714 w 4827993"/>
                <a:gd name="connsiteY44" fmla="*/ 3606105 h 416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7993" h="4160250">
                  <a:moveTo>
                    <a:pt x="4745757" y="3606155"/>
                  </a:moveTo>
                  <a:lnTo>
                    <a:pt x="576386" y="3606155"/>
                  </a:lnTo>
                  <a:lnTo>
                    <a:pt x="576386" y="82319"/>
                  </a:lnTo>
                  <a:cubicBezTo>
                    <a:pt x="576386" y="36854"/>
                    <a:pt x="539533" y="0"/>
                    <a:pt x="494106" y="0"/>
                  </a:cubicBezTo>
                  <a:cubicBezTo>
                    <a:pt x="448642" y="0"/>
                    <a:pt x="411788" y="36854"/>
                    <a:pt x="411788" y="82319"/>
                  </a:cubicBezTo>
                  <a:lnTo>
                    <a:pt x="411788" y="890387"/>
                  </a:lnTo>
                  <a:lnTo>
                    <a:pt x="82280" y="890387"/>
                  </a:lnTo>
                  <a:cubicBezTo>
                    <a:pt x="36816" y="890387"/>
                    <a:pt x="0" y="927241"/>
                    <a:pt x="0" y="972705"/>
                  </a:cubicBezTo>
                  <a:cubicBezTo>
                    <a:pt x="0" y="1018132"/>
                    <a:pt x="36816" y="1054986"/>
                    <a:pt x="82280" y="1054986"/>
                  </a:cubicBezTo>
                  <a:lnTo>
                    <a:pt x="411788" y="1054986"/>
                  </a:lnTo>
                  <a:lnTo>
                    <a:pt x="411788" y="2014302"/>
                  </a:lnTo>
                  <a:lnTo>
                    <a:pt x="82280" y="2014302"/>
                  </a:lnTo>
                  <a:cubicBezTo>
                    <a:pt x="36816" y="2014302"/>
                    <a:pt x="0" y="2051118"/>
                    <a:pt x="0" y="2096583"/>
                  </a:cubicBezTo>
                  <a:cubicBezTo>
                    <a:pt x="0" y="2142047"/>
                    <a:pt x="36816" y="2178863"/>
                    <a:pt x="82280" y="2178863"/>
                  </a:cubicBezTo>
                  <a:lnTo>
                    <a:pt x="411788" y="2178863"/>
                  </a:lnTo>
                  <a:lnTo>
                    <a:pt x="411788" y="3138601"/>
                  </a:lnTo>
                  <a:lnTo>
                    <a:pt x="82280" y="3138601"/>
                  </a:lnTo>
                  <a:cubicBezTo>
                    <a:pt x="36816" y="3138601"/>
                    <a:pt x="0" y="3175455"/>
                    <a:pt x="0" y="3220920"/>
                  </a:cubicBezTo>
                  <a:cubicBezTo>
                    <a:pt x="0" y="3266346"/>
                    <a:pt x="36816" y="3303200"/>
                    <a:pt x="82280" y="3303200"/>
                  </a:cubicBezTo>
                  <a:lnTo>
                    <a:pt x="411788" y="3303200"/>
                  </a:lnTo>
                  <a:lnTo>
                    <a:pt x="411788" y="3688424"/>
                  </a:lnTo>
                  <a:cubicBezTo>
                    <a:pt x="411788" y="3733850"/>
                    <a:pt x="448642" y="3770704"/>
                    <a:pt x="494106" y="3770704"/>
                  </a:cubicBezTo>
                  <a:lnTo>
                    <a:pt x="923799" y="3770704"/>
                  </a:lnTo>
                  <a:lnTo>
                    <a:pt x="923799" y="4077933"/>
                  </a:lnTo>
                  <a:cubicBezTo>
                    <a:pt x="923799" y="4123397"/>
                    <a:pt x="960615" y="4160251"/>
                    <a:pt x="1006079" y="4160251"/>
                  </a:cubicBezTo>
                  <a:cubicBezTo>
                    <a:pt x="1051544" y="4160251"/>
                    <a:pt x="1088360" y="4123397"/>
                    <a:pt x="1088360" y="4077933"/>
                  </a:cubicBezTo>
                  <a:lnTo>
                    <a:pt x="1088360" y="3770704"/>
                  </a:lnTo>
                  <a:lnTo>
                    <a:pt x="1981124" y="3770704"/>
                  </a:lnTo>
                  <a:lnTo>
                    <a:pt x="1981124" y="4077933"/>
                  </a:lnTo>
                  <a:cubicBezTo>
                    <a:pt x="1981124" y="4123397"/>
                    <a:pt x="2017978" y="4160251"/>
                    <a:pt x="2063405" y="4160251"/>
                  </a:cubicBezTo>
                  <a:cubicBezTo>
                    <a:pt x="2108870" y="4160251"/>
                    <a:pt x="2145723" y="4123397"/>
                    <a:pt x="2145723" y="4077933"/>
                  </a:cubicBezTo>
                  <a:lnTo>
                    <a:pt x="2145723" y="3770704"/>
                  </a:lnTo>
                  <a:lnTo>
                    <a:pt x="3038449" y="3770704"/>
                  </a:lnTo>
                  <a:lnTo>
                    <a:pt x="3038449" y="4077933"/>
                  </a:lnTo>
                  <a:cubicBezTo>
                    <a:pt x="3038449" y="4123397"/>
                    <a:pt x="3075303" y="4160251"/>
                    <a:pt x="3120767" y="4160251"/>
                  </a:cubicBezTo>
                  <a:cubicBezTo>
                    <a:pt x="3166194" y="4160251"/>
                    <a:pt x="3203048" y="4123397"/>
                    <a:pt x="3203048" y="4077933"/>
                  </a:cubicBezTo>
                  <a:lnTo>
                    <a:pt x="3203048" y="3770704"/>
                  </a:lnTo>
                  <a:lnTo>
                    <a:pt x="4095812" y="3770704"/>
                  </a:lnTo>
                  <a:lnTo>
                    <a:pt x="4095812" y="4077933"/>
                  </a:lnTo>
                  <a:cubicBezTo>
                    <a:pt x="4095812" y="4123397"/>
                    <a:pt x="4132628" y="4160251"/>
                    <a:pt x="4178093" y="4160251"/>
                  </a:cubicBezTo>
                  <a:cubicBezTo>
                    <a:pt x="4223557" y="4160251"/>
                    <a:pt x="4260373" y="4123397"/>
                    <a:pt x="4260373" y="4077933"/>
                  </a:cubicBezTo>
                  <a:lnTo>
                    <a:pt x="4260373" y="3770704"/>
                  </a:lnTo>
                  <a:lnTo>
                    <a:pt x="4745714" y="3770704"/>
                  </a:lnTo>
                  <a:cubicBezTo>
                    <a:pt x="4791179" y="3770704"/>
                    <a:pt x="4827994" y="3733850"/>
                    <a:pt x="4827994" y="3688424"/>
                  </a:cubicBezTo>
                  <a:cubicBezTo>
                    <a:pt x="4827994" y="3642959"/>
                    <a:pt x="4791179" y="3606105"/>
                    <a:pt x="4745714" y="3606105"/>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orma libre 9">
              <a:extLst>
                <a:ext uri="{FF2B5EF4-FFF2-40B4-BE49-F238E27FC236}">
                  <a16:creationId xmlns:a16="http://schemas.microsoft.com/office/drawing/2014/main" id="{B084185E-213B-5693-F870-1AD8BA139122}"/>
                </a:ext>
              </a:extLst>
            </p:cNvPr>
            <p:cNvSpPr/>
            <p:nvPr/>
          </p:nvSpPr>
          <p:spPr>
            <a:xfrm>
              <a:off x="3518460" y="5985514"/>
              <a:ext cx="419633" cy="310971"/>
            </a:xfrm>
            <a:custGeom>
              <a:avLst/>
              <a:gdLst>
                <a:gd name="connsiteX0" fmla="*/ 36664 w 3525285"/>
                <a:gd name="connsiteY0" fmla="*/ 2598593 h 2612428"/>
                <a:gd name="connsiteX1" fmla="*/ 150781 w 3525285"/>
                <a:gd name="connsiteY1" fmla="*/ 2575746 h 2612428"/>
                <a:gd name="connsiteX2" fmla="*/ 818368 w 3525285"/>
                <a:gd name="connsiteY2" fmla="*/ 1574380 h 2612428"/>
                <a:gd name="connsiteX3" fmla="*/ 1261346 w 3525285"/>
                <a:gd name="connsiteY3" fmla="*/ 2210127 h 2612428"/>
                <a:gd name="connsiteX4" fmla="*/ 1318751 w 3525285"/>
                <a:gd name="connsiteY4" fmla="*/ 2244722 h 2612428"/>
                <a:gd name="connsiteX5" fmla="*/ 1382854 w 3525285"/>
                <a:gd name="connsiteY5" fmla="*/ 2225128 h 2612428"/>
                <a:gd name="connsiteX6" fmla="*/ 2095096 w 3525285"/>
                <a:gd name="connsiteY6" fmla="*/ 1605615 h 2612428"/>
                <a:gd name="connsiteX7" fmla="*/ 2564135 w 3525285"/>
                <a:gd name="connsiteY7" fmla="*/ 2039639 h 2612428"/>
                <a:gd name="connsiteX8" fmla="*/ 2636925 w 3525285"/>
                <a:gd name="connsiteY8" fmla="*/ 2059883 h 2612428"/>
                <a:gd name="connsiteX9" fmla="*/ 2695554 w 3525285"/>
                <a:gd name="connsiteY9" fmla="*/ 2012237 h 2612428"/>
                <a:gd name="connsiteX10" fmla="*/ 3518779 w 3525285"/>
                <a:gd name="connsiteY10" fmla="*/ 114334 h 2612428"/>
                <a:gd name="connsiteX11" fmla="*/ 3475726 w 3525285"/>
                <a:gd name="connsiteY11" fmla="*/ 6830 h 2612428"/>
                <a:gd name="connsiteX12" fmla="*/ 3367761 w 3525285"/>
                <a:gd name="connsiteY12" fmla="*/ 48813 h 2612428"/>
                <a:gd name="connsiteX13" fmla="*/ 2590613 w 3525285"/>
                <a:gd name="connsiteY13" fmla="*/ 1840025 h 2612428"/>
                <a:gd name="connsiteX14" fmla="*/ 2152651 w 3525285"/>
                <a:gd name="connsiteY14" fmla="*/ 1434707 h 2612428"/>
                <a:gd name="connsiteX15" fmla="*/ 2042932 w 3525285"/>
                <a:gd name="connsiteY15" fmla="*/ 1433023 h 2612428"/>
                <a:gd name="connsiteX16" fmla="*/ 1343965 w 3525285"/>
                <a:gd name="connsiteY16" fmla="*/ 2040671 h 2612428"/>
                <a:gd name="connsiteX17" fmla="*/ 884381 w 3525285"/>
                <a:gd name="connsiteY17" fmla="*/ 1381275 h 2612428"/>
                <a:gd name="connsiteX18" fmla="*/ 815992 w 3525285"/>
                <a:gd name="connsiteY18" fmla="*/ 1346028 h 2612428"/>
                <a:gd name="connsiteX19" fmla="*/ 748408 w 3525285"/>
                <a:gd name="connsiteY19" fmla="*/ 1382690 h 2612428"/>
                <a:gd name="connsiteX20" fmla="*/ 13847 w 3525285"/>
                <a:gd name="connsiteY20" fmla="*/ 2484477 h 2612428"/>
                <a:gd name="connsiteX21" fmla="*/ 1601 w 3525285"/>
                <a:gd name="connsiteY21" fmla="*/ 2546283 h 2612428"/>
                <a:gd name="connsiteX22" fmla="*/ 36656 w 3525285"/>
                <a:gd name="connsiteY22" fmla="*/ 2598637 h 261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285" h="2612428">
                  <a:moveTo>
                    <a:pt x="36664" y="2598593"/>
                  </a:moveTo>
                  <a:cubicBezTo>
                    <a:pt x="74475" y="2623813"/>
                    <a:pt x="125565" y="2613594"/>
                    <a:pt x="150781" y="2575746"/>
                  </a:cubicBezTo>
                  <a:lnTo>
                    <a:pt x="818368" y="1574380"/>
                  </a:lnTo>
                  <a:lnTo>
                    <a:pt x="1261346" y="2210127"/>
                  </a:lnTo>
                  <a:cubicBezTo>
                    <a:pt x="1274702" y="2229261"/>
                    <a:pt x="1295560" y="2241853"/>
                    <a:pt x="1318751" y="2244722"/>
                  </a:cubicBezTo>
                  <a:cubicBezTo>
                    <a:pt x="1341943" y="2247592"/>
                    <a:pt x="1365250" y="2240474"/>
                    <a:pt x="1382854" y="2225128"/>
                  </a:cubicBezTo>
                  <a:lnTo>
                    <a:pt x="2095096" y="1605615"/>
                  </a:lnTo>
                  <a:lnTo>
                    <a:pt x="2564135" y="2039639"/>
                  </a:lnTo>
                  <a:cubicBezTo>
                    <a:pt x="2583691" y="2057779"/>
                    <a:pt x="2610824" y="2065318"/>
                    <a:pt x="2636925" y="2059883"/>
                  </a:cubicBezTo>
                  <a:cubicBezTo>
                    <a:pt x="2663025" y="2054411"/>
                    <a:pt x="2684877" y="2036653"/>
                    <a:pt x="2695554" y="2012237"/>
                  </a:cubicBezTo>
                  <a:lnTo>
                    <a:pt x="3518779" y="114334"/>
                  </a:lnTo>
                  <a:cubicBezTo>
                    <a:pt x="3536346" y="72735"/>
                    <a:pt x="3517133" y="24783"/>
                    <a:pt x="3475726" y="6830"/>
                  </a:cubicBezTo>
                  <a:cubicBezTo>
                    <a:pt x="3434317" y="-11156"/>
                    <a:pt x="3386136" y="7596"/>
                    <a:pt x="3367761" y="48813"/>
                  </a:cubicBezTo>
                  <a:lnTo>
                    <a:pt x="2590613" y="1840025"/>
                  </a:lnTo>
                  <a:lnTo>
                    <a:pt x="2152651" y="1434707"/>
                  </a:lnTo>
                  <a:cubicBezTo>
                    <a:pt x="2121844" y="1406273"/>
                    <a:pt x="2074579" y="1405545"/>
                    <a:pt x="2042932" y="1433023"/>
                  </a:cubicBezTo>
                  <a:lnTo>
                    <a:pt x="1343965" y="2040671"/>
                  </a:lnTo>
                  <a:lnTo>
                    <a:pt x="884381" y="1381275"/>
                  </a:lnTo>
                  <a:cubicBezTo>
                    <a:pt x="868270" y="1359537"/>
                    <a:pt x="843011" y="1346525"/>
                    <a:pt x="815992" y="1346028"/>
                  </a:cubicBezTo>
                  <a:cubicBezTo>
                    <a:pt x="788783" y="1346334"/>
                    <a:pt x="763485" y="1360034"/>
                    <a:pt x="748408" y="1382690"/>
                  </a:cubicBezTo>
                  <a:lnTo>
                    <a:pt x="13847" y="2484477"/>
                  </a:lnTo>
                  <a:cubicBezTo>
                    <a:pt x="1715" y="2502617"/>
                    <a:pt x="-2685" y="2524852"/>
                    <a:pt x="1601" y="2546283"/>
                  </a:cubicBezTo>
                  <a:cubicBezTo>
                    <a:pt x="5849" y="2567676"/>
                    <a:pt x="18478" y="2586506"/>
                    <a:pt x="36656" y="2598637"/>
                  </a:cubicBezTo>
                  <a:close/>
                </a:path>
              </a:pathLst>
            </a:custGeom>
            <a:grpFill/>
            <a:ln w="9797" cap="flat">
              <a:noFill/>
              <a:prstDash val="solid"/>
              <a:miter/>
            </a:ln>
          </p:spPr>
          <p:txBody>
            <a:bodyPr rtlCol="0" anchor="ct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5" name="Footer Placeholder 4">
            <a:extLst>
              <a:ext uri="{FF2B5EF4-FFF2-40B4-BE49-F238E27FC236}">
                <a16:creationId xmlns:a16="http://schemas.microsoft.com/office/drawing/2014/main" id="{DC7F8764-9F76-ED75-B904-D21EF3B96AB1}"/>
              </a:ext>
            </a:extLst>
          </p:cNvPr>
          <p:cNvSpPr>
            <a:spLocks noGrp="1"/>
          </p:cNvSpPr>
          <p:nvPr>
            <p:ph type="ftr" sz="quarter" idx="3"/>
          </p:nvPr>
        </p:nvSpPr>
        <p:spPr/>
        <p:txBody>
          <a:bodyPr/>
          <a:lstStyle/>
          <a:p>
            <a:r>
              <a:rPr lang="en-US"/>
              <a:t>Source:_______</a:t>
            </a:r>
            <a:endParaRPr lang="en-US" dirty="0"/>
          </a:p>
        </p:txBody>
      </p:sp>
      <p:sp>
        <p:nvSpPr>
          <p:cNvPr id="12" name="Título 11">
            <a:extLst>
              <a:ext uri="{FF2B5EF4-FFF2-40B4-BE49-F238E27FC236}">
                <a16:creationId xmlns:a16="http://schemas.microsoft.com/office/drawing/2014/main" id="{B62BEF11-4EE5-ABDC-9B63-308965F041D1}"/>
              </a:ext>
            </a:extLst>
          </p:cNvPr>
          <p:cNvSpPr>
            <a:spLocks noGrp="1"/>
          </p:cNvSpPr>
          <p:nvPr>
            <p:ph type="title"/>
          </p:nvPr>
        </p:nvSpPr>
        <p:spPr/>
        <p:txBody>
          <a:bodyPr vert="horz"/>
          <a:lstStyle/>
          <a:p>
            <a:r>
              <a:rPr lang="en-US" dirty="0"/>
              <a:t>Template – Table of Contents</a:t>
            </a:r>
          </a:p>
        </p:txBody>
      </p:sp>
    </p:spTree>
    <p:extLst>
      <p:ext uri="{BB962C8B-B14F-4D97-AF65-F5344CB8AC3E}">
        <p14:creationId xmlns:p14="http://schemas.microsoft.com/office/powerpoint/2010/main" val="2204798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486457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Marcador de texto 2">
            <a:extLst>
              <a:ext uri="{FF2B5EF4-FFF2-40B4-BE49-F238E27FC236}">
                <a16:creationId xmlns:a16="http://schemas.microsoft.com/office/drawing/2014/main" id="{41AB0A6A-49CF-2011-10E9-7FB531D78C0B}"/>
              </a:ext>
            </a:extLst>
          </p:cNvPr>
          <p:cNvSpPr>
            <a:spLocks noGrp="1"/>
          </p:cNvSpPr>
          <p:nvPr>
            <p:ph type="body" sz="quarter" idx="14"/>
          </p:nvPr>
        </p:nvSpPr>
        <p:spPr/>
        <p:txBody>
          <a:bodyPr/>
          <a:lstStyle/>
          <a:p>
            <a:r>
              <a:rPr lang="en-US" dirty="0"/>
              <a:t>Subtitle</a:t>
            </a:r>
          </a:p>
        </p:txBody>
      </p:sp>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t>Template - Content slide</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10629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1518962"/>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68328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49815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82829190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11" name="Rectangle 89">
            <a:extLst>
              <a:ext uri="{FF2B5EF4-FFF2-40B4-BE49-F238E27FC236}">
                <a16:creationId xmlns:a16="http://schemas.microsoft.com/office/drawing/2014/main" id="{398EEB03-91D2-2C19-C72F-D0EDB86FBBDF}"/>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24">
            <a:extLst>
              <a:ext uri="{FF2B5EF4-FFF2-40B4-BE49-F238E27FC236}">
                <a16:creationId xmlns:a16="http://schemas.microsoft.com/office/drawing/2014/main" id="{93716B9C-D954-F375-01A1-87A1623EB0C1}"/>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7" name="TextBox 25">
            <a:extLst>
              <a:ext uri="{FF2B5EF4-FFF2-40B4-BE49-F238E27FC236}">
                <a16:creationId xmlns:a16="http://schemas.microsoft.com/office/drawing/2014/main" id="{1547238C-1F04-1BC6-D017-B25679D1F647}"/>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8" name="Conector recto 17">
            <a:extLst>
              <a:ext uri="{FF2B5EF4-FFF2-40B4-BE49-F238E27FC236}">
                <a16:creationId xmlns:a16="http://schemas.microsoft.com/office/drawing/2014/main" id="{AC41CD96-11A1-E724-2497-9E4A4F489C44}"/>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4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781710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064279275"/>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1927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2804073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2256764127"/>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5">
            <a:extLst>
              <a:ext uri="{FF2B5EF4-FFF2-40B4-BE49-F238E27FC236}">
                <a16:creationId xmlns:a16="http://schemas.microsoft.com/office/drawing/2014/main" id="{DCA3F173-59D2-CBB9-04F1-5812CEF26BC5}"/>
              </a:ext>
            </a:extLst>
          </p:cNvPr>
          <p:cNvSpPr txBox="1"/>
          <p:nvPr/>
        </p:nvSpPr>
        <p:spPr>
          <a:xfrm>
            <a:off x="1934392"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A882A775-0664-86A9-E771-EE1C37ABF2DC}"/>
              </a:ext>
            </a:extLst>
          </p:cNvPr>
          <p:cNvSpPr txBox="1"/>
          <p:nvPr/>
        </p:nvSpPr>
        <p:spPr>
          <a:xfrm>
            <a:off x="4997690" y="2278236"/>
            <a:ext cx="2679490" cy="184666"/>
          </a:xfrm>
          <a:prstGeom prst="rect">
            <a:avLst/>
          </a:prstGeom>
          <a:noFill/>
        </p:spPr>
        <p:txBody>
          <a:bodyPr wrap="square" lIns="0" tIns="0" rIns="0" bIns="0" rtlCol="0" anchor="b">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5324412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43162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angle 89">
            <a:extLst>
              <a:ext uri="{FF2B5EF4-FFF2-40B4-BE49-F238E27FC236}">
                <a16:creationId xmlns:a16="http://schemas.microsoft.com/office/drawing/2014/main" id="{199CACA0-0601-C4B6-396E-A27ADDF5A784}"/>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321CF386-F1CD-BA2F-59C0-B91BA3FACE9E}"/>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FD4E7309-D367-5B43-7C9B-85270C168DA0}"/>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34DBF97-FDCC-C951-9F08-70013769C358}"/>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4145931198"/>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39942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2664080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2" name="Chart 1">
            <a:extLst>
              <a:ext uri="{FF2B5EF4-FFF2-40B4-BE49-F238E27FC236}">
                <a16:creationId xmlns:a16="http://schemas.microsoft.com/office/drawing/2014/main" id="{DAE85958-C9F9-2226-9827-ED18C2FCFEE0}"/>
              </a:ext>
            </a:extLst>
          </p:cNvPr>
          <p:cNvGraphicFramePr/>
          <p:nvPr>
            <p:extLst>
              <p:ext uri="{D42A27DB-BD31-4B8C-83A1-F6EECF244321}">
                <p14:modId xmlns:p14="http://schemas.microsoft.com/office/powerpoint/2010/main" val="1677844399"/>
              </p:ext>
            </p:extLst>
          </p:nvPr>
        </p:nvGraphicFramePr>
        <p:xfrm>
          <a:off x="544010" y="2009054"/>
          <a:ext cx="7685590"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6632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06306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786260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1306940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30" name="Picture 6" descr="Cerebral angiography">
            <a:extLst>
              <a:ext uri="{FF2B5EF4-FFF2-40B4-BE49-F238E27FC236}">
                <a16:creationId xmlns:a16="http://schemas.microsoft.com/office/drawing/2014/main" id="{1260C20D-986D-4F68-1FA3-DEF8831E63F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72554" y="645750"/>
            <a:ext cx="2405257" cy="2689588"/>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r>
              <a:rPr lang="en-US" dirty="0">
                <a:latin typeface="Arial" panose="020B0604020202020204" pitchFamily="34" charset="0"/>
                <a:cs typeface="Arial" panose="020B0604020202020204" pitchFamily="34" charset="0"/>
              </a:rPr>
              <a:t>Assuming access to an intraoperative MRI feed / fluoroscop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C7ECA23-5955-E29C-291F-9BDB73425BB6}"/>
              </a:ext>
            </a:extLst>
          </p:cNvPr>
          <p:cNvPicPr>
            <a:picLocks noChangeAspect="1"/>
          </p:cNvPicPr>
          <p:nvPr/>
        </p:nvPicPr>
        <p:blipFill rotWithShape="1">
          <a:blip r:embed="rId7"/>
          <a:srcRect l="14643" t="6149" r="14611" b="11986"/>
          <a:stretch/>
        </p:blipFill>
        <p:spPr>
          <a:xfrm>
            <a:off x="334297" y="866775"/>
            <a:ext cx="4953000" cy="1962150"/>
          </a:xfrm>
          <a:prstGeom prst="rect">
            <a:avLst/>
          </a:prstGeom>
        </p:spPr>
      </p:pic>
      <p:pic>
        <p:nvPicPr>
          <p:cNvPr id="5" name="Picture 4">
            <a:extLst>
              <a:ext uri="{FF2B5EF4-FFF2-40B4-BE49-F238E27FC236}">
                <a16:creationId xmlns:a16="http://schemas.microsoft.com/office/drawing/2014/main" id="{E08BA4B0-2761-DF5F-7BC9-C1335D9C9813}"/>
              </a:ext>
            </a:extLst>
          </p:cNvPr>
          <p:cNvPicPr>
            <a:picLocks noChangeAspect="1"/>
          </p:cNvPicPr>
          <p:nvPr/>
        </p:nvPicPr>
        <p:blipFill rotWithShape="1">
          <a:blip r:embed="rId8"/>
          <a:srcRect l="15229" t="1294" r="14990" b="6223"/>
          <a:stretch/>
        </p:blipFill>
        <p:spPr>
          <a:xfrm>
            <a:off x="354679" y="3135997"/>
            <a:ext cx="2968626" cy="3172728"/>
          </a:xfrm>
          <a:prstGeom prst="rect">
            <a:avLst/>
          </a:prstGeom>
        </p:spPr>
      </p:pic>
      <p:sp>
        <p:nvSpPr>
          <p:cNvPr id="13" name="TextBox 12">
            <a:extLst>
              <a:ext uri="{FF2B5EF4-FFF2-40B4-BE49-F238E27FC236}">
                <a16:creationId xmlns:a16="http://schemas.microsoft.com/office/drawing/2014/main" id="{A0B5FF70-6B09-7FDB-D906-311AD7DB9E17}"/>
              </a:ext>
            </a:extLst>
          </p:cNvPr>
          <p:cNvSpPr txBox="1"/>
          <p:nvPr/>
        </p:nvSpPr>
        <p:spPr>
          <a:xfrm>
            <a:off x="383216" y="6409583"/>
            <a:ext cx="11634668" cy="240681"/>
          </a:xfrm>
          <a:prstGeom prst="rect">
            <a:avLst/>
          </a:prstGeom>
        </p:spPr>
        <p:txBody>
          <a:bodyPr vert="horz" lIns="91440" tIns="45720" rIns="91440" bIns="45720" rtlCol="0" anchor="ctr">
            <a:noAutofit/>
          </a:bodyPr>
          <a:lstStyle>
            <a:defPPr>
              <a:defRPr lang="en-US"/>
            </a:defPPr>
            <a:lvl1pPr>
              <a:defRPr sz="1050">
                <a:solidFill>
                  <a:schemeClr val="tx1">
                    <a:tint val="75000"/>
                  </a:schemeClr>
                </a:solidFill>
              </a:defRPr>
            </a:lvl1pPr>
          </a:lstStyle>
          <a:p>
            <a:r>
              <a:rPr lang="en-US" sz="1100" dirty="0">
                <a:latin typeface="Calibri" panose="020F0502020204030204" pitchFamily="34" charset="0"/>
                <a:cs typeface="Calibri" panose="020F0502020204030204" pitchFamily="34" charset="0"/>
              </a:rPr>
              <a:t>Source: Intraoperative MRI-assisted neuro-port surgery for the resection of cerebral intraparenchymal cavernous malformation</a:t>
            </a:r>
            <a:r>
              <a:rPr lang="en-US" sz="1100" i="1" dirty="0">
                <a:latin typeface="Calibri" panose="020F0502020204030204" pitchFamily="34" charset="0"/>
                <a:cs typeface="Calibri" panose="020F0502020204030204" pitchFamily="34" charset="0"/>
              </a:rPr>
              <a:t> (</a:t>
            </a:r>
            <a:r>
              <a:rPr lang="en-US" sz="1100" i="1" dirty="0">
                <a:latin typeface="Calibri" panose="020F0502020204030204" pitchFamily="34" charset="0"/>
                <a:cs typeface="Calibri" panose="020F0502020204030204" pitchFamily="34" charset="0"/>
                <a:hlinkClick r:id="rId9"/>
              </a:rPr>
              <a:t>Chinese Neurological Journal</a:t>
            </a:r>
            <a:r>
              <a:rPr lang="en-US" sz="1100" i="1" dirty="0">
                <a:latin typeface="Calibri" panose="020F0502020204030204" pitchFamily="34" charset="0"/>
                <a:cs typeface="Calibri" panose="020F0502020204030204" pitchFamily="34" charset="0"/>
              </a:rPr>
              <a:t>; 9/11/19)</a:t>
            </a:r>
          </a:p>
        </p:txBody>
      </p:sp>
      <p:sp>
        <p:nvSpPr>
          <p:cNvPr id="17" name="TextBox 16">
            <a:extLst>
              <a:ext uri="{FF2B5EF4-FFF2-40B4-BE49-F238E27FC236}">
                <a16:creationId xmlns:a16="http://schemas.microsoft.com/office/drawing/2014/main" id="{50C6E9AA-8D7A-D9DD-A470-E0644948D810}"/>
              </a:ext>
            </a:extLst>
          </p:cNvPr>
          <p:cNvSpPr txBox="1"/>
          <p:nvPr/>
        </p:nvSpPr>
        <p:spPr>
          <a:xfrm>
            <a:off x="466101" y="2828925"/>
            <a:ext cx="4689392" cy="297044"/>
          </a:xfrm>
          <a:prstGeom prst="rect">
            <a:avLst/>
          </a:prstGeom>
          <a:noFill/>
        </p:spPr>
        <p:txBody>
          <a:bodyPr wrap="square" lIns="0" tIns="0" rIns="0" bIns="0" rtlCol="0">
            <a:noAutofit/>
          </a:bodyPr>
          <a:lstStyle/>
          <a:p>
            <a:pPr algn="l"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1 </a:t>
            </a:r>
            <a:r>
              <a:rPr lang="en-US" sz="1200" noProof="0" dirty="0">
                <a:latin typeface="Calibri" panose="020F0502020204030204" pitchFamily="34" charset="0"/>
                <a:cs typeface="Calibri" panose="020F0502020204030204" pitchFamily="34" charset="0"/>
              </a:rPr>
              <a:t>Preoperative T2flair inspection showing occupancy with hemorrhage</a:t>
            </a:r>
          </a:p>
        </p:txBody>
      </p:sp>
      <p:sp>
        <p:nvSpPr>
          <p:cNvPr id="18" name="TextBox 17">
            <a:extLst>
              <a:ext uri="{FF2B5EF4-FFF2-40B4-BE49-F238E27FC236}">
                <a16:creationId xmlns:a16="http://schemas.microsoft.com/office/drawing/2014/main" id="{E734D8B1-3618-5BEB-02BE-2FCDA767FBC6}"/>
              </a:ext>
            </a:extLst>
          </p:cNvPr>
          <p:cNvSpPr txBox="1"/>
          <p:nvPr/>
        </p:nvSpPr>
        <p:spPr>
          <a:xfrm>
            <a:off x="3529781"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2 </a:t>
            </a:r>
            <a:r>
              <a:rPr lang="en-US" sz="1200" noProof="0" dirty="0">
                <a:latin typeface="Calibri" panose="020F0502020204030204" pitchFamily="34" charset="0"/>
                <a:cs typeface="Calibri" panose="020F0502020204030204" pitchFamily="34" charset="0"/>
              </a:rPr>
              <a:t>Intraoperative MRI scan (T1) showing the occupancy and hemorrhage were totally removed</a:t>
            </a:r>
          </a:p>
        </p:txBody>
      </p:sp>
      <p:pic>
        <p:nvPicPr>
          <p:cNvPr id="1028" name="Picture 4" descr="BMI Biomedical International – R/F SYSTEMS">
            <a:extLst>
              <a:ext uri="{FF2B5EF4-FFF2-40B4-BE49-F238E27FC236}">
                <a16:creationId xmlns:a16="http://schemas.microsoft.com/office/drawing/2014/main" id="{F15F46D2-A4D4-C34B-78C6-133AEEC2D92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5576857" y="3511189"/>
            <a:ext cx="4587994" cy="281563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8118BA84-E5B2-3BA8-2A7C-901E4E156E39}"/>
              </a:ext>
            </a:extLst>
          </p:cNvPr>
          <p:cNvSpPr txBox="1"/>
          <p:nvPr/>
        </p:nvSpPr>
        <p:spPr>
          <a:xfrm>
            <a:off x="9886732" y="3934367"/>
            <a:ext cx="1757516" cy="1962150"/>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4 </a:t>
            </a:r>
            <a:r>
              <a:rPr lang="en-US" sz="1200" noProof="0" dirty="0">
                <a:latin typeface="Calibri" panose="020F0502020204030204" pitchFamily="34" charset="0"/>
                <a:cs typeface="Calibri" panose="020F0502020204030204" pitchFamily="34" charset="0"/>
              </a:rPr>
              <a:t>Patient is positioned on an examination table during fluoroscopy</a:t>
            </a:r>
          </a:p>
        </p:txBody>
      </p:sp>
      <p:sp>
        <p:nvSpPr>
          <p:cNvPr id="44" name="TextBox 43">
            <a:extLst>
              <a:ext uri="{FF2B5EF4-FFF2-40B4-BE49-F238E27FC236}">
                <a16:creationId xmlns:a16="http://schemas.microsoft.com/office/drawing/2014/main" id="{60561ECB-E9A5-42C6-8E48-263502776371}"/>
              </a:ext>
            </a:extLst>
          </p:cNvPr>
          <p:cNvSpPr txBox="1"/>
          <p:nvPr/>
        </p:nvSpPr>
        <p:spPr>
          <a:xfrm>
            <a:off x="9342432" y="2828925"/>
            <a:ext cx="2245613" cy="297044"/>
          </a:xfrm>
          <a:prstGeom prst="rect">
            <a:avLst/>
          </a:prstGeom>
          <a:noFill/>
        </p:spPr>
        <p:txBody>
          <a:bodyPr wrap="square" lIns="0" tIns="0" rIns="0" bIns="0" rtlCol="0">
            <a:noAutofit/>
          </a:bodyPr>
          <a:lstStyle/>
          <a:p>
            <a:pPr algn="l"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3 </a:t>
            </a:r>
            <a:r>
              <a:rPr lang="en-US" sz="1200" noProof="0" dirty="0">
                <a:latin typeface="Calibri" panose="020F0502020204030204" pitchFamily="34" charset="0"/>
                <a:cs typeface="Calibri" panose="020F0502020204030204" pitchFamily="34" charset="0"/>
              </a:rPr>
              <a:t>Scan from cerebral angiography (performed using fluoroscopy</a:t>
            </a:r>
          </a:p>
        </p:txBody>
      </p:sp>
    </p:spTree>
    <p:extLst>
      <p:ext uri="{BB962C8B-B14F-4D97-AF65-F5344CB8AC3E}">
        <p14:creationId xmlns:p14="http://schemas.microsoft.com/office/powerpoint/2010/main" val="40406200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48322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imple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140376645"/>
              </p:ext>
            </p:extLst>
          </p:nvPr>
        </p:nvGraphicFramePr>
        <p:xfrm>
          <a:off x="544009" y="1943738"/>
          <a:ext cx="11276515" cy="41119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9368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1485256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1847477432"/>
              </p:ext>
            </p:extLst>
          </p:nvPr>
        </p:nvGraphicFramePr>
        <p:xfrm>
          <a:off x="544009" y="1943738"/>
          <a:ext cx="10712012"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0820644" y="25498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0820644" y="413716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70750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1725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100% stack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2240234576"/>
              </p:ext>
            </p:extLst>
          </p:nvPr>
        </p:nvGraphicFramePr>
        <p:xfrm>
          <a:off x="544009" y="2218911"/>
          <a:ext cx="10792933" cy="383679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25">
            <a:extLst>
              <a:ext uri="{FF2B5EF4-FFF2-40B4-BE49-F238E27FC236}">
                <a16:creationId xmlns:a16="http://schemas.microsoft.com/office/drawing/2014/main" id="{B6B2E032-5A20-98E1-04EE-A9278ED52990}"/>
              </a:ext>
            </a:extLst>
          </p:cNvPr>
          <p:cNvSpPr txBox="1"/>
          <p:nvPr/>
        </p:nvSpPr>
        <p:spPr>
          <a:xfrm>
            <a:off x="11055312" y="2439489"/>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7" name="TextBox 25">
            <a:extLst>
              <a:ext uri="{FF2B5EF4-FFF2-40B4-BE49-F238E27FC236}">
                <a16:creationId xmlns:a16="http://schemas.microsoft.com/office/drawing/2014/main" id="{9FDB6CF3-D434-CFD1-2C44-437B70110B71}"/>
              </a:ext>
            </a:extLst>
          </p:cNvPr>
          <p:cNvSpPr txBox="1"/>
          <p:nvPr/>
        </p:nvSpPr>
        <p:spPr>
          <a:xfrm>
            <a:off x="11055312" y="4123051"/>
            <a:ext cx="765213"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946808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360410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Clustered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graphicFrame>
        <p:nvGraphicFramePr>
          <p:cNvPr id="15" name="Chart 1">
            <a:extLst>
              <a:ext uri="{FF2B5EF4-FFF2-40B4-BE49-F238E27FC236}">
                <a16:creationId xmlns:a16="http://schemas.microsoft.com/office/drawing/2014/main" id="{B7AC9780-9E48-4D58-6768-73DA46C7F13B}"/>
              </a:ext>
            </a:extLst>
          </p:cNvPr>
          <p:cNvGraphicFramePr/>
          <p:nvPr>
            <p:extLst>
              <p:ext uri="{D42A27DB-BD31-4B8C-83A1-F6EECF244321}">
                <p14:modId xmlns:p14="http://schemas.microsoft.com/office/powerpoint/2010/main" val="3522701704"/>
              </p:ext>
            </p:extLst>
          </p:nvPr>
        </p:nvGraphicFramePr>
        <p:xfrm>
          <a:off x="1774372" y="1878422"/>
          <a:ext cx="2287791"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25">
            <a:extLst>
              <a:ext uri="{FF2B5EF4-FFF2-40B4-BE49-F238E27FC236}">
                <a16:creationId xmlns:a16="http://schemas.microsoft.com/office/drawing/2014/main" id="{50841385-D4E7-9E65-CB50-3E1555899185}"/>
              </a:ext>
            </a:extLst>
          </p:cNvPr>
          <p:cNvSpPr txBox="1"/>
          <p:nvPr/>
        </p:nvSpPr>
        <p:spPr>
          <a:xfrm>
            <a:off x="2930232"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9" name="Chart 1">
            <a:extLst>
              <a:ext uri="{FF2B5EF4-FFF2-40B4-BE49-F238E27FC236}">
                <a16:creationId xmlns:a16="http://schemas.microsoft.com/office/drawing/2014/main" id="{A7E58F80-BC55-48D6-B419-5B67F675EC4C}"/>
              </a:ext>
            </a:extLst>
          </p:cNvPr>
          <p:cNvGraphicFramePr/>
          <p:nvPr>
            <p:extLst>
              <p:ext uri="{D42A27DB-BD31-4B8C-83A1-F6EECF244321}">
                <p14:modId xmlns:p14="http://schemas.microsoft.com/office/powerpoint/2010/main" val="1629877722"/>
              </p:ext>
            </p:extLst>
          </p:nvPr>
        </p:nvGraphicFramePr>
        <p:xfrm>
          <a:off x="3877405" y="1878422"/>
          <a:ext cx="2287791" cy="41119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25">
            <a:extLst>
              <a:ext uri="{FF2B5EF4-FFF2-40B4-BE49-F238E27FC236}">
                <a16:creationId xmlns:a16="http://schemas.microsoft.com/office/drawing/2014/main" id="{5C30A944-9C6A-063E-A1A6-B0D8CFD636BD}"/>
              </a:ext>
            </a:extLst>
          </p:cNvPr>
          <p:cNvSpPr txBox="1"/>
          <p:nvPr/>
        </p:nvSpPr>
        <p:spPr>
          <a:xfrm>
            <a:off x="5033265"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1" name="Chart 1">
            <a:extLst>
              <a:ext uri="{FF2B5EF4-FFF2-40B4-BE49-F238E27FC236}">
                <a16:creationId xmlns:a16="http://schemas.microsoft.com/office/drawing/2014/main" id="{5F02835D-E7AD-0309-80A7-33E3D96BBDB4}"/>
              </a:ext>
            </a:extLst>
          </p:cNvPr>
          <p:cNvGraphicFramePr/>
          <p:nvPr>
            <p:extLst>
              <p:ext uri="{D42A27DB-BD31-4B8C-83A1-F6EECF244321}">
                <p14:modId xmlns:p14="http://schemas.microsoft.com/office/powerpoint/2010/main" val="447698707"/>
              </p:ext>
            </p:extLst>
          </p:nvPr>
        </p:nvGraphicFramePr>
        <p:xfrm>
          <a:off x="5892976" y="1878422"/>
          <a:ext cx="2287791" cy="4111963"/>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25">
            <a:extLst>
              <a:ext uri="{FF2B5EF4-FFF2-40B4-BE49-F238E27FC236}">
                <a16:creationId xmlns:a16="http://schemas.microsoft.com/office/drawing/2014/main" id="{7E4E9BCA-B950-653F-84E5-1976C1764483}"/>
              </a:ext>
            </a:extLst>
          </p:cNvPr>
          <p:cNvSpPr txBox="1"/>
          <p:nvPr/>
        </p:nvSpPr>
        <p:spPr>
          <a:xfrm>
            <a:off x="7048836"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6" name="Chart 1">
            <a:extLst>
              <a:ext uri="{FF2B5EF4-FFF2-40B4-BE49-F238E27FC236}">
                <a16:creationId xmlns:a16="http://schemas.microsoft.com/office/drawing/2014/main" id="{6075921C-04D5-277B-173A-1013178BEA8D}"/>
              </a:ext>
            </a:extLst>
          </p:cNvPr>
          <p:cNvGraphicFramePr/>
          <p:nvPr>
            <p:extLst>
              <p:ext uri="{D42A27DB-BD31-4B8C-83A1-F6EECF244321}">
                <p14:modId xmlns:p14="http://schemas.microsoft.com/office/powerpoint/2010/main" val="2541412819"/>
              </p:ext>
            </p:extLst>
          </p:nvPr>
        </p:nvGraphicFramePr>
        <p:xfrm>
          <a:off x="7908547" y="1878422"/>
          <a:ext cx="2287791" cy="4111963"/>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Box 25">
            <a:extLst>
              <a:ext uri="{FF2B5EF4-FFF2-40B4-BE49-F238E27FC236}">
                <a16:creationId xmlns:a16="http://schemas.microsoft.com/office/drawing/2014/main" id="{D8FEB1C7-44C3-3101-27E6-F3AAAB8FA944}"/>
              </a:ext>
            </a:extLst>
          </p:cNvPr>
          <p:cNvSpPr txBox="1"/>
          <p:nvPr/>
        </p:nvSpPr>
        <p:spPr>
          <a:xfrm>
            <a:off x="9064407" y="2945873"/>
            <a:ext cx="649632"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8829276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extLst>
              <p:ext uri="{D42A27DB-BD31-4B8C-83A1-F6EECF244321}">
                <p14:modId xmlns:p14="http://schemas.microsoft.com/office/powerpoint/2010/main" val="4149162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4997827-6FF0-C438-C0D0-2E713D6112D8}"/>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dirty="0"/>
              <a:t>Template - Waterfall column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4" name="Conector recto 9">
            <a:extLst>
              <a:ext uri="{FF2B5EF4-FFF2-40B4-BE49-F238E27FC236}">
                <a16:creationId xmlns:a16="http://schemas.microsoft.com/office/drawing/2014/main" id="{4572A0A5-0A6B-F2CC-8A01-081DCCFA6DCA}"/>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197325E6-C1C3-F7D6-CCD7-433EB1F1F094}"/>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p:txBody>
          <a:bodyPr/>
          <a:lstStyle/>
          <a:p>
            <a:r>
              <a:rPr lang="en-US"/>
              <a:t>Source:_______</a:t>
            </a:r>
            <a:endParaRPr lang="en-US" dirty="0"/>
          </a:p>
        </p:txBody>
      </p:sp>
      <p:sp>
        <p:nvSpPr>
          <p:cNvPr id="7" name="Rectangle 89">
            <a:extLst>
              <a:ext uri="{FF2B5EF4-FFF2-40B4-BE49-F238E27FC236}">
                <a16:creationId xmlns:a16="http://schemas.microsoft.com/office/drawing/2014/main" id="{463C4B84-4394-02B8-BE52-3EB5576DA2D9}"/>
              </a:ext>
            </a:extLst>
          </p:cNvPr>
          <p:cNvSpPr/>
          <p:nvPr/>
        </p:nvSpPr>
        <p:spPr>
          <a:xfrm>
            <a:off x="8692587" y="1520825"/>
            <a:ext cx="3127942" cy="479107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68B091D6-892D-E005-5152-2267858BDE68}"/>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TextBox 25">
            <a:extLst>
              <a:ext uri="{FF2B5EF4-FFF2-40B4-BE49-F238E27FC236}">
                <a16:creationId xmlns:a16="http://schemas.microsoft.com/office/drawing/2014/main" id="{E4F85639-E90A-B119-AE7F-10D7B1948824}"/>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0" name="Conector recto 9">
            <a:extLst>
              <a:ext uri="{FF2B5EF4-FFF2-40B4-BE49-F238E27FC236}">
                <a16:creationId xmlns:a16="http://schemas.microsoft.com/office/drawing/2014/main" id="{5D2B2095-6C90-4DF5-A776-A5B7600B10BC}"/>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6" name="Gráfico 15">
                <a:extLst>
                  <a:ext uri="{FF2B5EF4-FFF2-40B4-BE49-F238E27FC236}">
                    <a16:creationId xmlns:a16="http://schemas.microsoft.com/office/drawing/2014/main" id="{41C00E96-A58B-0601-30AA-95491E9C7DC9}"/>
                  </a:ext>
                </a:extLst>
              </p:cNvPr>
              <p:cNvGraphicFramePr/>
              <p:nvPr>
                <p:extLst>
                  <p:ext uri="{D42A27DB-BD31-4B8C-83A1-F6EECF244321}">
                    <p14:modId xmlns:p14="http://schemas.microsoft.com/office/powerpoint/2010/main" val="4257952948"/>
                  </p:ext>
                </p:extLst>
              </p:nvPr>
            </p:nvGraphicFramePr>
            <p:xfrm>
              <a:off x="384174" y="2378283"/>
              <a:ext cx="7845426" cy="393992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6" name="Gráfico 15">
                <a:extLst>
                  <a:ext uri="{FF2B5EF4-FFF2-40B4-BE49-F238E27FC236}">
                    <a16:creationId xmlns:a16="http://schemas.microsoft.com/office/drawing/2014/main" id="{41C00E96-A58B-0601-30AA-95491E9C7DC9}"/>
                  </a:ext>
                </a:extLst>
              </p:cNvPr>
              <p:cNvPicPr>
                <a:picLocks noGrp="1" noRot="1" noChangeAspect="1" noMove="1" noResize="1" noEditPoints="1" noAdjustHandles="1" noChangeArrowheads="1" noChangeShapeType="1"/>
              </p:cNvPicPr>
              <p:nvPr/>
            </p:nvPicPr>
            <p:blipFill>
              <a:blip r:embed="rId7"/>
              <a:stretch>
                <a:fillRect/>
              </a:stretch>
            </p:blipFill>
            <p:spPr>
              <a:xfrm>
                <a:off x="384174" y="2378283"/>
                <a:ext cx="7845426" cy="3939929"/>
              </a:xfrm>
              <a:prstGeom prst="rect">
                <a:avLst/>
              </a:prstGeom>
            </p:spPr>
          </p:pic>
        </mc:Fallback>
      </mc:AlternateContent>
    </p:spTree>
    <p:extLst>
      <p:ext uri="{BB962C8B-B14F-4D97-AF65-F5344CB8AC3E}">
        <p14:creationId xmlns:p14="http://schemas.microsoft.com/office/powerpoint/2010/main" val="845116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3080FC9-F85E-9A72-7CAD-7709F27BED27}"/>
              </a:ext>
            </a:extLst>
          </p:cNvPr>
          <p:cNvGraphicFramePr>
            <a:graphicFrameLocks noChangeAspect="1"/>
          </p:cNvGraphicFramePr>
          <p:nvPr>
            <p:custDataLst>
              <p:tags r:id="rId1"/>
            </p:custDataLst>
            <p:extLst>
              <p:ext uri="{D42A27DB-BD31-4B8C-83A1-F6EECF244321}">
                <p14:modId xmlns:p14="http://schemas.microsoft.com/office/powerpoint/2010/main" val="44190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3080FC9-F85E-9A72-7CAD-7709F27BE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Conector recto 10">
            <a:extLst>
              <a:ext uri="{FF2B5EF4-FFF2-40B4-BE49-F238E27FC236}">
                <a16:creationId xmlns:a16="http://schemas.microsoft.com/office/drawing/2014/main" id="{729CBCEF-D063-B225-5683-D70BC29D4F99}"/>
              </a:ext>
            </a:extLst>
          </p:cNvPr>
          <p:cNvCxnSpPr>
            <a:cxnSpLocks/>
          </p:cNvCxnSpPr>
          <p:nvPr/>
        </p:nvCxnSpPr>
        <p:spPr>
          <a:xfrm flipV="1">
            <a:off x="2952750" y="4403725"/>
            <a:ext cx="0" cy="1363663"/>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FFF9458D-EE26-C983-14CF-4BCC40FA2BA9}"/>
              </a:ext>
            </a:extLst>
          </p:cNvPr>
          <p:cNvCxnSpPr>
            <a:cxnSpLocks/>
          </p:cNvCxnSpPr>
          <p:nvPr/>
        </p:nvCxnSpPr>
        <p:spPr>
          <a:xfrm flipV="1">
            <a:off x="2952750" y="3152775"/>
            <a:ext cx="0" cy="125095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0FD529A4-570A-C330-09AC-0655476B2830}"/>
              </a:ext>
            </a:extLst>
          </p:cNvPr>
          <p:cNvCxnSpPr>
            <a:cxnSpLocks/>
          </p:cNvCxnSpPr>
          <p:nvPr/>
        </p:nvCxnSpPr>
        <p:spPr>
          <a:xfrm flipV="1">
            <a:off x="4511675" y="4454525"/>
            <a:ext cx="0" cy="13104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2D18B3F2-C80B-11C5-5654-338C65C14B8B}"/>
              </a:ext>
            </a:extLst>
          </p:cNvPr>
          <p:cNvCxnSpPr>
            <a:cxnSpLocks/>
          </p:cNvCxnSpPr>
          <p:nvPr/>
        </p:nvCxnSpPr>
        <p:spPr>
          <a:xfrm flipV="1">
            <a:off x="4511675" y="3200400"/>
            <a:ext cx="0" cy="12541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C4C6BC0B-9C3F-47D2-DB75-560A753AB467}"/>
              </a:ext>
            </a:extLst>
          </p:cNvPr>
          <p:cNvCxnSpPr>
            <a:cxnSpLocks/>
          </p:cNvCxnSpPr>
          <p:nvPr/>
        </p:nvCxnSpPr>
        <p:spPr>
          <a:xfrm flipV="1">
            <a:off x="6089650" y="3908425"/>
            <a:ext cx="0" cy="1856581"/>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334317C-9EE3-576B-1EFA-29445AD06AFC}"/>
              </a:ext>
            </a:extLst>
          </p:cNvPr>
          <p:cNvCxnSpPr>
            <a:cxnSpLocks/>
          </p:cNvCxnSpPr>
          <p:nvPr/>
        </p:nvCxnSpPr>
        <p:spPr>
          <a:xfrm flipV="1">
            <a:off x="6089650" y="3038475"/>
            <a:ext cx="0" cy="90487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DE2C087D-4183-E9F6-BC0D-115A3593ECCA}"/>
              </a:ext>
            </a:extLst>
          </p:cNvPr>
          <p:cNvCxnSpPr>
            <a:cxnSpLocks/>
          </p:cNvCxnSpPr>
          <p:nvPr/>
        </p:nvCxnSpPr>
        <p:spPr>
          <a:xfrm flipV="1">
            <a:off x="7651750" y="3863975"/>
            <a:ext cx="0" cy="1901825"/>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AB9A9B05-C026-20D9-D567-F08614A4969E}"/>
              </a:ext>
            </a:extLst>
          </p:cNvPr>
          <p:cNvCxnSpPr>
            <a:cxnSpLocks/>
          </p:cNvCxnSpPr>
          <p:nvPr/>
        </p:nvCxnSpPr>
        <p:spPr>
          <a:xfrm flipV="1">
            <a:off x="7651750" y="3038475"/>
            <a:ext cx="0" cy="796925"/>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F778ECE9-32A8-0D62-273D-F5E8E8871E92}"/>
              </a:ext>
            </a:extLst>
          </p:cNvPr>
          <p:cNvCxnSpPr>
            <a:cxnSpLocks/>
          </p:cNvCxnSpPr>
          <p:nvPr/>
        </p:nvCxnSpPr>
        <p:spPr>
          <a:xfrm flipV="1">
            <a:off x="9229728" y="3562350"/>
            <a:ext cx="0" cy="215265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1570EAD6-B4A4-CD97-540C-96710E49E0FC}"/>
              </a:ext>
            </a:extLst>
          </p:cNvPr>
          <p:cNvCxnSpPr>
            <a:cxnSpLocks/>
          </p:cNvCxnSpPr>
          <p:nvPr/>
        </p:nvCxnSpPr>
        <p:spPr>
          <a:xfrm flipV="1">
            <a:off x="9229728" y="2473325"/>
            <a:ext cx="0" cy="1117600"/>
          </a:xfrm>
          <a:prstGeom prst="line">
            <a:avLst/>
          </a:prstGeom>
          <a:ln w="19050">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8" name="Gráfico 7">
            <a:extLst>
              <a:ext uri="{FF2B5EF4-FFF2-40B4-BE49-F238E27FC236}">
                <a16:creationId xmlns:a16="http://schemas.microsoft.com/office/drawing/2014/main" id="{8B6D9CE9-156A-F189-D9E9-5A22C30CE0E8}"/>
              </a:ext>
            </a:extLst>
          </p:cNvPr>
          <p:cNvGraphicFramePr/>
          <p:nvPr>
            <p:extLst>
              <p:ext uri="{D42A27DB-BD31-4B8C-83A1-F6EECF244321}">
                <p14:modId xmlns:p14="http://schemas.microsoft.com/office/powerpoint/2010/main" val="391544824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2" name="Marcador de texto 1">
            <a:extLst>
              <a:ext uri="{FF2B5EF4-FFF2-40B4-BE49-F238E27FC236}">
                <a16:creationId xmlns:a16="http://schemas.microsoft.com/office/drawing/2014/main" id="{0842D7A8-9547-66D2-2781-FC2727497E0E}"/>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776BE484-293E-27E8-25F1-6283992FC2A6}"/>
              </a:ext>
            </a:extLst>
          </p:cNvPr>
          <p:cNvSpPr>
            <a:spLocks noGrp="1"/>
          </p:cNvSpPr>
          <p:nvPr>
            <p:ph type="title"/>
          </p:nvPr>
        </p:nvSpPr>
        <p:spPr/>
        <p:txBody>
          <a:bodyPr vert="horz"/>
          <a:lstStyle/>
          <a:p>
            <a:r>
              <a:rPr lang="en-GB" dirty="0"/>
              <a:t>Template - Vertical dot chart</a:t>
            </a:r>
          </a:p>
        </p:txBody>
      </p:sp>
      <p:sp>
        <p:nvSpPr>
          <p:cNvPr id="4" name="Marcador de pie de página 3">
            <a:extLst>
              <a:ext uri="{FF2B5EF4-FFF2-40B4-BE49-F238E27FC236}">
                <a16:creationId xmlns:a16="http://schemas.microsoft.com/office/drawing/2014/main" id="{570B692D-B21B-0BDD-B2AA-9DB70351A1A3}"/>
              </a:ext>
            </a:extLst>
          </p:cNvPr>
          <p:cNvSpPr>
            <a:spLocks noGrp="1"/>
          </p:cNvSpPr>
          <p:nvPr>
            <p:ph type="ftr" sz="quarter" idx="3"/>
          </p:nvPr>
        </p:nvSpPr>
        <p:spPr/>
        <p:txBody>
          <a:bodyPr/>
          <a:lstStyle/>
          <a:p>
            <a:r>
              <a:rPr lang="en-US"/>
              <a:t>Source:_______</a:t>
            </a:r>
            <a:endParaRPr lang="en-US" dirty="0"/>
          </a:p>
        </p:txBody>
      </p:sp>
      <p:sp>
        <p:nvSpPr>
          <p:cNvPr id="6185" name="TextBox 25">
            <a:extLst>
              <a:ext uri="{FF2B5EF4-FFF2-40B4-BE49-F238E27FC236}">
                <a16:creationId xmlns:a16="http://schemas.microsoft.com/office/drawing/2014/main" id="{2C3EE1E9-6E30-7BCC-74AE-994152417746}"/>
              </a:ext>
            </a:extLst>
          </p:cNvPr>
          <p:cNvSpPr txBox="1"/>
          <p:nvPr/>
        </p:nvSpPr>
        <p:spPr>
          <a:xfrm>
            <a:off x="1421136" y="3072348"/>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6186" name="TextBox 25">
            <a:extLst>
              <a:ext uri="{FF2B5EF4-FFF2-40B4-BE49-F238E27FC236}">
                <a16:creationId xmlns:a16="http://schemas.microsoft.com/office/drawing/2014/main" id="{0571E3F2-06F7-628C-821B-1A433ACCF318}"/>
              </a:ext>
            </a:extLst>
          </p:cNvPr>
          <p:cNvSpPr txBox="1"/>
          <p:nvPr/>
        </p:nvSpPr>
        <p:spPr>
          <a:xfrm>
            <a:off x="1421136" y="4302964"/>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88" name="Conector recto 6187">
            <a:extLst>
              <a:ext uri="{FF2B5EF4-FFF2-40B4-BE49-F238E27FC236}">
                <a16:creationId xmlns:a16="http://schemas.microsoft.com/office/drawing/2014/main" id="{B85795BF-8BBB-BE79-4C8B-D0DFC8280468}"/>
              </a:ext>
            </a:extLst>
          </p:cNvPr>
          <p:cNvCxnSpPr/>
          <p:nvPr/>
        </p:nvCxnSpPr>
        <p:spPr>
          <a:xfrm>
            <a:off x="3011866" y="3157536"/>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89" name="TextBox 25">
            <a:extLst>
              <a:ext uri="{FF2B5EF4-FFF2-40B4-BE49-F238E27FC236}">
                <a16:creationId xmlns:a16="http://schemas.microsoft.com/office/drawing/2014/main" id="{CEE32CED-0FBB-F753-3574-14BBE5880229}"/>
              </a:ext>
            </a:extLst>
          </p:cNvPr>
          <p:cNvSpPr txBox="1"/>
          <p:nvPr/>
        </p:nvSpPr>
        <p:spPr>
          <a:xfrm>
            <a:off x="9895728" y="306758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6190" name="Conector recto 6189">
            <a:extLst>
              <a:ext uri="{FF2B5EF4-FFF2-40B4-BE49-F238E27FC236}">
                <a16:creationId xmlns:a16="http://schemas.microsoft.com/office/drawing/2014/main" id="{086A007D-0182-910F-38F0-CA64BF4D3BB7}"/>
              </a:ext>
            </a:extLst>
          </p:cNvPr>
          <p:cNvCxnSpPr/>
          <p:nvPr/>
        </p:nvCxnSpPr>
        <p:spPr>
          <a:xfrm>
            <a:off x="3011866" y="3902610"/>
            <a:ext cx="6786179"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91" name="TextBox 25">
            <a:extLst>
              <a:ext uri="{FF2B5EF4-FFF2-40B4-BE49-F238E27FC236}">
                <a16:creationId xmlns:a16="http://schemas.microsoft.com/office/drawing/2014/main" id="{D2B4A0B3-9505-9215-F362-5CBF3664C08B}"/>
              </a:ext>
            </a:extLst>
          </p:cNvPr>
          <p:cNvSpPr txBox="1"/>
          <p:nvPr/>
        </p:nvSpPr>
        <p:spPr>
          <a:xfrm>
            <a:off x="9895728" y="38126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40402315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2592060"/>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0505809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32D55136-FBCB-D714-E737-BAEE8E9BB3FC}"/>
              </a:ext>
            </a:extLst>
          </p:cNvPr>
          <p:cNvGraphicFramePr>
            <a:graphicFrameLocks noChangeAspect="1"/>
          </p:cNvGraphicFramePr>
          <p:nvPr>
            <p:custDataLst>
              <p:tags r:id="rId1"/>
            </p:custDataLst>
            <p:extLst>
              <p:ext uri="{D42A27DB-BD31-4B8C-83A1-F6EECF244321}">
                <p14:modId xmlns:p14="http://schemas.microsoft.com/office/powerpoint/2010/main" val="2825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Objeto 6" hidden="1">
                        <a:extLst>
                          <a:ext uri="{FF2B5EF4-FFF2-40B4-BE49-F238E27FC236}">
                            <a16:creationId xmlns:a16="http://schemas.microsoft.com/office/drawing/2014/main" id="{32D55136-FBCB-D714-E737-BAEE8E9BB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85DEF320-D289-5E5D-A7B1-91E1C590279C}"/>
              </a:ext>
            </a:extLst>
          </p:cNvPr>
          <p:cNvSpPr>
            <a:spLocks noGrp="1"/>
          </p:cNvSpPr>
          <p:nvPr>
            <p:ph type="body" sz="quarter" idx="14"/>
          </p:nvPr>
        </p:nvSpPr>
        <p:spPr/>
        <p:txBody>
          <a:bodyPr/>
          <a:lstStyle/>
          <a:p>
            <a:r>
              <a:rPr lang="en-GB" dirty="0"/>
              <a:t>Subtitle</a:t>
            </a:r>
          </a:p>
          <a:p>
            <a:endParaRPr lang="en-GB" dirty="0"/>
          </a:p>
        </p:txBody>
      </p:sp>
      <p:sp>
        <p:nvSpPr>
          <p:cNvPr id="3" name="Título 2">
            <a:extLst>
              <a:ext uri="{FF2B5EF4-FFF2-40B4-BE49-F238E27FC236}">
                <a16:creationId xmlns:a16="http://schemas.microsoft.com/office/drawing/2014/main" id="{052EFF3E-E48C-2DA7-D7AC-CC2A7D599024}"/>
              </a:ext>
            </a:extLst>
          </p:cNvPr>
          <p:cNvSpPr>
            <a:spLocks noGrp="1"/>
          </p:cNvSpPr>
          <p:nvPr>
            <p:ph type="title"/>
          </p:nvPr>
        </p:nvSpPr>
        <p:spPr>
          <a:xfrm>
            <a:off x="384174" y="381000"/>
            <a:ext cx="11420475" cy="485775"/>
          </a:xfrm>
        </p:spPr>
        <p:txBody>
          <a:bodyPr vert="horz"/>
          <a:lstStyle/>
          <a:p>
            <a:r>
              <a:rPr lang="en-GB" dirty="0"/>
              <a:t>Template - Vertical line chart</a:t>
            </a:r>
          </a:p>
        </p:txBody>
      </p:sp>
      <p:sp>
        <p:nvSpPr>
          <p:cNvPr id="4" name="Marcador de pie de página 3">
            <a:extLst>
              <a:ext uri="{FF2B5EF4-FFF2-40B4-BE49-F238E27FC236}">
                <a16:creationId xmlns:a16="http://schemas.microsoft.com/office/drawing/2014/main" id="{FAEFD070-C1EF-9AE0-B86F-88A3BDB57DE0}"/>
              </a:ext>
            </a:extLst>
          </p:cNvPr>
          <p:cNvSpPr>
            <a:spLocks noGrp="1"/>
          </p:cNvSpPr>
          <p:nvPr>
            <p:ph type="ftr" sz="quarter" idx="3"/>
          </p:nvPr>
        </p:nvSpPr>
        <p:spPr/>
        <p:txBody>
          <a:bodyPr/>
          <a:lstStyle/>
          <a:p>
            <a:r>
              <a:rPr lang="en-US"/>
              <a:t>Source:_______</a:t>
            </a:r>
            <a:endParaRPr lang="en-US" dirty="0"/>
          </a:p>
        </p:txBody>
      </p:sp>
      <p:graphicFrame>
        <p:nvGraphicFramePr>
          <p:cNvPr id="5" name="Chart 1">
            <a:extLst>
              <a:ext uri="{FF2B5EF4-FFF2-40B4-BE49-F238E27FC236}">
                <a16:creationId xmlns:a16="http://schemas.microsoft.com/office/drawing/2014/main" id="{49BB9792-C89E-D5BE-122B-03F5C0D58E70}"/>
              </a:ext>
            </a:extLst>
          </p:cNvPr>
          <p:cNvGraphicFramePr>
            <a:graphicFrameLocks/>
          </p:cNvGraphicFramePr>
          <p:nvPr>
            <p:extLst>
              <p:ext uri="{D42A27DB-BD31-4B8C-83A1-F6EECF244321}">
                <p14:modId xmlns:p14="http://schemas.microsoft.com/office/powerpoint/2010/main" val="2365585637"/>
              </p:ext>
            </p:extLst>
          </p:nvPr>
        </p:nvGraphicFramePr>
        <p:xfrm>
          <a:off x="2103890" y="1251862"/>
          <a:ext cx="9700759" cy="476762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a:extLst>
              <a:ext uri="{FF2B5EF4-FFF2-40B4-BE49-F238E27FC236}">
                <a16:creationId xmlns:a16="http://schemas.microsoft.com/office/drawing/2014/main" id="{76F7E19E-0CCB-CC8D-CF04-7CADF74B5879}"/>
              </a:ext>
            </a:extLst>
          </p:cNvPr>
          <p:cNvGrpSpPr/>
          <p:nvPr/>
        </p:nvGrpSpPr>
        <p:grpSpPr>
          <a:xfrm>
            <a:off x="1056005" y="1712912"/>
            <a:ext cx="8594724" cy="3519488"/>
            <a:chOff x="1056005" y="1712912"/>
            <a:chExt cx="8594724" cy="3519488"/>
          </a:xfrm>
        </p:grpSpPr>
        <p:grpSp>
          <p:nvGrpSpPr>
            <p:cNvPr id="12" name="Group 11">
              <a:extLst>
                <a:ext uri="{FF2B5EF4-FFF2-40B4-BE49-F238E27FC236}">
                  <a16:creationId xmlns:a16="http://schemas.microsoft.com/office/drawing/2014/main" id="{AC43C4BE-D208-134A-9584-996E7614204A}"/>
                </a:ext>
              </a:extLst>
            </p:cNvPr>
            <p:cNvGrpSpPr/>
            <p:nvPr/>
          </p:nvGrpSpPr>
          <p:grpSpPr>
            <a:xfrm>
              <a:off x="1091564" y="1717040"/>
              <a:ext cx="8559165" cy="3515360"/>
              <a:chOff x="371475" y="1737360"/>
              <a:chExt cx="11449050" cy="3515360"/>
            </a:xfrm>
          </p:grpSpPr>
          <p:cxnSp>
            <p:nvCxnSpPr>
              <p:cNvPr id="25" name="Straight Connector 24">
                <a:extLst>
                  <a:ext uri="{FF2B5EF4-FFF2-40B4-BE49-F238E27FC236}">
                    <a16:creationId xmlns:a16="http://schemas.microsoft.com/office/drawing/2014/main" id="{F7B31538-6123-BE5E-1006-56ABA4D52AAF}"/>
                  </a:ext>
                </a:extLst>
              </p:cNvPr>
              <p:cNvCxnSpPr>
                <a:cxnSpLocks/>
              </p:cNvCxnSpPr>
              <p:nvPr/>
            </p:nvCxnSpPr>
            <p:spPr>
              <a:xfrm>
                <a:off x="371475" y="525272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2474278-98C9-EBF8-F1F1-2D04AE1F9A77}"/>
                  </a:ext>
                </a:extLst>
              </p:cNvPr>
              <p:cNvCxnSpPr>
                <a:cxnSpLocks/>
              </p:cNvCxnSpPr>
              <p:nvPr/>
            </p:nvCxnSpPr>
            <p:spPr>
              <a:xfrm>
                <a:off x="371475" y="4549648"/>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FF255C-A225-BAE7-E827-2A65090964CA}"/>
                  </a:ext>
                </a:extLst>
              </p:cNvPr>
              <p:cNvCxnSpPr>
                <a:cxnSpLocks/>
              </p:cNvCxnSpPr>
              <p:nvPr/>
            </p:nvCxnSpPr>
            <p:spPr>
              <a:xfrm>
                <a:off x="371475" y="3846576"/>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F08555B-F8C2-0CA8-9DAC-CD94685E8BFA}"/>
                  </a:ext>
                </a:extLst>
              </p:cNvPr>
              <p:cNvCxnSpPr>
                <a:cxnSpLocks/>
              </p:cNvCxnSpPr>
              <p:nvPr/>
            </p:nvCxnSpPr>
            <p:spPr>
              <a:xfrm>
                <a:off x="371475" y="3143504"/>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F0DB44B-53AC-FF78-6865-A9B38868B8E4}"/>
                  </a:ext>
                </a:extLst>
              </p:cNvPr>
              <p:cNvCxnSpPr>
                <a:cxnSpLocks/>
              </p:cNvCxnSpPr>
              <p:nvPr/>
            </p:nvCxnSpPr>
            <p:spPr>
              <a:xfrm>
                <a:off x="371475" y="2440432"/>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4CD8267-649C-D709-0E0D-88CB276DF904}"/>
                  </a:ext>
                </a:extLst>
              </p:cNvPr>
              <p:cNvCxnSpPr>
                <a:cxnSpLocks/>
              </p:cNvCxnSpPr>
              <p:nvPr/>
            </p:nvCxnSpPr>
            <p:spPr>
              <a:xfrm>
                <a:off x="371475" y="1737360"/>
                <a:ext cx="1144905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25">
              <a:extLst>
                <a:ext uri="{FF2B5EF4-FFF2-40B4-BE49-F238E27FC236}">
                  <a16:creationId xmlns:a16="http://schemas.microsoft.com/office/drawing/2014/main" id="{83E6E05F-0C92-4403-D82F-79786BDC98F1}"/>
                </a:ext>
              </a:extLst>
            </p:cNvPr>
            <p:cNvSpPr txBox="1"/>
            <p:nvPr/>
          </p:nvSpPr>
          <p:spPr>
            <a:xfrm>
              <a:off x="1104263" y="4529329"/>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1</a:t>
              </a:r>
            </a:p>
          </p:txBody>
        </p:sp>
        <p:sp>
          <p:nvSpPr>
            <p:cNvPr id="14" name="TextBox 25">
              <a:extLst>
                <a:ext uri="{FF2B5EF4-FFF2-40B4-BE49-F238E27FC236}">
                  <a16:creationId xmlns:a16="http://schemas.microsoft.com/office/drawing/2014/main" id="{DF41046F-7FEF-E69B-E81A-19032B05DE4B}"/>
                </a:ext>
              </a:extLst>
            </p:cNvPr>
            <p:cNvSpPr txBox="1"/>
            <p:nvPr/>
          </p:nvSpPr>
          <p:spPr>
            <a:xfrm>
              <a:off x="1091564" y="3816086"/>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2</a:t>
              </a:r>
            </a:p>
          </p:txBody>
        </p:sp>
        <p:sp>
          <p:nvSpPr>
            <p:cNvPr id="15" name="TextBox 25">
              <a:extLst>
                <a:ext uri="{FF2B5EF4-FFF2-40B4-BE49-F238E27FC236}">
                  <a16:creationId xmlns:a16="http://schemas.microsoft.com/office/drawing/2014/main" id="{C3FF52CE-F4D5-6FFD-4D78-0006F2283095}"/>
                </a:ext>
              </a:extLst>
            </p:cNvPr>
            <p:cNvSpPr txBox="1"/>
            <p:nvPr/>
          </p:nvSpPr>
          <p:spPr>
            <a:xfrm>
              <a:off x="1104263" y="3123164"/>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3</a:t>
              </a:r>
            </a:p>
          </p:txBody>
        </p:sp>
        <p:sp>
          <p:nvSpPr>
            <p:cNvPr id="16" name="TextBox 25">
              <a:extLst>
                <a:ext uri="{FF2B5EF4-FFF2-40B4-BE49-F238E27FC236}">
                  <a16:creationId xmlns:a16="http://schemas.microsoft.com/office/drawing/2014/main" id="{5A784193-DE22-888F-A54B-FDFDC5233714}"/>
                </a:ext>
              </a:extLst>
            </p:cNvPr>
            <p:cNvSpPr txBox="1"/>
            <p:nvPr/>
          </p:nvSpPr>
          <p:spPr>
            <a:xfrm>
              <a:off x="1080134" y="2413861"/>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4</a:t>
              </a:r>
            </a:p>
          </p:txBody>
        </p:sp>
        <p:sp>
          <p:nvSpPr>
            <p:cNvPr id="17" name="TextBox 16">
              <a:extLst>
                <a:ext uri="{FF2B5EF4-FFF2-40B4-BE49-F238E27FC236}">
                  <a16:creationId xmlns:a16="http://schemas.microsoft.com/office/drawing/2014/main" id="{FC43DA32-7E56-2FE3-D52C-EB4724A755A5}"/>
                </a:ext>
              </a:extLst>
            </p:cNvPr>
            <p:cNvSpPr txBox="1"/>
            <p:nvPr/>
          </p:nvSpPr>
          <p:spPr>
            <a:xfrm>
              <a:off x="1056005" y="1712912"/>
              <a:ext cx="1698626" cy="703062"/>
            </a:xfrm>
            <a:prstGeom prst="rect">
              <a:avLst/>
            </a:prstGeom>
            <a:noFill/>
          </p:spPr>
          <p:txBody>
            <a:bodyPr wrap="square" lIns="0" tIns="0" rIns="0" bIns="0" rtlCol="0" anchor="ctr">
              <a:no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tegory 5</a:t>
              </a:r>
            </a:p>
          </p:txBody>
        </p:sp>
      </p:grpSp>
    </p:spTree>
    <p:extLst>
      <p:ext uri="{BB962C8B-B14F-4D97-AF65-F5344CB8AC3E}">
        <p14:creationId xmlns:p14="http://schemas.microsoft.com/office/powerpoint/2010/main" val="40164041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BE3ECBC-E5AA-40A4-1AF3-669D5DF5CD8C}"/>
              </a:ext>
            </a:extLst>
          </p:cNvPr>
          <p:cNvGraphicFramePr>
            <a:graphicFrameLocks noChangeAspect="1"/>
          </p:cNvGraphicFramePr>
          <p:nvPr>
            <p:custDataLst>
              <p:tags r:id="rId1"/>
            </p:custDataLst>
            <p:extLst>
              <p:ext uri="{D42A27DB-BD31-4B8C-83A1-F6EECF244321}">
                <p14:modId xmlns:p14="http://schemas.microsoft.com/office/powerpoint/2010/main" val="28032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1" name="Objeto 10" hidden="1">
                        <a:extLst>
                          <a:ext uri="{FF2B5EF4-FFF2-40B4-BE49-F238E27FC236}">
                            <a16:creationId xmlns:a16="http://schemas.microsoft.com/office/drawing/2014/main" id="{5BE3ECBC-E5AA-40A4-1AF3-669D5DF5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E76E6A8-B069-1BD7-F470-57CED1AD3D6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3869DE4-F7D6-5821-B32F-94E89368147E}"/>
              </a:ext>
            </a:extLst>
          </p:cNvPr>
          <p:cNvSpPr>
            <a:spLocks noGrp="1"/>
          </p:cNvSpPr>
          <p:nvPr>
            <p:ph type="title"/>
          </p:nvPr>
        </p:nvSpPr>
        <p:spPr/>
        <p:txBody>
          <a:bodyPr vert="horz"/>
          <a:lstStyle/>
          <a:p>
            <a:r>
              <a:rPr lang="en-US" dirty="0"/>
              <a:t>Template - Data over time line chart</a:t>
            </a:r>
          </a:p>
        </p:txBody>
      </p:sp>
      <p:sp>
        <p:nvSpPr>
          <p:cNvPr id="4" name="Marcador de pie de página 3">
            <a:extLst>
              <a:ext uri="{FF2B5EF4-FFF2-40B4-BE49-F238E27FC236}">
                <a16:creationId xmlns:a16="http://schemas.microsoft.com/office/drawing/2014/main" id="{6627FCD4-BCFC-4395-0708-28B27C8E9AF6}"/>
              </a:ext>
            </a:extLst>
          </p:cNvPr>
          <p:cNvSpPr>
            <a:spLocks noGrp="1"/>
          </p:cNvSpPr>
          <p:nvPr>
            <p:ph type="ftr" sz="quarter" idx="3"/>
          </p:nvPr>
        </p:nvSpPr>
        <p:spPr/>
        <p:txBody>
          <a:bodyPr/>
          <a:lstStyle/>
          <a:p>
            <a:r>
              <a:rPr lang="en-US"/>
              <a:t>Source:_______</a:t>
            </a:r>
            <a:endParaRPr lang="en-US" dirty="0"/>
          </a:p>
        </p:txBody>
      </p:sp>
      <p:graphicFrame>
        <p:nvGraphicFramePr>
          <p:cNvPr id="6" name="Gráfico 5">
            <a:extLst>
              <a:ext uri="{FF2B5EF4-FFF2-40B4-BE49-F238E27FC236}">
                <a16:creationId xmlns:a16="http://schemas.microsoft.com/office/drawing/2014/main" id="{AF3587C0-4B29-A2D9-027E-2CF21E984947}"/>
              </a:ext>
            </a:extLst>
          </p:cNvPr>
          <p:cNvGraphicFramePr/>
          <p:nvPr>
            <p:extLst>
              <p:ext uri="{D42A27DB-BD31-4B8C-83A1-F6EECF244321}">
                <p14:modId xmlns:p14="http://schemas.microsoft.com/office/powerpoint/2010/main" val="283272409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25">
            <a:extLst>
              <a:ext uri="{FF2B5EF4-FFF2-40B4-BE49-F238E27FC236}">
                <a16:creationId xmlns:a16="http://schemas.microsoft.com/office/drawing/2014/main" id="{A138B3C5-0922-806D-C7E5-C524A6B5AF25}"/>
              </a:ext>
            </a:extLst>
          </p:cNvPr>
          <p:cNvSpPr txBox="1"/>
          <p:nvPr/>
        </p:nvSpPr>
        <p:spPr>
          <a:xfrm>
            <a:off x="9147280" y="220315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9A561E58-9B23-AC40-8120-57CCB4277E7A}"/>
              </a:ext>
            </a:extLst>
          </p:cNvPr>
          <p:cNvSpPr txBox="1"/>
          <p:nvPr/>
        </p:nvSpPr>
        <p:spPr>
          <a:xfrm>
            <a:off x="9147280" y="263493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98E29E23-94D6-87E3-5BD5-1572B6BC1299}"/>
              </a:ext>
            </a:extLst>
          </p:cNvPr>
          <p:cNvSpPr txBox="1"/>
          <p:nvPr/>
        </p:nvSpPr>
        <p:spPr>
          <a:xfrm>
            <a:off x="9147280" y="385373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7" name="Conector recto de flecha 6">
            <a:extLst>
              <a:ext uri="{FF2B5EF4-FFF2-40B4-BE49-F238E27FC236}">
                <a16:creationId xmlns:a16="http://schemas.microsoft.com/office/drawing/2014/main" id="{236EF342-F71F-CBF3-BE90-7D7A460AD3DE}"/>
              </a:ext>
            </a:extLst>
          </p:cNvPr>
          <p:cNvCxnSpPr>
            <a:cxnSpLocks/>
          </p:cNvCxnSpPr>
          <p:nvPr/>
        </p:nvCxnSpPr>
        <p:spPr>
          <a:xfrm>
            <a:off x="3247697" y="5553590"/>
            <a:ext cx="1962478"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066A08AD-68D2-98EC-3698-7CCC9914D7A8}"/>
              </a:ext>
            </a:extLst>
          </p:cNvPr>
          <p:cNvCxnSpPr>
            <a:cxnSpLocks/>
          </p:cNvCxnSpPr>
          <p:nvPr/>
        </p:nvCxnSpPr>
        <p:spPr>
          <a:xfrm>
            <a:off x="5210175"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a:extLst>
              <a:ext uri="{FF2B5EF4-FFF2-40B4-BE49-F238E27FC236}">
                <a16:creationId xmlns:a16="http://schemas.microsoft.com/office/drawing/2014/main" id="{DE5E73CA-2B22-3FC8-38D1-D0D37E1AC8A1}"/>
              </a:ext>
            </a:extLst>
          </p:cNvPr>
          <p:cNvCxnSpPr>
            <a:cxnSpLocks/>
          </p:cNvCxnSpPr>
          <p:nvPr/>
        </p:nvCxnSpPr>
        <p:spPr>
          <a:xfrm>
            <a:off x="7185130" y="5553590"/>
            <a:ext cx="196215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25">
            <a:extLst>
              <a:ext uri="{FF2B5EF4-FFF2-40B4-BE49-F238E27FC236}">
                <a16:creationId xmlns:a16="http://schemas.microsoft.com/office/drawing/2014/main" id="{33929743-9232-11E2-8C07-3FDF0A1D65AB}"/>
              </a:ext>
            </a:extLst>
          </p:cNvPr>
          <p:cNvSpPr txBox="1"/>
          <p:nvPr/>
        </p:nvSpPr>
        <p:spPr>
          <a:xfrm>
            <a:off x="3559064"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8" name="TextBox 25">
            <a:extLst>
              <a:ext uri="{FF2B5EF4-FFF2-40B4-BE49-F238E27FC236}">
                <a16:creationId xmlns:a16="http://schemas.microsoft.com/office/drawing/2014/main" id="{09CAB8EB-E0D3-FA39-613A-7543BF49162D}"/>
              </a:ext>
            </a:extLst>
          </p:cNvPr>
          <p:cNvSpPr txBox="1"/>
          <p:nvPr/>
        </p:nvSpPr>
        <p:spPr>
          <a:xfrm>
            <a:off x="5521378"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9" name="TextBox 25">
            <a:extLst>
              <a:ext uri="{FF2B5EF4-FFF2-40B4-BE49-F238E27FC236}">
                <a16:creationId xmlns:a16="http://schemas.microsoft.com/office/drawing/2014/main" id="{06AD97FE-EF29-0AAF-88C0-B7D61F6FE6F5}"/>
              </a:ext>
            </a:extLst>
          </p:cNvPr>
          <p:cNvSpPr txBox="1"/>
          <p:nvPr/>
        </p:nvSpPr>
        <p:spPr>
          <a:xfrm>
            <a:off x="7496333" y="5461257"/>
            <a:ext cx="1339745" cy="184666"/>
          </a:xfrm>
          <a:prstGeom prst="rect">
            <a:avLst/>
          </a:prstGeom>
          <a:solidFill>
            <a:schemeClr val="bg1"/>
          </a:solid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86510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CF4FEF96-D1C3-FE41-1E5B-C8C86CF5E1C9}"/>
              </a:ext>
            </a:extLst>
          </p:cNvPr>
          <p:cNvGraphicFramePr>
            <a:graphicFrameLocks noChangeAspect="1"/>
          </p:cNvGraphicFramePr>
          <p:nvPr>
            <p:custDataLst>
              <p:tags r:id="rId1"/>
            </p:custDataLst>
            <p:extLst>
              <p:ext uri="{D42A27DB-BD31-4B8C-83A1-F6EECF244321}">
                <p14:modId xmlns:p14="http://schemas.microsoft.com/office/powerpoint/2010/main" val="263092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CF4FEF96-D1C3-FE41-1E5B-C8C86CF5E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3C5ADC8-80C2-CDCB-3575-5ADB52FE05D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EC4FEEE-BF28-4DBB-DE44-0A333CAC1BD4}"/>
              </a:ext>
            </a:extLst>
          </p:cNvPr>
          <p:cNvSpPr>
            <a:spLocks noGrp="1"/>
          </p:cNvSpPr>
          <p:nvPr>
            <p:ph type="title"/>
          </p:nvPr>
        </p:nvSpPr>
        <p:spPr/>
        <p:txBody>
          <a:bodyPr vert="horz"/>
          <a:lstStyle/>
          <a:p>
            <a:r>
              <a:rPr lang="en-US" dirty="0"/>
              <a:t>Template - Growth curve line chart</a:t>
            </a:r>
          </a:p>
        </p:txBody>
      </p:sp>
      <p:sp>
        <p:nvSpPr>
          <p:cNvPr id="4" name="Marcador de pie de página 3">
            <a:extLst>
              <a:ext uri="{FF2B5EF4-FFF2-40B4-BE49-F238E27FC236}">
                <a16:creationId xmlns:a16="http://schemas.microsoft.com/office/drawing/2014/main" id="{DBBA6E7A-B663-C140-CCCB-4D18C66684B1}"/>
              </a:ext>
            </a:extLst>
          </p:cNvPr>
          <p:cNvSpPr>
            <a:spLocks noGrp="1"/>
          </p:cNvSpPr>
          <p:nvPr>
            <p:ph type="ftr" sz="quarter" idx="3"/>
          </p:nvPr>
        </p:nvSpPr>
        <p:spPr/>
        <p:txBody>
          <a:bodyPr/>
          <a:lstStyle/>
          <a:p>
            <a:r>
              <a:rPr lang="en-US" dirty="0"/>
              <a:t>Source:_______</a:t>
            </a:r>
          </a:p>
        </p:txBody>
      </p:sp>
      <p:sp>
        <p:nvSpPr>
          <p:cNvPr id="11" name="TextBox 25">
            <a:extLst>
              <a:ext uri="{FF2B5EF4-FFF2-40B4-BE49-F238E27FC236}">
                <a16:creationId xmlns:a16="http://schemas.microsoft.com/office/drawing/2014/main" id="{A017F94C-E2F5-BC0C-E84F-C14DF7CDBA5D}"/>
              </a:ext>
            </a:extLst>
          </p:cNvPr>
          <p:cNvSpPr txBox="1"/>
          <p:nvPr/>
        </p:nvSpPr>
        <p:spPr>
          <a:xfrm>
            <a:off x="2286052" y="5984584"/>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graphicFrame>
        <p:nvGraphicFramePr>
          <p:cNvPr id="10" name="Gráfico 9">
            <a:extLst>
              <a:ext uri="{FF2B5EF4-FFF2-40B4-BE49-F238E27FC236}">
                <a16:creationId xmlns:a16="http://schemas.microsoft.com/office/drawing/2014/main" id="{53AD0E09-04C1-4584-9ACD-014C9D81060E}"/>
              </a:ext>
            </a:extLst>
          </p:cNvPr>
          <p:cNvGraphicFramePr/>
          <p:nvPr>
            <p:extLst>
              <p:ext uri="{D42A27DB-BD31-4B8C-83A1-F6EECF244321}">
                <p14:modId xmlns:p14="http://schemas.microsoft.com/office/powerpoint/2010/main" val="1442056369"/>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6" name="Elipse 15">
            <a:extLst>
              <a:ext uri="{FF2B5EF4-FFF2-40B4-BE49-F238E27FC236}">
                <a16:creationId xmlns:a16="http://schemas.microsoft.com/office/drawing/2014/main" id="{1694EDD2-4EC2-D367-622C-E33CAE9ACC1E}"/>
              </a:ext>
            </a:extLst>
          </p:cNvPr>
          <p:cNvSpPr/>
          <p:nvPr/>
        </p:nvSpPr>
        <p:spPr>
          <a:xfrm>
            <a:off x="2552248" y="5061516"/>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5%</a:t>
            </a:r>
          </a:p>
        </p:txBody>
      </p:sp>
      <p:sp>
        <p:nvSpPr>
          <p:cNvPr id="17" name="Elipse 16">
            <a:extLst>
              <a:ext uri="{FF2B5EF4-FFF2-40B4-BE49-F238E27FC236}">
                <a16:creationId xmlns:a16="http://schemas.microsoft.com/office/drawing/2014/main" id="{DD7B5FBF-7949-F51D-99AD-FEA3E4F2101F}"/>
              </a:ext>
            </a:extLst>
          </p:cNvPr>
          <p:cNvSpPr/>
          <p:nvPr/>
        </p:nvSpPr>
        <p:spPr>
          <a:xfrm>
            <a:off x="4120248" y="449038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10%</a:t>
            </a:r>
          </a:p>
        </p:txBody>
      </p:sp>
      <p:sp>
        <p:nvSpPr>
          <p:cNvPr id="18" name="Elipse 17">
            <a:extLst>
              <a:ext uri="{FF2B5EF4-FFF2-40B4-BE49-F238E27FC236}">
                <a16:creationId xmlns:a16="http://schemas.microsoft.com/office/drawing/2014/main" id="{ED1A471F-A38E-7917-1945-B5B10F84F161}"/>
              </a:ext>
            </a:extLst>
          </p:cNvPr>
          <p:cNvSpPr/>
          <p:nvPr/>
        </p:nvSpPr>
        <p:spPr>
          <a:xfrm>
            <a:off x="5700259" y="2636322"/>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7%</a:t>
            </a:r>
          </a:p>
        </p:txBody>
      </p:sp>
      <p:sp>
        <p:nvSpPr>
          <p:cNvPr id="19" name="Elipse 18">
            <a:extLst>
              <a:ext uri="{FF2B5EF4-FFF2-40B4-BE49-F238E27FC236}">
                <a16:creationId xmlns:a16="http://schemas.microsoft.com/office/drawing/2014/main" id="{45CB4D93-0E80-E412-236B-51A3739EC494}"/>
              </a:ext>
            </a:extLst>
          </p:cNvPr>
          <p:cNvSpPr/>
          <p:nvPr/>
        </p:nvSpPr>
        <p:spPr>
          <a:xfrm>
            <a:off x="7262359" y="1686611"/>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36%</a:t>
            </a:r>
          </a:p>
        </p:txBody>
      </p:sp>
      <p:sp>
        <p:nvSpPr>
          <p:cNvPr id="20" name="Elipse 19">
            <a:extLst>
              <a:ext uri="{FF2B5EF4-FFF2-40B4-BE49-F238E27FC236}">
                <a16:creationId xmlns:a16="http://schemas.microsoft.com/office/drawing/2014/main" id="{2251A1B5-6E9A-07D4-FF9E-F00FA19631EF}"/>
              </a:ext>
            </a:extLst>
          </p:cNvPr>
          <p:cNvSpPr/>
          <p:nvPr/>
        </p:nvSpPr>
        <p:spPr>
          <a:xfrm>
            <a:off x="8822739" y="3206893"/>
            <a:ext cx="807352" cy="8073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2%</a:t>
            </a:r>
          </a:p>
        </p:txBody>
      </p:sp>
      <p:sp>
        <p:nvSpPr>
          <p:cNvPr id="12" name="TextBox 25">
            <a:extLst>
              <a:ext uri="{FF2B5EF4-FFF2-40B4-BE49-F238E27FC236}">
                <a16:creationId xmlns:a16="http://schemas.microsoft.com/office/drawing/2014/main" id="{8D99A26B-2815-9A8C-F7A7-8E7C06ADCFCB}"/>
              </a:ext>
            </a:extLst>
          </p:cNvPr>
          <p:cNvSpPr txBox="1"/>
          <p:nvPr/>
        </p:nvSpPr>
        <p:spPr>
          <a:xfrm>
            <a:off x="3874382" y="5401478"/>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1FB7612-FBD4-1D1A-70C9-6BDCC05DB938}"/>
              </a:ext>
            </a:extLst>
          </p:cNvPr>
          <p:cNvSpPr txBox="1"/>
          <p:nvPr/>
        </p:nvSpPr>
        <p:spPr>
          <a:xfrm>
            <a:off x="5434063" y="357415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DDB2178F-AAA9-A027-5066-7D1335B7FCD8}"/>
              </a:ext>
            </a:extLst>
          </p:cNvPr>
          <p:cNvSpPr txBox="1"/>
          <p:nvPr/>
        </p:nvSpPr>
        <p:spPr>
          <a:xfrm>
            <a:off x="6996163" y="2608846"/>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DF5C7A4E-BC27-729D-FD24-021619F264EC}"/>
              </a:ext>
            </a:extLst>
          </p:cNvPr>
          <p:cNvSpPr txBox="1"/>
          <p:nvPr/>
        </p:nvSpPr>
        <p:spPr>
          <a:xfrm>
            <a:off x="8567788" y="4156509"/>
            <a:ext cx="1339745" cy="184666"/>
          </a:xfrm>
          <a:prstGeom prst="rect">
            <a:avLst/>
          </a:prstGeom>
          <a:noFill/>
        </p:spPr>
        <p:txBody>
          <a:bodyPr wrap="square" lIns="0" tIns="0" rIns="0" bIns="0" rtlCol="0" anchor="t">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373781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 name="TextBox 50">
            <a:extLst>
              <a:ext uri="{FF2B5EF4-FFF2-40B4-BE49-F238E27FC236}">
                <a16:creationId xmlns:a16="http://schemas.microsoft.com/office/drawing/2014/main" id="{4F073E1E-A369-0BAA-CC5E-4105BBFFB8EE}"/>
              </a:ext>
            </a:extLst>
          </p:cNvPr>
          <p:cNvSpPr txBox="1"/>
          <p:nvPr/>
        </p:nvSpPr>
        <p:spPr>
          <a:xfrm>
            <a:off x="371476" y="1399753"/>
            <a:ext cx="2870488" cy="1200329"/>
          </a:xfrm>
          <a:prstGeom prst="rect">
            <a:avLst/>
          </a:prstGeom>
          <a:noFill/>
        </p:spPr>
        <p:txBody>
          <a:bodyPr wrap="square" rtlCol="0" anchor="ctr">
            <a:spAutoFit/>
          </a:bodyPr>
          <a:lstStyle/>
          <a:p>
            <a:r>
              <a:rPr lang="en-US" sz="7200" b="1" dirty="0">
                <a:solidFill>
                  <a:schemeClr val="bg2"/>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02</a:t>
            </a:r>
            <a:endParaRPr lang="en-ID" sz="7200" b="1"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Box 47">
            <a:extLst>
              <a:ext uri="{FF2B5EF4-FFF2-40B4-BE49-F238E27FC236}">
                <a16:creationId xmlns:a16="http://schemas.microsoft.com/office/drawing/2014/main" id="{2586AC7D-2C94-3C6B-F76B-1670FDEE94C8}"/>
              </a:ext>
            </a:extLst>
          </p:cNvPr>
          <p:cNvSpPr txBox="1"/>
          <p:nvPr/>
        </p:nvSpPr>
        <p:spPr>
          <a:xfrm>
            <a:off x="371474" y="2402744"/>
            <a:ext cx="7887001" cy="2864581"/>
          </a:xfrm>
          <a:prstGeom prst="rect">
            <a:avLst/>
          </a:prstGeom>
          <a:noFill/>
        </p:spPr>
        <p:txBody>
          <a:bodyPr wrap="square" rtlCol="0" anchor="t">
            <a:noAutofit/>
          </a:bodyPr>
          <a:lstStyle/>
          <a:p>
            <a:r>
              <a:rPr lang="en-US" sz="48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roposed methodology for:</a:t>
            </a:r>
          </a:p>
          <a:p>
            <a:r>
              <a:rPr lang="en-US" sz="2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a)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Localization</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b)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Path Planning</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Trajectory Generation</a:t>
            </a:r>
          </a:p>
          <a:p>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d) </a:t>
            </a:r>
            <a:r>
              <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Control System</a:t>
            </a:r>
          </a:p>
          <a:p>
            <a:endParaRPr lang="en-US" sz="4000" dirty="0">
              <a:solidFill>
                <a:schemeClr val="bg1"/>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Tree>
    <p:extLst>
      <p:ext uri="{BB962C8B-B14F-4D97-AF65-F5344CB8AC3E}">
        <p14:creationId xmlns:p14="http://schemas.microsoft.com/office/powerpoint/2010/main" val="2727546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1FAABBC8-59C5-51A0-ECA1-972921A723DC}"/>
              </a:ext>
            </a:extLst>
          </p:cNvPr>
          <p:cNvGraphicFramePr>
            <a:graphicFrameLocks noChangeAspect="1"/>
          </p:cNvGraphicFramePr>
          <p:nvPr>
            <p:custDataLst>
              <p:tags r:id="rId1"/>
            </p:custDataLst>
            <p:extLst>
              <p:ext uri="{D42A27DB-BD31-4B8C-83A1-F6EECF244321}">
                <p14:modId xmlns:p14="http://schemas.microsoft.com/office/powerpoint/2010/main" val="188665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1FAABBC8-59C5-51A0-ECA1-972921A723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9946F28-B676-286D-006D-D2BF1BA921B3}"/>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797A596-FFC1-A319-B07A-78C41AB04152}"/>
              </a:ext>
            </a:extLst>
          </p:cNvPr>
          <p:cNvSpPr>
            <a:spLocks noGrp="1"/>
          </p:cNvSpPr>
          <p:nvPr>
            <p:ph type="title"/>
          </p:nvPr>
        </p:nvSpPr>
        <p:spPr/>
        <p:txBody>
          <a:bodyPr vert="horz"/>
          <a:lstStyle/>
          <a:p>
            <a:r>
              <a:rPr lang="en-US" dirty="0"/>
              <a:t>Template - Peak line chart</a:t>
            </a:r>
          </a:p>
        </p:txBody>
      </p:sp>
      <p:sp>
        <p:nvSpPr>
          <p:cNvPr id="4" name="Marcador de pie de página 3">
            <a:extLst>
              <a:ext uri="{FF2B5EF4-FFF2-40B4-BE49-F238E27FC236}">
                <a16:creationId xmlns:a16="http://schemas.microsoft.com/office/drawing/2014/main" id="{90DF4E80-222D-49F5-EFA2-27EEE314A3FA}"/>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020352C4-8030-969B-CD7F-6D0DBD7B46CD}"/>
              </a:ext>
            </a:extLst>
          </p:cNvPr>
          <p:cNvGraphicFramePr/>
          <p:nvPr>
            <p:extLst>
              <p:ext uri="{D42A27DB-BD31-4B8C-83A1-F6EECF244321}">
                <p14:modId xmlns:p14="http://schemas.microsoft.com/office/powerpoint/2010/main" val="2108717475"/>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E4873D9F-7041-EEFB-3FAB-3CF1B93FEF08}"/>
              </a:ext>
            </a:extLst>
          </p:cNvPr>
          <p:cNvSpPr txBox="1"/>
          <p:nvPr/>
        </p:nvSpPr>
        <p:spPr>
          <a:xfrm>
            <a:off x="9490127" y="22603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5C4F14D4-0CA6-531C-4BD2-F95237F96C86}"/>
              </a:ext>
            </a:extLst>
          </p:cNvPr>
          <p:cNvSpPr txBox="1"/>
          <p:nvPr/>
        </p:nvSpPr>
        <p:spPr>
          <a:xfrm>
            <a:off x="9490127" y="3947980"/>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AD4A89B4-91CD-C194-1B3D-A3F32BCB24E2}"/>
              </a:ext>
            </a:extLst>
          </p:cNvPr>
          <p:cNvSpPr txBox="1"/>
          <p:nvPr/>
        </p:nvSpPr>
        <p:spPr>
          <a:xfrm>
            <a:off x="3671976" y="3399915"/>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cxnSp>
        <p:nvCxnSpPr>
          <p:cNvPr id="15" name="Conector recto de flecha 14">
            <a:extLst>
              <a:ext uri="{FF2B5EF4-FFF2-40B4-BE49-F238E27FC236}">
                <a16:creationId xmlns:a16="http://schemas.microsoft.com/office/drawing/2014/main" id="{092A3148-3969-B871-26C2-6957139F4E83}"/>
              </a:ext>
            </a:extLst>
          </p:cNvPr>
          <p:cNvCxnSpPr>
            <a:cxnSpLocks/>
          </p:cNvCxnSpPr>
          <p:nvPr/>
        </p:nvCxnSpPr>
        <p:spPr>
          <a:xfrm>
            <a:off x="4341848" y="3634512"/>
            <a:ext cx="0" cy="39013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681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9F33352-6EB5-2A05-01EA-4B51C2332489}"/>
              </a:ext>
            </a:extLst>
          </p:cNvPr>
          <p:cNvGraphicFramePr>
            <a:graphicFrameLocks noChangeAspect="1"/>
          </p:cNvGraphicFramePr>
          <p:nvPr>
            <p:custDataLst>
              <p:tags r:id="rId1"/>
            </p:custDataLst>
            <p:extLst>
              <p:ext uri="{D42A27DB-BD31-4B8C-83A1-F6EECF244321}">
                <p14:modId xmlns:p14="http://schemas.microsoft.com/office/powerpoint/2010/main" val="2907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E9F33352-6EB5-2A05-01EA-4B51C2332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07A924B-B406-D9EA-15F4-EF208C848065}"/>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DEF2AB77-D8B9-A88A-EDF2-B463AF08E1F2}"/>
              </a:ext>
            </a:extLst>
          </p:cNvPr>
          <p:cNvSpPr>
            <a:spLocks noGrp="1"/>
          </p:cNvSpPr>
          <p:nvPr>
            <p:ph type="title"/>
          </p:nvPr>
        </p:nvSpPr>
        <p:spPr>
          <a:xfrm>
            <a:off x="384174" y="381000"/>
            <a:ext cx="11420475" cy="485775"/>
          </a:xfrm>
        </p:spPr>
        <p:txBody>
          <a:bodyPr vert="horz"/>
          <a:lstStyle/>
          <a:p>
            <a:r>
              <a:rPr lang="en-US" dirty="0"/>
              <a:t>Template - Arrow line chart</a:t>
            </a:r>
          </a:p>
        </p:txBody>
      </p:sp>
      <p:sp>
        <p:nvSpPr>
          <p:cNvPr id="4" name="Marcador de pie de página 3">
            <a:extLst>
              <a:ext uri="{FF2B5EF4-FFF2-40B4-BE49-F238E27FC236}">
                <a16:creationId xmlns:a16="http://schemas.microsoft.com/office/drawing/2014/main" id="{4A378D73-CCA6-5B7C-E893-136AF7162159}"/>
              </a:ext>
            </a:extLst>
          </p:cNvPr>
          <p:cNvSpPr>
            <a:spLocks noGrp="1"/>
          </p:cNvSpPr>
          <p:nvPr>
            <p:ph type="ftr" sz="quarter" idx="3"/>
          </p:nvPr>
        </p:nvSpPr>
        <p:spPr/>
        <p:txBody>
          <a:bodyPr/>
          <a:lstStyle/>
          <a:p>
            <a:r>
              <a:rPr lang="en-US"/>
              <a:t>Source:_______</a:t>
            </a:r>
            <a:endParaRPr lang="en-US" dirty="0"/>
          </a:p>
        </p:txBody>
      </p:sp>
      <p:cxnSp>
        <p:nvCxnSpPr>
          <p:cNvPr id="9" name="Conector recto de flecha 8">
            <a:extLst>
              <a:ext uri="{FF2B5EF4-FFF2-40B4-BE49-F238E27FC236}">
                <a16:creationId xmlns:a16="http://schemas.microsoft.com/office/drawing/2014/main" id="{08A94425-2FD0-A807-E47B-7291DAC5F8F2}"/>
              </a:ext>
            </a:extLst>
          </p:cNvPr>
          <p:cNvCxnSpPr>
            <a:cxnSpLocks/>
          </p:cNvCxnSpPr>
          <p:nvPr/>
        </p:nvCxnSpPr>
        <p:spPr>
          <a:xfrm flipV="1">
            <a:off x="2318941" y="1571397"/>
            <a:ext cx="7702151" cy="4626203"/>
          </a:xfrm>
          <a:prstGeom prst="straightConnector1">
            <a:avLst/>
          </a:prstGeom>
          <a:ln w="28575">
            <a:solidFill>
              <a:schemeClr val="accent1"/>
            </a:solidFill>
            <a:tailEnd type="arrow" w="med" len="sm"/>
          </a:ln>
        </p:spPr>
        <p:style>
          <a:lnRef idx="1">
            <a:schemeClr val="accent1"/>
          </a:lnRef>
          <a:fillRef idx="0">
            <a:schemeClr val="accent1"/>
          </a:fillRef>
          <a:effectRef idx="0">
            <a:schemeClr val="accent1"/>
          </a:effectRef>
          <a:fontRef idx="minor">
            <a:schemeClr val="tx1"/>
          </a:fontRef>
        </p:style>
      </p:cxnSp>
      <p:sp>
        <p:nvSpPr>
          <p:cNvPr id="11" name="Elipse 10">
            <a:extLst>
              <a:ext uri="{FF2B5EF4-FFF2-40B4-BE49-F238E27FC236}">
                <a16:creationId xmlns:a16="http://schemas.microsoft.com/office/drawing/2014/main" id="{FBA2817B-04C1-E085-C01E-2A01C289B928}"/>
              </a:ext>
            </a:extLst>
          </p:cNvPr>
          <p:cNvSpPr/>
          <p:nvPr/>
        </p:nvSpPr>
        <p:spPr>
          <a:xfrm>
            <a:off x="2235597" y="6022578"/>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1</a:t>
            </a:r>
          </a:p>
        </p:txBody>
      </p:sp>
      <p:sp>
        <p:nvSpPr>
          <p:cNvPr id="12" name="Elipse 11">
            <a:extLst>
              <a:ext uri="{FF2B5EF4-FFF2-40B4-BE49-F238E27FC236}">
                <a16:creationId xmlns:a16="http://schemas.microsoft.com/office/drawing/2014/main" id="{0BD800B6-0E92-0200-3DA8-DF3651432410}"/>
              </a:ext>
            </a:extLst>
          </p:cNvPr>
          <p:cNvSpPr/>
          <p:nvPr/>
        </p:nvSpPr>
        <p:spPr>
          <a:xfrm>
            <a:off x="3245304" y="541357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2</a:t>
            </a:r>
          </a:p>
        </p:txBody>
      </p:sp>
      <p:sp>
        <p:nvSpPr>
          <p:cNvPr id="13" name="Elipse 12">
            <a:extLst>
              <a:ext uri="{FF2B5EF4-FFF2-40B4-BE49-F238E27FC236}">
                <a16:creationId xmlns:a16="http://schemas.microsoft.com/office/drawing/2014/main" id="{E2BB779F-9993-6721-697C-84C4B46F8A1E}"/>
              </a:ext>
            </a:extLst>
          </p:cNvPr>
          <p:cNvSpPr/>
          <p:nvPr/>
        </p:nvSpPr>
        <p:spPr>
          <a:xfrm>
            <a:off x="4255011" y="480457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3</a:t>
            </a:r>
          </a:p>
        </p:txBody>
      </p:sp>
      <p:sp>
        <p:nvSpPr>
          <p:cNvPr id="14" name="Elipse 13">
            <a:extLst>
              <a:ext uri="{FF2B5EF4-FFF2-40B4-BE49-F238E27FC236}">
                <a16:creationId xmlns:a16="http://schemas.microsoft.com/office/drawing/2014/main" id="{11699852-0664-8028-563B-98E584286AEF}"/>
              </a:ext>
            </a:extLst>
          </p:cNvPr>
          <p:cNvSpPr/>
          <p:nvPr/>
        </p:nvSpPr>
        <p:spPr>
          <a:xfrm>
            <a:off x="5264718" y="4195569"/>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4</a:t>
            </a:r>
          </a:p>
        </p:txBody>
      </p:sp>
      <p:sp>
        <p:nvSpPr>
          <p:cNvPr id="15" name="Elipse 14">
            <a:extLst>
              <a:ext uri="{FF2B5EF4-FFF2-40B4-BE49-F238E27FC236}">
                <a16:creationId xmlns:a16="http://schemas.microsoft.com/office/drawing/2014/main" id="{2AC61D56-F63A-E973-8EFE-D615618A071B}"/>
              </a:ext>
            </a:extLst>
          </p:cNvPr>
          <p:cNvSpPr/>
          <p:nvPr/>
        </p:nvSpPr>
        <p:spPr>
          <a:xfrm>
            <a:off x="6274425" y="3586567"/>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5</a:t>
            </a:r>
          </a:p>
        </p:txBody>
      </p:sp>
      <p:sp>
        <p:nvSpPr>
          <p:cNvPr id="16" name="Elipse 15">
            <a:extLst>
              <a:ext uri="{FF2B5EF4-FFF2-40B4-BE49-F238E27FC236}">
                <a16:creationId xmlns:a16="http://schemas.microsoft.com/office/drawing/2014/main" id="{6BC52CFB-95A0-1336-401C-B3721F62DBF1}"/>
              </a:ext>
            </a:extLst>
          </p:cNvPr>
          <p:cNvSpPr/>
          <p:nvPr/>
        </p:nvSpPr>
        <p:spPr>
          <a:xfrm>
            <a:off x="7284132" y="2977565"/>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6</a:t>
            </a:r>
          </a:p>
        </p:txBody>
      </p:sp>
      <p:sp>
        <p:nvSpPr>
          <p:cNvPr id="17" name="Elipse 16">
            <a:extLst>
              <a:ext uri="{FF2B5EF4-FFF2-40B4-BE49-F238E27FC236}">
                <a16:creationId xmlns:a16="http://schemas.microsoft.com/office/drawing/2014/main" id="{A7C25D15-9AA5-5A31-7FFE-918C4551F8F8}"/>
              </a:ext>
            </a:extLst>
          </p:cNvPr>
          <p:cNvSpPr/>
          <p:nvPr/>
        </p:nvSpPr>
        <p:spPr>
          <a:xfrm>
            <a:off x="8293839" y="2368563"/>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7</a:t>
            </a:r>
          </a:p>
        </p:txBody>
      </p:sp>
      <p:sp>
        <p:nvSpPr>
          <p:cNvPr id="18" name="Elipse 17">
            <a:extLst>
              <a:ext uri="{FF2B5EF4-FFF2-40B4-BE49-F238E27FC236}">
                <a16:creationId xmlns:a16="http://schemas.microsoft.com/office/drawing/2014/main" id="{9F38D706-26EB-D597-EDA6-1BBB49741F92}"/>
              </a:ext>
            </a:extLst>
          </p:cNvPr>
          <p:cNvSpPr/>
          <p:nvPr/>
        </p:nvSpPr>
        <p:spPr>
          <a:xfrm>
            <a:off x="9303544" y="1759561"/>
            <a:ext cx="309959" cy="3099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8</a:t>
            </a:r>
          </a:p>
        </p:txBody>
      </p:sp>
      <p:sp>
        <p:nvSpPr>
          <p:cNvPr id="19" name="TextBox 25">
            <a:extLst>
              <a:ext uri="{FF2B5EF4-FFF2-40B4-BE49-F238E27FC236}">
                <a16:creationId xmlns:a16="http://schemas.microsoft.com/office/drawing/2014/main" id="{6450E50A-021A-D668-F190-2E662E3AF29F}"/>
              </a:ext>
            </a:extLst>
          </p:cNvPr>
          <p:cNvSpPr txBox="1"/>
          <p:nvPr/>
        </p:nvSpPr>
        <p:spPr>
          <a:xfrm>
            <a:off x="2730410" y="60852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0" name="TextBox 25">
            <a:extLst>
              <a:ext uri="{FF2B5EF4-FFF2-40B4-BE49-F238E27FC236}">
                <a16:creationId xmlns:a16="http://schemas.microsoft.com/office/drawing/2014/main" id="{F7627BAC-862C-414D-4114-1DC0CCD2DE51}"/>
              </a:ext>
            </a:extLst>
          </p:cNvPr>
          <p:cNvSpPr txBox="1"/>
          <p:nvPr/>
        </p:nvSpPr>
        <p:spPr>
          <a:xfrm>
            <a:off x="3759167" y="547621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1" name="TextBox 25">
            <a:extLst>
              <a:ext uri="{FF2B5EF4-FFF2-40B4-BE49-F238E27FC236}">
                <a16:creationId xmlns:a16="http://schemas.microsoft.com/office/drawing/2014/main" id="{EDD34024-5471-7ED7-767E-A9965AF22495}"/>
              </a:ext>
            </a:extLst>
          </p:cNvPr>
          <p:cNvSpPr txBox="1"/>
          <p:nvPr/>
        </p:nvSpPr>
        <p:spPr>
          <a:xfrm>
            <a:off x="4754281" y="486721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2" name="TextBox 25">
            <a:extLst>
              <a:ext uri="{FF2B5EF4-FFF2-40B4-BE49-F238E27FC236}">
                <a16:creationId xmlns:a16="http://schemas.microsoft.com/office/drawing/2014/main" id="{4D7F8AA5-D8F5-05BA-404C-F0B9D319B1DE}"/>
              </a:ext>
            </a:extLst>
          </p:cNvPr>
          <p:cNvSpPr txBox="1"/>
          <p:nvPr/>
        </p:nvSpPr>
        <p:spPr>
          <a:xfrm>
            <a:off x="5832717" y="425821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3" name="TextBox 25">
            <a:extLst>
              <a:ext uri="{FF2B5EF4-FFF2-40B4-BE49-F238E27FC236}">
                <a16:creationId xmlns:a16="http://schemas.microsoft.com/office/drawing/2014/main" id="{A22A3358-FFCF-AABB-E76E-96C57F116D31}"/>
              </a:ext>
            </a:extLst>
          </p:cNvPr>
          <p:cNvSpPr txBox="1"/>
          <p:nvPr/>
        </p:nvSpPr>
        <p:spPr>
          <a:xfrm>
            <a:off x="4695052" y="3649213"/>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4" name="TextBox 25">
            <a:extLst>
              <a:ext uri="{FF2B5EF4-FFF2-40B4-BE49-F238E27FC236}">
                <a16:creationId xmlns:a16="http://schemas.microsoft.com/office/drawing/2014/main" id="{968F3EB9-B390-346E-E9B7-B5218DF1549D}"/>
              </a:ext>
            </a:extLst>
          </p:cNvPr>
          <p:cNvSpPr txBox="1"/>
          <p:nvPr/>
        </p:nvSpPr>
        <p:spPr>
          <a:xfrm>
            <a:off x="5729165" y="3040211"/>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5" name="TextBox 25">
            <a:extLst>
              <a:ext uri="{FF2B5EF4-FFF2-40B4-BE49-F238E27FC236}">
                <a16:creationId xmlns:a16="http://schemas.microsoft.com/office/drawing/2014/main" id="{D51FE6D1-EF10-A77F-8479-56FE0DD2540F}"/>
              </a:ext>
            </a:extLst>
          </p:cNvPr>
          <p:cNvSpPr txBox="1"/>
          <p:nvPr/>
        </p:nvSpPr>
        <p:spPr>
          <a:xfrm>
            <a:off x="6718390" y="24312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26" name="TextBox 25">
            <a:extLst>
              <a:ext uri="{FF2B5EF4-FFF2-40B4-BE49-F238E27FC236}">
                <a16:creationId xmlns:a16="http://schemas.microsoft.com/office/drawing/2014/main" id="{E5663FB7-93E5-36E5-DBB6-265FD20C58BB}"/>
              </a:ext>
            </a:extLst>
          </p:cNvPr>
          <p:cNvSpPr txBox="1"/>
          <p:nvPr/>
        </p:nvSpPr>
        <p:spPr>
          <a:xfrm>
            <a:off x="7756085" y="1822207"/>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9007155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16450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96195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07123E4-E949-A4B9-F71E-8DAED59E89BB}"/>
              </a:ext>
            </a:extLst>
          </p:cNvPr>
          <p:cNvGraphicFramePr>
            <a:graphicFrameLocks noChangeAspect="1"/>
          </p:cNvGraphicFramePr>
          <p:nvPr>
            <p:custDataLst>
              <p:tags r:id="rId1"/>
            </p:custDataLst>
            <p:extLst>
              <p:ext uri="{D42A27DB-BD31-4B8C-83A1-F6EECF244321}">
                <p14:modId xmlns:p14="http://schemas.microsoft.com/office/powerpoint/2010/main" val="112219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07123E4-E949-A4B9-F71E-8DAED59E8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C13325-C708-A399-673B-9F982895B55F}"/>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E3B9A8D-C8F0-B29D-A206-CC57B1A9A493}"/>
              </a:ext>
            </a:extLst>
          </p:cNvPr>
          <p:cNvSpPr>
            <a:spLocks noGrp="1"/>
          </p:cNvSpPr>
          <p:nvPr>
            <p:ph type="title"/>
          </p:nvPr>
        </p:nvSpPr>
        <p:spPr/>
        <p:txBody>
          <a:bodyPr vert="horz"/>
          <a:lstStyle/>
          <a:p>
            <a:r>
              <a:rPr lang="en-US" dirty="0"/>
              <a:t>Template - </a:t>
            </a:r>
            <a:r>
              <a:rPr lang="en-GB" dirty="0"/>
              <a:t>Pie chart</a:t>
            </a:r>
          </a:p>
        </p:txBody>
      </p:sp>
      <p:sp>
        <p:nvSpPr>
          <p:cNvPr id="4" name="Marcador de pie de página 3">
            <a:extLst>
              <a:ext uri="{FF2B5EF4-FFF2-40B4-BE49-F238E27FC236}">
                <a16:creationId xmlns:a16="http://schemas.microsoft.com/office/drawing/2014/main" id="{94A08E57-43B9-92DC-393F-3D2D8D5D9114}"/>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8706C67C-3D8E-C051-DCEE-A4D1AB2C52FA}"/>
              </a:ext>
            </a:extLst>
          </p:cNvPr>
          <p:cNvGraphicFramePr/>
          <p:nvPr>
            <p:extLst>
              <p:ext uri="{D42A27DB-BD31-4B8C-83A1-F6EECF244321}">
                <p14:modId xmlns:p14="http://schemas.microsoft.com/office/powerpoint/2010/main" val="3177813712"/>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25">
            <a:extLst>
              <a:ext uri="{FF2B5EF4-FFF2-40B4-BE49-F238E27FC236}">
                <a16:creationId xmlns:a16="http://schemas.microsoft.com/office/drawing/2014/main" id="{D441A37F-C4DA-5A0A-AD7E-4BB2D07471D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7" name="TextBox 25">
            <a:extLst>
              <a:ext uri="{FF2B5EF4-FFF2-40B4-BE49-F238E27FC236}">
                <a16:creationId xmlns:a16="http://schemas.microsoft.com/office/drawing/2014/main" id="{C0DF0DAB-7CE3-A05A-46FC-6204B8339166}"/>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7DDB6A2F-1DE0-AAAE-C733-9BD4FB248998}"/>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053082DB-1659-B1FF-F8E8-1D9E4A00E716}"/>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1291068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extLst>
              <p:ext uri="{D42A27DB-BD31-4B8C-83A1-F6EECF244321}">
                <p14:modId xmlns:p14="http://schemas.microsoft.com/office/powerpoint/2010/main" val="15450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12D244B-8C23-A028-F87D-2DCBBBC3CE5B}"/>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en-US" dirty="0"/>
              <a:t>Template - </a:t>
            </a:r>
            <a:r>
              <a:rPr lang="en-GB" dirty="0"/>
              <a:t>Doughnut chart</a:t>
            </a:r>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83E98BB8-A656-F6F3-8CAE-B9DC58DC3D77}"/>
              </a:ext>
            </a:extLst>
          </p:cNvPr>
          <p:cNvGraphicFramePr/>
          <p:nvPr>
            <p:extLst>
              <p:ext uri="{D42A27DB-BD31-4B8C-83A1-F6EECF244321}">
                <p14:modId xmlns:p14="http://schemas.microsoft.com/office/powerpoint/2010/main" val="2262446087"/>
              </p:ext>
            </p:extLst>
          </p:nvPr>
        </p:nvGraphicFramePr>
        <p:xfrm>
          <a:off x="2032000" y="1520825"/>
          <a:ext cx="8128000" cy="46175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25">
            <a:extLst>
              <a:ext uri="{FF2B5EF4-FFF2-40B4-BE49-F238E27FC236}">
                <a16:creationId xmlns:a16="http://schemas.microsoft.com/office/drawing/2014/main" id="{1B9FD7B8-9858-BDD3-F573-CF02E0885464}"/>
              </a:ext>
            </a:extLst>
          </p:cNvPr>
          <p:cNvSpPr txBox="1"/>
          <p:nvPr/>
        </p:nvSpPr>
        <p:spPr>
          <a:xfrm>
            <a:off x="7786875" y="2451945"/>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8" name="TextBox 25">
            <a:extLst>
              <a:ext uri="{FF2B5EF4-FFF2-40B4-BE49-F238E27FC236}">
                <a16:creationId xmlns:a16="http://schemas.microsoft.com/office/drawing/2014/main" id="{0AFA0898-7D8C-5B7A-3C1D-EFFB3DCEDCAA}"/>
              </a:ext>
            </a:extLst>
          </p:cNvPr>
          <p:cNvSpPr txBox="1"/>
          <p:nvPr/>
        </p:nvSpPr>
        <p:spPr>
          <a:xfrm>
            <a:off x="7786875" y="5152509"/>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9" name="TextBox 25">
            <a:extLst>
              <a:ext uri="{FF2B5EF4-FFF2-40B4-BE49-F238E27FC236}">
                <a16:creationId xmlns:a16="http://schemas.microsoft.com/office/drawing/2014/main" id="{764831DC-3AD2-5BFC-3AE0-EC25CD0A6B2E}"/>
              </a:ext>
            </a:extLst>
          </p:cNvPr>
          <p:cNvSpPr txBox="1"/>
          <p:nvPr/>
        </p:nvSpPr>
        <p:spPr>
          <a:xfrm>
            <a:off x="3065381" y="2451945"/>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BC6F90F6-064E-E850-9E7C-C8546AD3AAEE}"/>
              </a:ext>
            </a:extLst>
          </p:cNvPr>
          <p:cNvSpPr txBox="1"/>
          <p:nvPr/>
        </p:nvSpPr>
        <p:spPr>
          <a:xfrm>
            <a:off x="3065381" y="5152509"/>
            <a:ext cx="1339745" cy="184666"/>
          </a:xfrm>
          <a:prstGeom prst="rect">
            <a:avLst/>
          </a:prstGeom>
          <a:noFill/>
        </p:spPr>
        <p:txBody>
          <a:bodyPr wrap="square" lIns="0" tIns="0" rIns="0" bIns="0" rtlCol="0" anchor="ctr">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20190626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3716167"/>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4418005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687686-E417-69C7-9D53-C623B785C108}"/>
              </a:ext>
            </a:extLst>
          </p:cNvPr>
          <p:cNvGraphicFramePr>
            <a:graphicFrameLocks noChangeAspect="1"/>
          </p:cNvGraphicFramePr>
          <p:nvPr>
            <p:custDataLst>
              <p:tags r:id="rId1"/>
            </p:custDataLst>
            <p:extLst>
              <p:ext uri="{D42A27DB-BD31-4B8C-83A1-F6EECF244321}">
                <p14:modId xmlns:p14="http://schemas.microsoft.com/office/powerpoint/2010/main" val="106193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687686-E417-69C7-9D53-C623B785C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778A-20F4-5DBB-2F23-B700FCF8A9D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6367DA7-A45A-B629-F23C-D864DB8D7775}"/>
              </a:ext>
            </a:extLst>
          </p:cNvPr>
          <p:cNvSpPr>
            <a:spLocks noGrp="1"/>
          </p:cNvSpPr>
          <p:nvPr>
            <p:ph type="title"/>
          </p:nvPr>
        </p:nvSpPr>
        <p:spPr/>
        <p:txBody>
          <a:bodyPr vert="horz"/>
          <a:lstStyle/>
          <a:p>
            <a:r>
              <a:rPr lang="en-US" dirty="0"/>
              <a:t>Template - Simple area chart</a:t>
            </a:r>
          </a:p>
        </p:txBody>
      </p:sp>
      <p:sp>
        <p:nvSpPr>
          <p:cNvPr id="4" name="Marcador de pie de página 3">
            <a:extLst>
              <a:ext uri="{FF2B5EF4-FFF2-40B4-BE49-F238E27FC236}">
                <a16:creationId xmlns:a16="http://schemas.microsoft.com/office/drawing/2014/main" id="{E6E6C466-904B-750F-C57D-CE6C13D80CE1}"/>
              </a:ext>
            </a:extLst>
          </p:cNvPr>
          <p:cNvSpPr>
            <a:spLocks noGrp="1"/>
          </p:cNvSpPr>
          <p:nvPr>
            <p:ph type="ftr" sz="quarter" idx="3"/>
          </p:nvPr>
        </p:nvSpPr>
        <p:spPr/>
        <p:txBody>
          <a:bodyPr/>
          <a:lstStyle/>
          <a:p>
            <a:r>
              <a:rPr lang="en-US"/>
              <a:t>Source:_______</a:t>
            </a:r>
            <a:endParaRPr lang="en-US" dirty="0"/>
          </a:p>
        </p:txBody>
      </p:sp>
      <p:graphicFrame>
        <p:nvGraphicFramePr>
          <p:cNvPr id="10" name="Gráfico 9">
            <a:extLst>
              <a:ext uri="{FF2B5EF4-FFF2-40B4-BE49-F238E27FC236}">
                <a16:creationId xmlns:a16="http://schemas.microsoft.com/office/drawing/2014/main" id="{2D2346C6-D058-0702-B0CC-FDCF6140902B}"/>
              </a:ext>
            </a:extLst>
          </p:cNvPr>
          <p:cNvGraphicFramePr/>
          <p:nvPr>
            <p:extLst>
              <p:ext uri="{D42A27DB-BD31-4B8C-83A1-F6EECF244321}">
                <p14:modId xmlns:p14="http://schemas.microsoft.com/office/powerpoint/2010/main" val="3576210972"/>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25">
            <a:extLst>
              <a:ext uri="{FF2B5EF4-FFF2-40B4-BE49-F238E27FC236}">
                <a16:creationId xmlns:a16="http://schemas.microsoft.com/office/drawing/2014/main" id="{3D6C251F-F648-64C8-1BE8-19E446B744D7}"/>
              </a:ext>
            </a:extLst>
          </p:cNvPr>
          <p:cNvSpPr txBox="1"/>
          <p:nvPr/>
        </p:nvSpPr>
        <p:spPr>
          <a:xfrm>
            <a:off x="5426128" y="3320104"/>
            <a:ext cx="1339745" cy="184666"/>
          </a:xfrm>
          <a:prstGeom prst="rect">
            <a:avLst/>
          </a:prstGeom>
          <a:noFill/>
        </p:spPr>
        <p:txBody>
          <a:bodyPr wrap="square" lIns="0" tIns="0" rIns="0" bIns="0" rtlCol="0" anchor="ctr">
            <a:spAutoFit/>
          </a:bodyPr>
          <a:lstStyle/>
          <a:p>
            <a:pPr algn="ct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0C366D4E-9D4E-79ED-EE40-2E8A47C7E59E}"/>
              </a:ext>
            </a:extLst>
          </p:cNvPr>
          <p:cNvSpPr txBox="1"/>
          <p:nvPr/>
        </p:nvSpPr>
        <p:spPr>
          <a:xfrm>
            <a:off x="5426128" y="5141618"/>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702848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B1961E3-8214-8DC6-83FE-43EDFEE66FB1}"/>
              </a:ext>
            </a:extLst>
          </p:cNvPr>
          <p:cNvGraphicFramePr>
            <a:graphicFrameLocks noChangeAspect="1"/>
          </p:cNvGraphicFramePr>
          <p:nvPr>
            <p:custDataLst>
              <p:tags r:id="rId1"/>
            </p:custDataLst>
            <p:extLst>
              <p:ext uri="{D42A27DB-BD31-4B8C-83A1-F6EECF244321}">
                <p14:modId xmlns:p14="http://schemas.microsoft.com/office/powerpoint/2010/main" val="23900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B1961E3-8214-8DC6-83FE-43EDFEE66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5CF04FE-B67B-5B20-CB63-021D3B45BE36}"/>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19FE17FE-D501-C195-1257-618CB969B5CB}"/>
              </a:ext>
            </a:extLst>
          </p:cNvPr>
          <p:cNvSpPr>
            <a:spLocks noGrp="1"/>
          </p:cNvSpPr>
          <p:nvPr>
            <p:ph type="title"/>
          </p:nvPr>
        </p:nvSpPr>
        <p:spPr/>
        <p:txBody>
          <a:bodyPr vert="horz"/>
          <a:lstStyle/>
          <a:p>
            <a:r>
              <a:rPr lang="en-US" dirty="0"/>
              <a:t>Template - </a:t>
            </a:r>
            <a:r>
              <a:rPr lang="en-GB" dirty="0"/>
              <a:t>Proportional area chart</a:t>
            </a:r>
          </a:p>
        </p:txBody>
      </p:sp>
      <p:sp>
        <p:nvSpPr>
          <p:cNvPr id="4" name="Marcador de pie de página 3">
            <a:extLst>
              <a:ext uri="{FF2B5EF4-FFF2-40B4-BE49-F238E27FC236}">
                <a16:creationId xmlns:a16="http://schemas.microsoft.com/office/drawing/2014/main" id="{286DFD37-BEBE-E04C-8B66-89D7932AAEAE}"/>
              </a:ext>
            </a:extLst>
          </p:cNvPr>
          <p:cNvSpPr>
            <a:spLocks noGrp="1"/>
          </p:cNvSpPr>
          <p:nvPr>
            <p:ph type="ftr" sz="quarter" idx="3"/>
          </p:nvPr>
        </p:nvSpPr>
        <p:spPr/>
        <p:txBody>
          <a:bodyPr/>
          <a:lstStyle/>
          <a:p>
            <a:r>
              <a:rPr lang="en-US"/>
              <a:t>Source:_______</a:t>
            </a:r>
            <a:endParaRPr lang="en-US" dirty="0"/>
          </a:p>
        </p:txBody>
      </p:sp>
      <p:grpSp>
        <p:nvGrpSpPr>
          <p:cNvPr id="2156" name="Group 2155">
            <a:extLst>
              <a:ext uri="{FF2B5EF4-FFF2-40B4-BE49-F238E27FC236}">
                <a16:creationId xmlns:a16="http://schemas.microsoft.com/office/drawing/2014/main" id="{BC47DAFF-753E-92A6-A0B6-2040A4932BB5}"/>
              </a:ext>
            </a:extLst>
          </p:cNvPr>
          <p:cNvGrpSpPr/>
          <p:nvPr/>
        </p:nvGrpSpPr>
        <p:grpSpPr>
          <a:xfrm>
            <a:off x="1915301" y="2285778"/>
            <a:ext cx="2694936" cy="2600969"/>
            <a:chOff x="1837479" y="2155762"/>
            <a:chExt cx="2694936" cy="2600969"/>
          </a:xfrm>
        </p:grpSpPr>
        <p:sp>
          <p:nvSpPr>
            <p:cNvPr id="7" name="Rectangle 6">
              <a:extLst>
                <a:ext uri="{FF2B5EF4-FFF2-40B4-BE49-F238E27FC236}">
                  <a16:creationId xmlns:a16="http://schemas.microsoft.com/office/drawing/2014/main" id="{8EC4A6DD-DB73-7F66-B618-A741FEF91AB8}"/>
                </a:ext>
              </a:extLst>
            </p:cNvPr>
            <p:cNvSpPr/>
            <p:nvPr/>
          </p:nvSpPr>
          <p:spPr>
            <a:xfrm>
              <a:off x="183747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angle 7">
              <a:extLst>
                <a:ext uri="{FF2B5EF4-FFF2-40B4-BE49-F238E27FC236}">
                  <a16:creationId xmlns:a16="http://schemas.microsoft.com/office/drawing/2014/main" id="{E629ED23-EAE3-79BE-7BDD-9C1942D3555B}"/>
                </a:ext>
              </a:extLst>
            </p:cNvPr>
            <p:cNvSpPr/>
            <p:nvPr/>
          </p:nvSpPr>
          <p:spPr>
            <a:xfrm>
              <a:off x="211546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angle 8">
              <a:extLst>
                <a:ext uri="{FF2B5EF4-FFF2-40B4-BE49-F238E27FC236}">
                  <a16:creationId xmlns:a16="http://schemas.microsoft.com/office/drawing/2014/main" id="{9EB6EF68-735B-6924-1BC9-1CEF4FAEC808}"/>
                </a:ext>
              </a:extLst>
            </p:cNvPr>
            <p:cNvSpPr/>
            <p:nvPr/>
          </p:nvSpPr>
          <p:spPr>
            <a:xfrm>
              <a:off x="239345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angle 9">
              <a:extLst>
                <a:ext uri="{FF2B5EF4-FFF2-40B4-BE49-F238E27FC236}">
                  <a16:creationId xmlns:a16="http://schemas.microsoft.com/office/drawing/2014/main" id="{7F9FECCB-8BDC-E077-46EF-E20D8F4C319B}"/>
                </a:ext>
              </a:extLst>
            </p:cNvPr>
            <p:cNvSpPr/>
            <p:nvPr/>
          </p:nvSpPr>
          <p:spPr>
            <a:xfrm>
              <a:off x="267144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1" name="Rectangle 10">
              <a:extLst>
                <a:ext uri="{FF2B5EF4-FFF2-40B4-BE49-F238E27FC236}">
                  <a16:creationId xmlns:a16="http://schemas.microsoft.com/office/drawing/2014/main" id="{30832A4B-77CB-00FE-BE9D-CB712FADD321}"/>
                </a:ext>
              </a:extLst>
            </p:cNvPr>
            <p:cNvSpPr/>
            <p:nvPr/>
          </p:nvSpPr>
          <p:spPr>
            <a:xfrm>
              <a:off x="2949431"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2" name="Rectangle 11">
              <a:extLst>
                <a:ext uri="{FF2B5EF4-FFF2-40B4-BE49-F238E27FC236}">
                  <a16:creationId xmlns:a16="http://schemas.microsoft.com/office/drawing/2014/main" id="{ADA9EEB8-6452-23AE-85E4-5678B2F402F7}"/>
                </a:ext>
              </a:extLst>
            </p:cNvPr>
            <p:cNvSpPr/>
            <p:nvPr/>
          </p:nvSpPr>
          <p:spPr>
            <a:xfrm>
              <a:off x="3227419"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3" name="Rectangle 12">
              <a:extLst>
                <a:ext uri="{FF2B5EF4-FFF2-40B4-BE49-F238E27FC236}">
                  <a16:creationId xmlns:a16="http://schemas.microsoft.com/office/drawing/2014/main" id="{63FD1E61-F451-47F4-3FFB-8DF3EC02B64E}"/>
                </a:ext>
              </a:extLst>
            </p:cNvPr>
            <p:cNvSpPr/>
            <p:nvPr/>
          </p:nvSpPr>
          <p:spPr>
            <a:xfrm>
              <a:off x="3505407"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4" name="Rectangle 13">
              <a:extLst>
                <a:ext uri="{FF2B5EF4-FFF2-40B4-BE49-F238E27FC236}">
                  <a16:creationId xmlns:a16="http://schemas.microsoft.com/office/drawing/2014/main" id="{317D604E-1390-6060-F1A4-5C71590005B7}"/>
                </a:ext>
              </a:extLst>
            </p:cNvPr>
            <p:cNvSpPr/>
            <p:nvPr/>
          </p:nvSpPr>
          <p:spPr>
            <a:xfrm>
              <a:off x="378339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Rectangle 14">
              <a:extLst>
                <a:ext uri="{FF2B5EF4-FFF2-40B4-BE49-F238E27FC236}">
                  <a16:creationId xmlns:a16="http://schemas.microsoft.com/office/drawing/2014/main" id="{1F4FB49B-2DFD-88E7-1002-0FFC4A4A1655}"/>
                </a:ext>
              </a:extLst>
            </p:cNvPr>
            <p:cNvSpPr/>
            <p:nvPr/>
          </p:nvSpPr>
          <p:spPr>
            <a:xfrm>
              <a:off x="4061383"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6" name="Rectangle 15">
              <a:extLst>
                <a:ext uri="{FF2B5EF4-FFF2-40B4-BE49-F238E27FC236}">
                  <a16:creationId xmlns:a16="http://schemas.microsoft.com/office/drawing/2014/main" id="{11BFF7B5-5155-5267-BBA7-570FCEE1E9FB}"/>
                </a:ext>
              </a:extLst>
            </p:cNvPr>
            <p:cNvSpPr/>
            <p:nvPr/>
          </p:nvSpPr>
          <p:spPr>
            <a:xfrm>
              <a:off x="4339375" y="215576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9" name="Rectangle 28">
              <a:extLst>
                <a:ext uri="{FF2B5EF4-FFF2-40B4-BE49-F238E27FC236}">
                  <a16:creationId xmlns:a16="http://schemas.microsoft.com/office/drawing/2014/main" id="{3A945494-C4C7-C4ED-9227-7C95884E3F28}"/>
                </a:ext>
              </a:extLst>
            </p:cNvPr>
            <p:cNvSpPr/>
            <p:nvPr/>
          </p:nvSpPr>
          <p:spPr>
            <a:xfrm>
              <a:off x="183747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0" name="Rectangle 29">
              <a:extLst>
                <a:ext uri="{FF2B5EF4-FFF2-40B4-BE49-F238E27FC236}">
                  <a16:creationId xmlns:a16="http://schemas.microsoft.com/office/drawing/2014/main" id="{DF3B504F-D7EF-E4F0-BF27-3CFEF9AAAF7D}"/>
                </a:ext>
              </a:extLst>
            </p:cNvPr>
            <p:cNvSpPr/>
            <p:nvPr/>
          </p:nvSpPr>
          <p:spPr>
            <a:xfrm>
              <a:off x="211546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1" name="Rectangle 30">
              <a:extLst>
                <a:ext uri="{FF2B5EF4-FFF2-40B4-BE49-F238E27FC236}">
                  <a16:creationId xmlns:a16="http://schemas.microsoft.com/office/drawing/2014/main" id="{66D330BE-8652-5E9E-DE16-71743112213B}"/>
                </a:ext>
              </a:extLst>
            </p:cNvPr>
            <p:cNvSpPr/>
            <p:nvPr/>
          </p:nvSpPr>
          <p:spPr>
            <a:xfrm>
              <a:off x="239345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2" name="Rectangle 31">
              <a:extLst>
                <a:ext uri="{FF2B5EF4-FFF2-40B4-BE49-F238E27FC236}">
                  <a16:creationId xmlns:a16="http://schemas.microsoft.com/office/drawing/2014/main" id="{4964676B-2788-33D3-DE21-458D2E220363}"/>
                </a:ext>
              </a:extLst>
            </p:cNvPr>
            <p:cNvSpPr/>
            <p:nvPr/>
          </p:nvSpPr>
          <p:spPr>
            <a:xfrm>
              <a:off x="267144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3" name="Rectangle 32">
              <a:extLst>
                <a:ext uri="{FF2B5EF4-FFF2-40B4-BE49-F238E27FC236}">
                  <a16:creationId xmlns:a16="http://schemas.microsoft.com/office/drawing/2014/main" id="{98CD3BDD-900A-4A5B-FDF9-DB628ABBF60D}"/>
                </a:ext>
              </a:extLst>
            </p:cNvPr>
            <p:cNvSpPr/>
            <p:nvPr/>
          </p:nvSpPr>
          <p:spPr>
            <a:xfrm>
              <a:off x="2949431"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4" name="Rectangle 33">
              <a:extLst>
                <a:ext uri="{FF2B5EF4-FFF2-40B4-BE49-F238E27FC236}">
                  <a16:creationId xmlns:a16="http://schemas.microsoft.com/office/drawing/2014/main" id="{E7535780-68F1-F34F-D193-964C121D06C9}"/>
                </a:ext>
              </a:extLst>
            </p:cNvPr>
            <p:cNvSpPr/>
            <p:nvPr/>
          </p:nvSpPr>
          <p:spPr>
            <a:xfrm>
              <a:off x="3227419"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5" name="Rectangle 34">
              <a:extLst>
                <a:ext uri="{FF2B5EF4-FFF2-40B4-BE49-F238E27FC236}">
                  <a16:creationId xmlns:a16="http://schemas.microsoft.com/office/drawing/2014/main" id="{DE3C6669-5D33-0A33-F62B-B32CD6FD1D05}"/>
                </a:ext>
              </a:extLst>
            </p:cNvPr>
            <p:cNvSpPr/>
            <p:nvPr/>
          </p:nvSpPr>
          <p:spPr>
            <a:xfrm>
              <a:off x="3505407"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6" name="Rectangle 35">
              <a:extLst>
                <a:ext uri="{FF2B5EF4-FFF2-40B4-BE49-F238E27FC236}">
                  <a16:creationId xmlns:a16="http://schemas.microsoft.com/office/drawing/2014/main" id="{400CD648-9E69-809E-473F-7DF272587108}"/>
                </a:ext>
              </a:extLst>
            </p:cNvPr>
            <p:cNvSpPr/>
            <p:nvPr/>
          </p:nvSpPr>
          <p:spPr>
            <a:xfrm>
              <a:off x="378339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7" name="Rectangle 36">
              <a:extLst>
                <a:ext uri="{FF2B5EF4-FFF2-40B4-BE49-F238E27FC236}">
                  <a16:creationId xmlns:a16="http://schemas.microsoft.com/office/drawing/2014/main" id="{38F2F40A-9579-3EBE-5209-D0533C5D28B3}"/>
                </a:ext>
              </a:extLst>
            </p:cNvPr>
            <p:cNvSpPr/>
            <p:nvPr/>
          </p:nvSpPr>
          <p:spPr>
            <a:xfrm>
              <a:off x="4061383"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38" name="Rectangle 37">
              <a:extLst>
                <a:ext uri="{FF2B5EF4-FFF2-40B4-BE49-F238E27FC236}">
                  <a16:creationId xmlns:a16="http://schemas.microsoft.com/office/drawing/2014/main" id="{DC047ABA-E985-86AA-712D-7A7B82F7A19B}"/>
                </a:ext>
              </a:extLst>
            </p:cNvPr>
            <p:cNvSpPr/>
            <p:nvPr/>
          </p:nvSpPr>
          <p:spPr>
            <a:xfrm>
              <a:off x="4339375" y="2423310"/>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0" name="Rectangle 39">
              <a:extLst>
                <a:ext uri="{FF2B5EF4-FFF2-40B4-BE49-F238E27FC236}">
                  <a16:creationId xmlns:a16="http://schemas.microsoft.com/office/drawing/2014/main" id="{0CD1AD44-B806-1B7B-B5B3-88747DD090AE}"/>
                </a:ext>
              </a:extLst>
            </p:cNvPr>
            <p:cNvSpPr/>
            <p:nvPr/>
          </p:nvSpPr>
          <p:spPr>
            <a:xfrm>
              <a:off x="183747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1" name="Rectangle 40">
              <a:extLst>
                <a:ext uri="{FF2B5EF4-FFF2-40B4-BE49-F238E27FC236}">
                  <a16:creationId xmlns:a16="http://schemas.microsoft.com/office/drawing/2014/main" id="{C174602B-9107-1CB4-90E7-F048DD5BDFAC}"/>
                </a:ext>
              </a:extLst>
            </p:cNvPr>
            <p:cNvSpPr/>
            <p:nvPr/>
          </p:nvSpPr>
          <p:spPr>
            <a:xfrm>
              <a:off x="211546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2" name="Rectangle 41">
              <a:extLst>
                <a:ext uri="{FF2B5EF4-FFF2-40B4-BE49-F238E27FC236}">
                  <a16:creationId xmlns:a16="http://schemas.microsoft.com/office/drawing/2014/main" id="{97A19E33-9E63-80D7-BA97-9B5ACAD8C50F}"/>
                </a:ext>
              </a:extLst>
            </p:cNvPr>
            <p:cNvSpPr/>
            <p:nvPr/>
          </p:nvSpPr>
          <p:spPr>
            <a:xfrm>
              <a:off x="239345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3" name="Rectangle 42">
              <a:extLst>
                <a:ext uri="{FF2B5EF4-FFF2-40B4-BE49-F238E27FC236}">
                  <a16:creationId xmlns:a16="http://schemas.microsoft.com/office/drawing/2014/main" id="{257F4250-3E74-29A7-8B54-DD240993E327}"/>
                </a:ext>
              </a:extLst>
            </p:cNvPr>
            <p:cNvSpPr/>
            <p:nvPr/>
          </p:nvSpPr>
          <p:spPr>
            <a:xfrm>
              <a:off x="267144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4" name="Rectangle 43">
              <a:extLst>
                <a:ext uri="{FF2B5EF4-FFF2-40B4-BE49-F238E27FC236}">
                  <a16:creationId xmlns:a16="http://schemas.microsoft.com/office/drawing/2014/main" id="{909517F1-4316-8567-EB22-5A30E9149728}"/>
                </a:ext>
              </a:extLst>
            </p:cNvPr>
            <p:cNvSpPr/>
            <p:nvPr/>
          </p:nvSpPr>
          <p:spPr>
            <a:xfrm>
              <a:off x="2949431"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5" name="Rectangle 44">
              <a:extLst>
                <a:ext uri="{FF2B5EF4-FFF2-40B4-BE49-F238E27FC236}">
                  <a16:creationId xmlns:a16="http://schemas.microsoft.com/office/drawing/2014/main" id="{CF1E82BB-76A3-89DE-2230-D0E5B422EAE6}"/>
                </a:ext>
              </a:extLst>
            </p:cNvPr>
            <p:cNvSpPr/>
            <p:nvPr/>
          </p:nvSpPr>
          <p:spPr>
            <a:xfrm>
              <a:off x="3227419"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6" name="Rectangle 45">
              <a:extLst>
                <a:ext uri="{FF2B5EF4-FFF2-40B4-BE49-F238E27FC236}">
                  <a16:creationId xmlns:a16="http://schemas.microsoft.com/office/drawing/2014/main" id="{2A0ED08C-4681-7A0D-3308-0676270CE00A}"/>
                </a:ext>
              </a:extLst>
            </p:cNvPr>
            <p:cNvSpPr/>
            <p:nvPr/>
          </p:nvSpPr>
          <p:spPr>
            <a:xfrm>
              <a:off x="3505407"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7" name="Rectangle 46">
              <a:extLst>
                <a:ext uri="{FF2B5EF4-FFF2-40B4-BE49-F238E27FC236}">
                  <a16:creationId xmlns:a16="http://schemas.microsoft.com/office/drawing/2014/main" id="{B4A36B6C-5F0D-C422-8B46-CA9DEBEF6E04}"/>
                </a:ext>
              </a:extLst>
            </p:cNvPr>
            <p:cNvSpPr/>
            <p:nvPr/>
          </p:nvSpPr>
          <p:spPr>
            <a:xfrm>
              <a:off x="378339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8" name="Rectangle 47">
              <a:extLst>
                <a:ext uri="{FF2B5EF4-FFF2-40B4-BE49-F238E27FC236}">
                  <a16:creationId xmlns:a16="http://schemas.microsoft.com/office/drawing/2014/main" id="{A529BA3B-F399-5535-1DDC-0377B26C69BA}"/>
                </a:ext>
              </a:extLst>
            </p:cNvPr>
            <p:cNvSpPr/>
            <p:nvPr/>
          </p:nvSpPr>
          <p:spPr>
            <a:xfrm>
              <a:off x="4061383"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49" name="Rectangle 48">
              <a:extLst>
                <a:ext uri="{FF2B5EF4-FFF2-40B4-BE49-F238E27FC236}">
                  <a16:creationId xmlns:a16="http://schemas.microsoft.com/office/drawing/2014/main" id="{6E047C4A-5B5D-4F49-4538-EC1512C40724}"/>
                </a:ext>
              </a:extLst>
            </p:cNvPr>
            <p:cNvSpPr/>
            <p:nvPr/>
          </p:nvSpPr>
          <p:spPr>
            <a:xfrm>
              <a:off x="4339375" y="2690858"/>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1" name="Rectangle 50">
              <a:extLst>
                <a:ext uri="{FF2B5EF4-FFF2-40B4-BE49-F238E27FC236}">
                  <a16:creationId xmlns:a16="http://schemas.microsoft.com/office/drawing/2014/main" id="{CF0C819A-D762-BC80-4154-2A60937C2F6C}"/>
                </a:ext>
              </a:extLst>
            </p:cNvPr>
            <p:cNvSpPr/>
            <p:nvPr/>
          </p:nvSpPr>
          <p:spPr>
            <a:xfrm>
              <a:off x="183747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2" name="Rectangle 51">
              <a:extLst>
                <a:ext uri="{FF2B5EF4-FFF2-40B4-BE49-F238E27FC236}">
                  <a16:creationId xmlns:a16="http://schemas.microsoft.com/office/drawing/2014/main" id="{518E9D54-65F9-5448-9192-5F424AF338C6}"/>
                </a:ext>
              </a:extLst>
            </p:cNvPr>
            <p:cNvSpPr/>
            <p:nvPr/>
          </p:nvSpPr>
          <p:spPr>
            <a:xfrm>
              <a:off x="211546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3" name="Rectangle 52">
              <a:extLst>
                <a:ext uri="{FF2B5EF4-FFF2-40B4-BE49-F238E27FC236}">
                  <a16:creationId xmlns:a16="http://schemas.microsoft.com/office/drawing/2014/main" id="{BEAE8549-C1D0-8576-1168-285437255536}"/>
                </a:ext>
              </a:extLst>
            </p:cNvPr>
            <p:cNvSpPr/>
            <p:nvPr/>
          </p:nvSpPr>
          <p:spPr>
            <a:xfrm>
              <a:off x="239345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4" name="Rectangle 53">
              <a:extLst>
                <a:ext uri="{FF2B5EF4-FFF2-40B4-BE49-F238E27FC236}">
                  <a16:creationId xmlns:a16="http://schemas.microsoft.com/office/drawing/2014/main" id="{92F6BC5D-B12A-C4B5-F94B-2EB3E644B4DE}"/>
                </a:ext>
              </a:extLst>
            </p:cNvPr>
            <p:cNvSpPr/>
            <p:nvPr/>
          </p:nvSpPr>
          <p:spPr>
            <a:xfrm>
              <a:off x="267144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5" name="Rectangle 54">
              <a:extLst>
                <a:ext uri="{FF2B5EF4-FFF2-40B4-BE49-F238E27FC236}">
                  <a16:creationId xmlns:a16="http://schemas.microsoft.com/office/drawing/2014/main" id="{E4B05B36-56BB-4DC9-C78B-A8B34F4C4222}"/>
                </a:ext>
              </a:extLst>
            </p:cNvPr>
            <p:cNvSpPr/>
            <p:nvPr/>
          </p:nvSpPr>
          <p:spPr>
            <a:xfrm>
              <a:off x="2949431"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6" name="Rectangle 55">
              <a:extLst>
                <a:ext uri="{FF2B5EF4-FFF2-40B4-BE49-F238E27FC236}">
                  <a16:creationId xmlns:a16="http://schemas.microsoft.com/office/drawing/2014/main" id="{00882D1F-1730-02CD-4109-079E4A675AA3}"/>
                </a:ext>
              </a:extLst>
            </p:cNvPr>
            <p:cNvSpPr/>
            <p:nvPr/>
          </p:nvSpPr>
          <p:spPr>
            <a:xfrm>
              <a:off x="3227419"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7" name="Rectangle 56">
              <a:extLst>
                <a:ext uri="{FF2B5EF4-FFF2-40B4-BE49-F238E27FC236}">
                  <a16:creationId xmlns:a16="http://schemas.microsoft.com/office/drawing/2014/main" id="{AB5DECA7-7A95-2AA9-6466-C007A4488A5A}"/>
                </a:ext>
              </a:extLst>
            </p:cNvPr>
            <p:cNvSpPr/>
            <p:nvPr/>
          </p:nvSpPr>
          <p:spPr>
            <a:xfrm>
              <a:off x="3505407"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8" name="Rectangle 57">
              <a:extLst>
                <a:ext uri="{FF2B5EF4-FFF2-40B4-BE49-F238E27FC236}">
                  <a16:creationId xmlns:a16="http://schemas.microsoft.com/office/drawing/2014/main" id="{2CB110FD-E9D7-8BD5-B4A9-325651B3C35B}"/>
                </a:ext>
              </a:extLst>
            </p:cNvPr>
            <p:cNvSpPr/>
            <p:nvPr/>
          </p:nvSpPr>
          <p:spPr>
            <a:xfrm>
              <a:off x="378339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59" name="Rectangle 58">
              <a:extLst>
                <a:ext uri="{FF2B5EF4-FFF2-40B4-BE49-F238E27FC236}">
                  <a16:creationId xmlns:a16="http://schemas.microsoft.com/office/drawing/2014/main" id="{268FF918-497C-3C60-98DB-20970EE2C2A7}"/>
                </a:ext>
              </a:extLst>
            </p:cNvPr>
            <p:cNvSpPr/>
            <p:nvPr/>
          </p:nvSpPr>
          <p:spPr>
            <a:xfrm>
              <a:off x="4061383"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60" name="Rectangle 59">
              <a:extLst>
                <a:ext uri="{FF2B5EF4-FFF2-40B4-BE49-F238E27FC236}">
                  <a16:creationId xmlns:a16="http://schemas.microsoft.com/office/drawing/2014/main" id="{A1FC40EB-AE61-69E3-8574-D3F37D8CAE0A}"/>
                </a:ext>
              </a:extLst>
            </p:cNvPr>
            <p:cNvSpPr/>
            <p:nvPr/>
          </p:nvSpPr>
          <p:spPr>
            <a:xfrm>
              <a:off x="4339375" y="2958406"/>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1" name="Rectangle 2090">
              <a:extLst>
                <a:ext uri="{FF2B5EF4-FFF2-40B4-BE49-F238E27FC236}">
                  <a16:creationId xmlns:a16="http://schemas.microsoft.com/office/drawing/2014/main" id="{106F950B-9727-6A68-B744-D571AC63A8CF}"/>
                </a:ext>
              </a:extLst>
            </p:cNvPr>
            <p:cNvSpPr/>
            <p:nvPr/>
          </p:nvSpPr>
          <p:spPr>
            <a:xfrm>
              <a:off x="183747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2" name="Rectangle 2091">
              <a:extLst>
                <a:ext uri="{FF2B5EF4-FFF2-40B4-BE49-F238E27FC236}">
                  <a16:creationId xmlns:a16="http://schemas.microsoft.com/office/drawing/2014/main" id="{8D19404D-E67C-1215-EDEA-E26D8DC6DBC7}"/>
                </a:ext>
              </a:extLst>
            </p:cNvPr>
            <p:cNvSpPr/>
            <p:nvPr/>
          </p:nvSpPr>
          <p:spPr>
            <a:xfrm>
              <a:off x="211546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3" name="Rectangle 2092">
              <a:extLst>
                <a:ext uri="{FF2B5EF4-FFF2-40B4-BE49-F238E27FC236}">
                  <a16:creationId xmlns:a16="http://schemas.microsoft.com/office/drawing/2014/main" id="{850E4876-8D7E-174F-388A-F8867B44584E}"/>
                </a:ext>
              </a:extLst>
            </p:cNvPr>
            <p:cNvSpPr/>
            <p:nvPr/>
          </p:nvSpPr>
          <p:spPr>
            <a:xfrm>
              <a:off x="239345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4" name="Rectangle 2093">
              <a:extLst>
                <a:ext uri="{FF2B5EF4-FFF2-40B4-BE49-F238E27FC236}">
                  <a16:creationId xmlns:a16="http://schemas.microsoft.com/office/drawing/2014/main" id="{F22357D0-87BB-2E9D-3552-33615CBD05A9}"/>
                </a:ext>
              </a:extLst>
            </p:cNvPr>
            <p:cNvSpPr/>
            <p:nvPr/>
          </p:nvSpPr>
          <p:spPr>
            <a:xfrm>
              <a:off x="267144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5" name="Rectangle 2094">
              <a:extLst>
                <a:ext uri="{FF2B5EF4-FFF2-40B4-BE49-F238E27FC236}">
                  <a16:creationId xmlns:a16="http://schemas.microsoft.com/office/drawing/2014/main" id="{492CCFF5-A24D-E646-86C7-C4B1E7FCF581}"/>
                </a:ext>
              </a:extLst>
            </p:cNvPr>
            <p:cNvSpPr/>
            <p:nvPr/>
          </p:nvSpPr>
          <p:spPr>
            <a:xfrm>
              <a:off x="2949431"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6" name="Rectangle 2095">
              <a:extLst>
                <a:ext uri="{FF2B5EF4-FFF2-40B4-BE49-F238E27FC236}">
                  <a16:creationId xmlns:a16="http://schemas.microsoft.com/office/drawing/2014/main" id="{FB57F4EF-FE69-4D63-05B1-AB3396CB46F4}"/>
                </a:ext>
              </a:extLst>
            </p:cNvPr>
            <p:cNvSpPr/>
            <p:nvPr/>
          </p:nvSpPr>
          <p:spPr>
            <a:xfrm>
              <a:off x="3227419"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7" name="Rectangle 2096">
              <a:extLst>
                <a:ext uri="{FF2B5EF4-FFF2-40B4-BE49-F238E27FC236}">
                  <a16:creationId xmlns:a16="http://schemas.microsoft.com/office/drawing/2014/main" id="{918F1B43-1D29-ED57-901D-5FF8BF6831C6}"/>
                </a:ext>
              </a:extLst>
            </p:cNvPr>
            <p:cNvSpPr/>
            <p:nvPr/>
          </p:nvSpPr>
          <p:spPr>
            <a:xfrm>
              <a:off x="3505407"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8" name="Rectangle 2097">
              <a:extLst>
                <a:ext uri="{FF2B5EF4-FFF2-40B4-BE49-F238E27FC236}">
                  <a16:creationId xmlns:a16="http://schemas.microsoft.com/office/drawing/2014/main" id="{88805ADD-3424-E84C-B92C-2FB76E8EA366}"/>
                </a:ext>
              </a:extLst>
            </p:cNvPr>
            <p:cNvSpPr/>
            <p:nvPr/>
          </p:nvSpPr>
          <p:spPr>
            <a:xfrm>
              <a:off x="378339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099" name="Rectangle 2098">
              <a:extLst>
                <a:ext uri="{FF2B5EF4-FFF2-40B4-BE49-F238E27FC236}">
                  <a16:creationId xmlns:a16="http://schemas.microsoft.com/office/drawing/2014/main" id="{42D1B121-D1F7-18B2-6774-78F8809459C6}"/>
                </a:ext>
              </a:extLst>
            </p:cNvPr>
            <p:cNvSpPr/>
            <p:nvPr/>
          </p:nvSpPr>
          <p:spPr>
            <a:xfrm>
              <a:off x="4061383"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0" name="Rectangle 2099">
              <a:extLst>
                <a:ext uri="{FF2B5EF4-FFF2-40B4-BE49-F238E27FC236}">
                  <a16:creationId xmlns:a16="http://schemas.microsoft.com/office/drawing/2014/main" id="{98BF2ACD-F9F7-E260-D8FD-C279CA11DA3C}"/>
                </a:ext>
              </a:extLst>
            </p:cNvPr>
            <p:cNvSpPr/>
            <p:nvPr/>
          </p:nvSpPr>
          <p:spPr>
            <a:xfrm>
              <a:off x="4339375" y="3225954"/>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2" name="Rectangle 2101">
              <a:extLst>
                <a:ext uri="{FF2B5EF4-FFF2-40B4-BE49-F238E27FC236}">
                  <a16:creationId xmlns:a16="http://schemas.microsoft.com/office/drawing/2014/main" id="{154A5A18-82A7-22E9-4DA6-C9357B9B161B}"/>
                </a:ext>
              </a:extLst>
            </p:cNvPr>
            <p:cNvSpPr/>
            <p:nvPr/>
          </p:nvSpPr>
          <p:spPr>
            <a:xfrm>
              <a:off x="1837479"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3" name="Rectangle 2102">
              <a:extLst>
                <a:ext uri="{FF2B5EF4-FFF2-40B4-BE49-F238E27FC236}">
                  <a16:creationId xmlns:a16="http://schemas.microsoft.com/office/drawing/2014/main" id="{709A7C9B-D8BF-6926-EFDE-3A128C80283D}"/>
                </a:ext>
              </a:extLst>
            </p:cNvPr>
            <p:cNvSpPr/>
            <p:nvPr/>
          </p:nvSpPr>
          <p:spPr>
            <a:xfrm>
              <a:off x="2115467"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4" name="Rectangle 2103">
              <a:extLst>
                <a:ext uri="{FF2B5EF4-FFF2-40B4-BE49-F238E27FC236}">
                  <a16:creationId xmlns:a16="http://schemas.microsoft.com/office/drawing/2014/main" id="{940C501C-4E4B-B549-4CB4-08BB952CFD5E}"/>
                </a:ext>
              </a:extLst>
            </p:cNvPr>
            <p:cNvSpPr/>
            <p:nvPr/>
          </p:nvSpPr>
          <p:spPr>
            <a:xfrm>
              <a:off x="2393455" y="3493502"/>
              <a:ext cx="193040" cy="19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5" name="Rectangle 2104">
              <a:extLst>
                <a:ext uri="{FF2B5EF4-FFF2-40B4-BE49-F238E27FC236}">
                  <a16:creationId xmlns:a16="http://schemas.microsoft.com/office/drawing/2014/main" id="{925C9822-5C16-500D-F4AC-BB04D65781AF}"/>
                </a:ext>
              </a:extLst>
            </p:cNvPr>
            <p:cNvSpPr/>
            <p:nvPr/>
          </p:nvSpPr>
          <p:spPr>
            <a:xfrm>
              <a:off x="267144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6" name="Rectangle 2105">
              <a:extLst>
                <a:ext uri="{FF2B5EF4-FFF2-40B4-BE49-F238E27FC236}">
                  <a16:creationId xmlns:a16="http://schemas.microsoft.com/office/drawing/2014/main" id="{B92F036B-B986-8E77-96C3-63104113464A}"/>
                </a:ext>
              </a:extLst>
            </p:cNvPr>
            <p:cNvSpPr/>
            <p:nvPr/>
          </p:nvSpPr>
          <p:spPr>
            <a:xfrm>
              <a:off x="2949431"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7" name="Rectangle 2106">
              <a:extLst>
                <a:ext uri="{FF2B5EF4-FFF2-40B4-BE49-F238E27FC236}">
                  <a16:creationId xmlns:a16="http://schemas.microsoft.com/office/drawing/2014/main" id="{226805EB-B465-F97D-7CCA-ED7C77D38ED2}"/>
                </a:ext>
              </a:extLst>
            </p:cNvPr>
            <p:cNvSpPr/>
            <p:nvPr/>
          </p:nvSpPr>
          <p:spPr>
            <a:xfrm>
              <a:off x="3227419"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8" name="Rectangle 2107">
              <a:extLst>
                <a:ext uri="{FF2B5EF4-FFF2-40B4-BE49-F238E27FC236}">
                  <a16:creationId xmlns:a16="http://schemas.microsoft.com/office/drawing/2014/main" id="{30886372-DBAC-36EA-00A8-0AFCC37E6ED8}"/>
                </a:ext>
              </a:extLst>
            </p:cNvPr>
            <p:cNvSpPr/>
            <p:nvPr/>
          </p:nvSpPr>
          <p:spPr>
            <a:xfrm>
              <a:off x="3505407"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09" name="Rectangle 2108">
              <a:extLst>
                <a:ext uri="{FF2B5EF4-FFF2-40B4-BE49-F238E27FC236}">
                  <a16:creationId xmlns:a16="http://schemas.microsoft.com/office/drawing/2014/main" id="{EE83AF3A-EC9F-7F9A-5791-E2A2ECA04C71}"/>
                </a:ext>
              </a:extLst>
            </p:cNvPr>
            <p:cNvSpPr/>
            <p:nvPr/>
          </p:nvSpPr>
          <p:spPr>
            <a:xfrm>
              <a:off x="378339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0" name="Rectangle 2109">
              <a:extLst>
                <a:ext uri="{FF2B5EF4-FFF2-40B4-BE49-F238E27FC236}">
                  <a16:creationId xmlns:a16="http://schemas.microsoft.com/office/drawing/2014/main" id="{4A81E1EB-9F07-D85E-BA30-32B0B565F994}"/>
                </a:ext>
              </a:extLst>
            </p:cNvPr>
            <p:cNvSpPr/>
            <p:nvPr/>
          </p:nvSpPr>
          <p:spPr>
            <a:xfrm>
              <a:off x="4061383"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1" name="Rectangle 2110">
              <a:extLst>
                <a:ext uri="{FF2B5EF4-FFF2-40B4-BE49-F238E27FC236}">
                  <a16:creationId xmlns:a16="http://schemas.microsoft.com/office/drawing/2014/main" id="{A3751E5C-60B0-5FC5-7CD1-8C5B5F0FA232}"/>
                </a:ext>
              </a:extLst>
            </p:cNvPr>
            <p:cNvSpPr/>
            <p:nvPr/>
          </p:nvSpPr>
          <p:spPr>
            <a:xfrm>
              <a:off x="4339375" y="3493502"/>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3" name="Rectangle 2112">
              <a:extLst>
                <a:ext uri="{FF2B5EF4-FFF2-40B4-BE49-F238E27FC236}">
                  <a16:creationId xmlns:a16="http://schemas.microsoft.com/office/drawing/2014/main" id="{649F9D1B-FCDB-3AA5-023E-CA0F9BC82D4B}"/>
                </a:ext>
              </a:extLst>
            </p:cNvPr>
            <p:cNvSpPr/>
            <p:nvPr/>
          </p:nvSpPr>
          <p:spPr>
            <a:xfrm>
              <a:off x="183747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4" name="Rectangle 2113">
              <a:extLst>
                <a:ext uri="{FF2B5EF4-FFF2-40B4-BE49-F238E27FC236}">
                  <a16:creationId xmlns:a16="http://schemas.microsoft.com/office/drawing/2014/main" id="{3E26F80C-8314-37EC-D758-631035595E92}"/>
                </a:ext>
              </a:extLst>
            </p:cNvPr>
            <p:cNvSpPr/>
            <p:nvPr/>
          </p:nvSpPr>
          <p:spPr>
            <a:xfrm>
              <a:off x="211546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5" name="Rectangle 2114">
              <a:extLst>
                <a:ext uri="{FF2B5EF4-FFF2-40B4-BE49-F238E27FC236}">
                  <a16:creationId xmlns:a16="http://schemas.microsoft.com/office/drawing/2014/main" id="{5D8347D7-4CFB-35CB-9FE3-76B68D83C68E}"/>
                </a:ext>
              </a:extLst>
            </p:cNvPr>
            <p:cNvSpPr/>
            <p:nvPr/>
          </p:nvSpPr>
          <p:spPr>
            <a:xfrm>
              <a:off x="239345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6" name="Rectangle 2115">
              <a:extLst>
                <a:ext uri="{FF2B5EF4-FFF2-40B4-BE49-F238E27FC236}">
                  <a16:creationId xmlns:a16="http://schemas.microsoft.com/office/drawing/2014/main" id="{4ED04DE7-D8B6-5583-BE30-66C21875DB1C}"/>
                </a:ext>
              </a:extLst>
            </p:cNvPr>
            <p:cNvSpPr/>
            <p:nvPr/>
          </p:nvSpPr>
          <p:spPr>
            <a:xfrm>
              <a:off x="267144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7" name="Rectangle 2116">
              <a:extLst>
                <a:ext uri="{FF2B5EF4-FFF2-40B4-BE49-F238E27FC236}">
                  <a16:creationId xmlns:a16="http://schemas.microsoft.com/office/drawing/2014/main" id="{E0C4E7A2-2DFA-B824-87C2-8E372247EC6C}"/>
                </a:ext>
              </a:extLst>
            </p:cNvPr>
            <p:cNvSpPr/>
            <p:nvPr/>
          </p:nvSpPr>
          <p:spPr>
            <a:xfrm>
              <a:off x="2949431"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8" name="Rectangle 2117">
              <a:extLst>
                <a:ext uri="{FF2B5EF4-FFF2-40B4-BE49-F238E27FC236}">
                  <a16:creationId xmlns:a16="http://schemas.microsoft.com/office/drawing/2014/main" id="{0B3A3BFD-F440-E29E-5980-C0BFDBF36C41}"/>
                </a:ext>
              </a:extLst>
            </p:cNvPr>
            <p:cNvSpPr/>
            <p:nvPr/>
          </p:nvSpPr>
          <p:spPr>
            <a:xfrm>
              <a:off x="3227419"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19" name="Rectangle 2118">
              <a:extLst>
                <a:ext uri="{FF2B5EF4-FFF2-40B4-BE49-F238E27FC236}">
                  <a16:creationId xmlns:a16="http://schemas.microsoft.com/office/drawing/2014/main" id="{5FD011F0-DE00-6332-720E-6FB1A15A6EE1}"/>
                </a:ext>
              </a:extLst>
            </p:cNvPr>
            <p:cNvSpPr/>
            <p:nvPr/>
          </p:nvSpPr>
          <p:spPr>
            <a:xfrm>
              <a:off x="3505407"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0" name="Rectangle 2119">
              <a:extLst>
                <a:ext uri="{FF2B5EF4-FFF2-40B4-BE49-F238E27FC236}">
                  <a16:creationId xmlns:a16="http://schemas.microsoft.com/office/drawing/2014/main" id="{1D5F081B-F376-8039-9E67-9E89883963A1}"/>
                </a:ext>
              </a:extLst>
            </p:cNvPr>
            <p:cNvSpPr/>
            <p:nvPr/>
          </p:nvSpPr>
          <p:spPr>
            <a:xfrm>
              <a:off x="378339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1" name="Rectangle 2120">
              <a:extLst>
                <a:ext uri="{FF2B5EF4-FFF2-40B4-BE49-F238E27FC236}">
                  <a16:creationId xmlns:a16="http://schemas.microsoft.com/office/drawing/2014/main" id="{969CF04A-26EF-5C11-19C2-9202E600B631}"/>
                </a:ext>
              </a:extLst>
            </p:cNvPr>
            <p:cNvSpPr/>
            <p:nvPr/>
          </p:nvSpPr>
          <p:spPr>
            <a:xfrm>
              <a:off x="4061383"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2" name="Rectangle 2121">
              <a:extLst>
                <a:ext uri="{FF2B5EF4-FFF2-40B4-BE49-F238E27FC236}">
                  <a16:creationId xmlns:a16="http://schemas.microsoft.com/office/drawing/2014/main" id="{DB935D01-BA38-FB8E-9833-E309193FFB0E}"/>
                </a:ext>
              </a:extLst>
            </p:cNvPr>
            <p:cNvSpPr/>
            <p:nvPr/>
          </p:nvSpPr>
          <p:spPr>
            <a:xfrm>
              <a:off x="4339375" y="3761050"/>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4" name="Rectangle 2123">
              <a:extLst>
                <a:ext uri="{FF2B5EF4-FFF2-40B4-BE49-F238E27FC236}">
                  <a16:creationId xmlns:a16="http://schemas.microsoft.com/office/drawing/2014/main" id="{057984CF-BB25-DB1D-B3CD-DB0304D4B95F}"/>
                </a:ext>
              </a:extLst>
            </p:cNvPr>
            <p:cNvSpPr/>
            <p:nvPr/>
          </p:nvSpPr>
          <p:spPr>
            <a:xfrm>
              <a:off x="183747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5" name="Rectangle 2124">
              <a:extLst>
                <a:ext uri="{FF2B5EF4-FFF2-40B4-BE49-F238E27FC236}">
                  <a16:creationId xmlns:a16="http://schemas.microsoft.com/office/drawing/2014/main" id="{074C7F4A-CFE2-09C3-8AAF-E5A10226C267}"/>
                </a:ext>
              </a:extLst>
            </p:cNvPr>
            <p:cNvSpPr/>
            <p:nvPr/>
          </p:nvSpPr>
          <p:spPr>
            <a:xfrm>
              <a:off x="211546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6" name="Rectangle 2125">
              <a:extLst>
                <a:ext uri="{FF2B5EF4-FFF2-40B4-BE49-F238E27FC236}">
                  <a16:creationId xmlns:a16="http://schemas.microsoft.com/office/drawing/2014/main" id="{E96BE73D-CF8F-1A37-20B5-E55FCC428FAF}"/>
                </a:ext>
              </a:extLst>
            </p:cNvPr>
            <p:cNvSpPr/>
            <p:nvPr/>
          </p:nvSpPr>
          <p:spPr>
            <a:xfrm>
              <a:off x="239345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7" name="Rectangle 2126">
              <a:extLst>
                <a:ext uri="{FF2B5EF4-FFF2-40B4-BE49-F238E27FC236}">
                  <a16:creationId xmlns:a16="http://schemas.microsoft.com/office/drawing/2014/main" id="{116D76D0-EA73-2190-A9D8-0E7961C87691}"/>
                </a:ext>
              </a:extLst>
            </p:cNvPr>
            <p:cNvSpPr/>
            <p:nvPr/>
          </p:nvSpPr>
          <p:spPr>
            <a:xfrm>
              <a:off x="267144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8" name="Rectangle 2127">
              <a:extLst>
                <a:ext uri="{FF2B5EF4-FFF2-40B4-BE49-F238E27FC236}">
                  <a16:creationId xmlns:a16="http://schemas.microsoft.com/office/drawing/2014/main" id="{1E1489F0-DD42-C020-A128-B1E21DA8E747}"/>
                </a:ext>
              </a:extLst>
            </p:cNvPr>
            <p:cNvSpPr/>
            <p:nvPr/>
          </p:nvSpPr>
          <p:spPr>
            <a:xfrm>
              <a:off x="2949431"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29" name="Rectangle 2128">
              <a:extLst>
                <a:ext uri="{FF2B5EF4-FFF2-40B4-BE49-F238E27FC236}">
                  <a16:creationId xmlns:a16="http://schemas.microsoft.com/office/drawing/2014/main" id="{E163424F-C5FE-0A8C-9C5D-B66787F81DA6}"/>
                </a:ext>
              </a:extLst>
            </p:cNvPr>
            <p:cNvSpPr/>
            <p:nvPr/>
          </p:nvSpPr>
          <p:spPr>
            <a:xfrm>
              <a:off x="3227419"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0" name="Rectangle 2129">
              <a:extLst>
                <a:ext uri="{FF2B5EF4-FFF2-40B4-BE49-F238E27FC236}">
                  <a16:creationId xmlns:a16="http://schemas.microsoft.com/office/drawing/2014/main" id="{9DDFF5C4-E4D4-8620-C37B-A11E0D72833E}"/>
                </a:ext>
              </a:extLst>
            </p:cNvPr>
            <p:cNvSpPr/>
            <p:nvPr/>
          </p:nvSpPr>
          <p:spPr>
            <a:xfrm>
              <a:off x="3505407"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1" name="Rectangle 2130">
              <a:extLst>
                <a:ext uri="{FF2B5EF4-FFF2-40B4-BE49-F238E27FC236}">
                  <a16:creationId xmlns:a16="http://schemas.microsoft.com/office/drawing/2014/main" id="{D7CBBE60-06AE-D50C-D1E3-6FDBF8892645}"/>
                </a:ext>
              </a:extLst>
            </p:cNvPr>
            <p:cNvSpPr/>
            <p:nvPr/>
          </p:nvSpPr>
          <p:spPr>
            <a:xfrm>
              <a:off x="378339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2" name="Rectangle 2131">
              <a:extLst>
                <a:ext uri="{FF2B5EF4-FFF2-40B4-BE49-F238E27FC236}">
                  <a16:creationId xmlns:a16="http://schemas.microsoft.com/office/drawing/2014/main" id="{F25D62F2-951C-3A32-2783-2EC20E6034F1}"/>
                </a:ext>
              </a:extLst>
            </p:cNvPr>
            <p:cNvSpPr/>
            <p:nvPr/>
          </p:nvSpPr>
          <p:spPr>
            <a:xfrm>
              <a:off x="4061383"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3" name="Rectangle 2132">
              <a:extLst>
                <a:ext uri="{FF2B5EF4-FFF2-40B4-BE49-F238E27FC236}">
                  <a16:creationId xmlns:a16="http://schemas.microsoft.com/office/drawing/2014/main" id="{957BCB1F-450E-C5D2-09F1-54107A9EF764}"/>
                </a:ext>
              </a:extLst>
            </p:cNvPr>
            <p:cNvSpPr/>
            <p:nvPr/>
          </p:nvSpPr>
          <p:spPr>
            <a:xfrm>
              <a:off x="4339375" y="4028598"/>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5" name="Rectangle 2134">
              <a:extLst>
                <a:ext uri="{FF2B5EF4-FFF2-40B4-BE49-F238E27FC236}">
                  <a16:creationId xmlns:a16="http://schemas.microsoft.com/office/drawing/2014/main" id="{E5FF4310-633A-8320-7D8B-36FE52C4D5D2}"/>
                </a:ext>
              </a:extLst>
            </p:cNvPr>
            <p:cNvSpPr/>
            <p:nvPr/>
          </p:nvSpPr>
          <p:spPr>
            <a:xfrm>
              <a:off x="183747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6" name="Rectangle 2135">
              <a:extLst>
                <a:ext uri="{FF2B5EF4-FFF2-40B4-BE49-F238E27FC236}">
                  <a16:creationId xmlns:a16="http://schemas.microsoft.com/office/drawing/2014/main" id="{7EA1774C-84F2-D797-3453-68541A4A5511}"/>
                </a:ext>
              </a:extLst>
            </p:cNvPr>
            <p:cNvSpPr/>
            <p:nvPr/>
          </p:nvSpPr>
          <p:spPr>
            <a:xfrm>
              <a:off x="211546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7" name="Rectangle 2136">
              <a:extLst>
                <a:ext uri="{FF2B5EF4-FFF2-40B4-BE49-F238E27FC236}">
                  <a16:creationId xmlns:a16="http://schemas.microsoft.com/office/drawing/2014/main" id="{9470CFDC-48B4-CD14-A573-89EA32D09B2B}"/>
                </a:ext>
              </a:extLst>
            </p:cNvPr>
            <p:cNvSpPr/>
            <p:nvPr/>
          </p:nvSpPr>
          <p:spPr>
            <a:xfrm>
              <a:off x="239345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8" name="Rectangle 2137">
              <a:extLst>
                <a:ext uri="{FF2B5EF4-FFF2-40B4-BE49-F238E27FC236}">
                  <a16:creationId xmlns:a16="http://schemas.microsoft.com/office/drawing/2014/main" id="{206CA1AE-27CC-88FE-B928-07F2E5E1BA3E}"/>
                </a:ext>
              </a:extLst>
            </p:cNvPr>
            <p:cNvSpPr/>
            <p:nvPr/>
          </p:nvSpPr>
          <p:spPr>
            <a:xfrm>
              <a:off x="267144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39" name="Rectangle 2138">
              <a:extLst>
                <a:ext uri="{FF2B5EF4-FFF2-40B4-BE49-F238E27FC236}">
                  <a16:creationId xmlns:a16="http://schemas.microsoft.com/office/drawing/2014/main" id="{8E0C5F16-1F07-4CA7-4FC4-E3311ED1236A}"/>
                </a:ext>
              </a:extLst>
            </p:cNvPr>
            <p:cNvSpPr/>
            <p:nvPr/>
          </p:nvSpPr>
          <p:spPr>
            <a:xfrm>
              <a:off x="2949431"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0" name="Rectangle 2139">
              <a:extLst>
                <a:ext uri="{FF2B5EF4-FFF2-40B4-BE49-F238E27FC236}">
                  <a16:creationId xmlns:a16="http://schemas.microsoft.com/office/drawing/2014/main" id="{48C9750F-EB55-CE24-E069-EE8EBB2604C7}"/>
                </a:ext>
              </a:extLst>
            </p:cNvPr>
            <p:cNvSpPr/>
            <p:nvPr/>
          </p:nvSpPr>
          <p:spPr>
            <a:xfrm>
              <a:off x="3227419"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1" name="Rectangle 2140">
              <a:extLst>
                <a:ext uri="{FF2B5EF4-FFF2-40B4-BE49-F238E27FC236}">
                  <a16:creationId xmlns:a16="http://schemas.microsoft.com/office/drawing/2014/main" id="{783768DE-F45C-D3FA-68C7-23C154B98688}"/>
                </a:ext>
              </a:extLst>
            </p:cNvPr>
            <p:cNvSpPr/>
            <p:nvPr/>
          </p:nvSpPr>
          <p:spPr>
            <a:xfrm>
              <a:off x="3505407"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2" name="Rectangle 2141">
              <a:extLst>
                <a:ext uri="{FF2B5EF4-FFF2-40B4-BE49-F238E27FC236}">
                  <a16:creationId xmlns:a16="http://schemas.microsoft.com/office/drawing/2014/main" id="{3FA8CE24-3F9E-EBC3-848E-5DFE3704BC92}"/>
                </a:ext>
              </a:extLst>
            </p:cNvPr>
            <p:cNvSpPr/>
            <p:nvPr/>
          </p:nvSpPr>
          <p:spPr>
            <a:xfrm>
              <a:off x="378339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3" name="Rectangle 2142">
              <a:extLst>
                <a:ext uri="{FF2B5EF4-FFF2-40B4-BE49-F238E27FC236}">
                  <a16:creationId xmlns:a16="http://schemas.microsoft.com/office/drawing/2014/main" id="{C8168677-1391-3610-39BC-8DAB98AB3168}"/>
                </a:ext>
              </a:extLst>
            </p:cNvPr>
            <p:cNvSpPr/>
            <p:nvPr/>
          </p:nvSpPr>
          <p:spPr>
            <a:xfrm>
              <a:off x="4061383"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4" name="Rectangle 2143">
              <a:extLst>
                <a:ext uri="{FF2B5EF4-FFF2-40B4-BE49-F238E27FC236}">
                  <a16:creationId xmlns:a16="http://schemas.microsoft.com/office/drawing/2014/main" id="{FB63A775-19F8-77C1-0B9B-28FE2F0AC09F}"/>
                </a:ext>
              </a:extLst>
            </p:cNvPr>
            <p:cNvSpPr/>
            <p:nvPr/>
          </p:nvSpPr>
          <p:spPr>
            <a:xfrm>
              <a:off x="4339375" y="4296146"/>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6" name="Rectangle 2145">
              <a:extLst>
                <a:ext uri="{FF2B5EF4-FFF2-40B4-BE49-F238E27FC236}">
                  <a16:creationId xmlns:a16="http://schemas.microsoft.com/office/drawing/2014/main" id="{F3DE8881-C661-D93E-86F5-701F44680459}"/>
                </a:ext>
              </a:extLst>
            </p:cNvPr>
            <p:cNvSpPr/>
            <p:nvPr/>
          </p:nvSpPr>
          <p:spPr>
            <a:xfrm>
              <a:off x="183747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7" name="Rectangle 2146">
              <a:extLst>
                <a:ext uri="{FF2B5EF4-FFF2-40B4-BE49-F238E27FC236}">
                  <a16:creationId xmlns:a16="http://schemas.microsoft.com/office/drawing/2014/main" id="{9037D861-1C5E-6ABB-E352-FB6021823BF9}"/>
                </a:ext>
              </a:extLst>
            </p:cNvPr>
            <p:cNvSpPr/>
            <p:nvPr/>
          </p:nvSpPr>
          <p:spPr>
            <a:xfrm>
              <a:off x="211546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8" name="Rectangle 2147">
              <a:extLst>
                <a:ext uri="{FF2B5EF4-FFF2-40B4-BE49-F238E27FC236}">
                  <a16:creationId xmlns:a16="http://schemas.microsoft.com/office/drawing/2014/main" id="{191E07B4-315A-7F08-659E-BB0BD62912A5}"/>
                </a:ext>
              </a:extLst>
            </p:cNvPr>
            <p:cNvSpPr/>
            <p:nvPr/>
          </p:nvSpPr>
          <p:spPr>
            <a:xfrm>
              <a:off x="239345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49" name="Rectangle 2148">
              <a:extLst>
                <a:ext uri="{FF2B5EF4-FFF2-40B4-BE49-F238E27FC236}">
                  <a16:creationId xmlns:a16="http://schemas.microsoft.com/office/drawing/2014/main" id="{0D445569-8A07-E263-F222-4F192F824AE4}"/>
                </a:ext>
              </a:extLst>
            </p:cNvPr>
            <p:cNvSpPr/>
            <p:nvPr/>
          </p:nvSpPr>
          <p:spPr>
            <a:xfrm>
              <a:off x="267144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0" name="Rectangle 2149">
              <a:extLst>
                <a:ext uri="{FF2B5EF4-FFF2-40B4-BE49-F238E27FC236}">
                  <a16:creationId xmlns:a16="http://schemas.microsoft.com/office/drawing/2014/main" id="{156FB21C-0153-ACE7-8805-4A6F77F76E14}"/>
                </a:ext>
              </a:extLst>
            </p:cNvPr>
            <p:cNvSpPr/>
            <p:nvPr/>
          </p:nvSpPr>
          <p:spPr>
            <a:xfrm>
              <a:off x="2949431"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1" name="Rectangle 2150">
              <a:extLst>
                <a:ext uri="{FF2B5EF4-FFF2-40B4-BE49-F238E27FC236}">
                  <a16:creationId xmlns:a16="http://schemas.microsoft.com/office/drawing/2014/main" id="{0A46BF40-D1EC-E92E-291D-686B2410E3E1}"/>
                </a:ext>
              </a:extLst>
            </p:cNvPr>
            <p:cNvSpPr/>
            <p:nvPr/>
          </p:nvSpPr>
          <p:spPr>
            <a:xfrm>
              <a:off x="3227419"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2" name="Rectangle 2151">
              <a:extLst>
                <a:ext uri="{FF2B5EF4-FFF2-40B4-BE49-F238E27FC236}">
                  <a16:creationId xmlns:a16="http://schemas.microsoft.com/office/drawing/2014/main" id="{CBA06F1F-74E7-6CCC-EA43-DF09B0315F04}"/>
                </a:ext>
              </a:extLst>
            </p:cNvPr>
            <p:cNvSpPr/>
            <p:nvPr/>
          </p:nvSpPr>
          <p:spPr>
            <a:xfrm>
              <a:off x="3505407"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3" name="Rectangle 2152">
              <a:extLst>
                <a:ext uri="{FF2B5EF4-FFF2-40B4-BE49-F238E27FC236}">
                  <a16:creationId xmlns:a16="http://schemas.microsoft.com/office/drawing/2014/main" id="{18D73BDC-605E-31D7-49C3-67F0D373B5A6}"/>
                </a:ext>
              </a:extLst>
            </p:cNvPr>
            <p:cNvSpPr/>
            <p:nvPr/>
          </p:nvSpPr>
          <p:spPr>
            <a:xfrm>
              <a:off x="378339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4" name="Rectangle 2153">
              <a:extLst>
                <a:ext uri="{FF2B5EF4-FFF2-40B4-BE49-F238E27FC236}">
                  <a16:creationId xmlns:a16="http://schemas.microsoft.com/office/drawing/2014/main" id="{22ECD4F5-DF96-E4B1-137E-61B9FC4ACD25}"/>
                </a:ext>
              </a:extLst>
            </p:cNvPr>
            <p:cNvSpPr/>
            <p:nvPr/>
          </p:nvSpPr>
          <p:spPr>
            <a:xfrm>
              <a:off x="4061383"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55" name="Rectangle 2154">
              <a:extLst>
                <a:ext uri="{FF2B5EF4-FFF2-40B4-BE49-F238E27FC236}">
                  <a16:creationId xmlns:a16="http://schemas.microsoft.com/office/drawing/2014/main" id="{9B1CC1FF-BE95-0420-1DCF-182AB517696A}"/>
                </a:ext>
              </a:extLst>
            </p:cNvPr>
            <p:cNvSpPr/>
            <p:nvPr/>
          </p:nvSpPr>
          <p:spPr>
            <a:xfrm>
              <a:off x="4339375" y="4563691"/>
              <a:ext cx="193040" cy="19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grpSp>
      <p:sp>
        <p:nvSpPr>
          <p:cNvPr id="2157" name="TextBox 2156">
            <a:extLst>
              <a:ext uri="{FF2B5EF4-FFF2-40B4-BE49-F238E27FC236}">
                <a16:creationId xmlns:a16="http://schemas.microsoft.com/office/drawing/2014/main" id="{FE98C334-1F5D-3062-FA09-29C7759A2C99}"/>
              </a:ext>
            </a:extLst>
          </p:cNvPr>
          <p:cNvSpPr txBox="1"/>
          <p:nvPr/>
        </p:nvSpPr>
        <p:spPr>
          <a:xfrm>
            <a:off x="1520872" y="5184942"/>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58" name="Subtitle 2">
            <a:extLst>
              <a:ext uri="{FF2B5EF4-FFF2-40B4-BE49-F238E27FC236}">
                <a16:creationId xmlns:a16="http://schemas.microsoft.com/office/drawing/2014/main" id="{3AB99BA0-B7CC-0575-66BF-D585E30F4B25}"/>
              </a:ext>
            </a:extLst>
          </p:cNvPr>
          <p:cNvSpPr txBox="1">
            <a:spLocks/>
          </p:cNvSpPr>
          <p:nvPr/>
        </p:nvSpPr>
        <p:spPr>
          <a:xfrm>
            <a:off x="2664317" y="5288407"/>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59" name="Rectangle 2158">
            <a:extLst>
              <a:ext uri="{FF2B5EF4-FFF2-40B4-BE49-F238E27FC236}">
                <a16:creationId xmlns:a16="http://schemas.microsoft.com/office/drawing/2014/main" id="{0B167E63-4254-FF7B-DBAB-7D718D9F8A8D}"/>
              </a:ext>
            </a:extLst>
          </p:cNvPr>
          <p:cNvSpPr/>
          <p:nvPr/>
        </p:nvSpPr>
        <p:spPr>
          <a:xfrm>
            <a:off x="7560262" y="2292263"/>
            <a:ext cx="2694936" cy="26009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160" name="Rectangle 2159">
            <a:extLst>
              <a:ext uri="{FF2B5EF4-FFF2-40B4-BE49-F238E27FC236}">
                <a16:creationId xmlns:a16="http://schemas.microsoft.com/office/drawing/2014/main" id="{5EDF7FB0-D8DA-7E95-B0AF-6C52157D6635}"/>
              </a:ext>
            </a:extLst>
          </p:cNvPr>
          <p:cNvSpPr/>
          <p:nvPr/>
        </p:nvSpPr>
        <p:spPr>
          <a:xfrm>
            <a:off x="7560262" y="2746872"/>
            <a:ext cx="2223904" cy="2146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cxnSp>
        <p:nvCxnSpPr>
          <p:cNvPr id="2162" name="Straight Arrow Connector 2161">
            <a:extLst>
              <a:ext uri="{FF2B5EF4-FFF2-40B4-BE49-F238E27FC236}">
                <a16:creationId xmlns:a16="http://schemas.microsoft.com/office/drawing/2014/main" id="{FCCF1F6B-CB01-D6AA-C17F-DCB3356FB5EB}"/>
              </a:ext>
            </a:extLst>
          </p:cNvPr>
          <p:cNvCxnSpPr>
            <a:cxnSpLocks/>
          </p:cNvCxnSpPr>
          <p:nvPr/>
        </p:nvCxnSpPr>
        <p:spPr>
          <a:xfrm flipH="1">
            <a:off x="9784166" y="2292263"/>
            <a:ext cx="471032" cy="47103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65" name="TextBox 2164">
            <a:extLst>
              <a:ext uri="{FF2B5EF4-FFF2-40B4-BE49-F238E27FC236}">
                <a16:creationId xmlns:a16="http://schemas.microsoft.com/office/drawing/2014/main" id="{E2554C78-6C89-820C-65F0-D314E8C6F307}"/>
              </a:ext>
            </a:extLst>
          </p:cNvPr>
          <p:cNvSpPr txBox="1"/>
          <p:nvPr/>
        </p:nvSpPr>
        <p:spPr>
          <a:xfrm>
            <a:off x="7243102" y="5223079"/>
            <a:ext cx="1110867" cy="576263"/>
          </a:xfrm>
          <a:prstGeom prst="rect">
            <a:avLst/>
          </a:prstGeom>
          <a:noFill/>
        </p:spPr>
        <p:txBody>
          <a:bodyPr wrap="none" lIns="0" tIns="0" rIns="0" bIns="0" rtlCol="0" anchor="ctr">
            <a:noAutofit/>
          </a:bodyPr>
          <a:lstStyle/>
          <a:p>
            <a:pPr algn="l" defTabSz="228600">
              <a:spcAft>
                <a:spcPts val="1200"/>
              </a:spcAft>
            </a:pPr>
            <a:r>
              <a:rPr lang="en-GB" sz="2800" b="1" noProof="0" dirty="0"/>
              <a:t>-XX%</a:t>
            </a:r>
          </a:p>
        </p:txBody>
      </p:sp>
      <p:sp>
        <p:nvSpPr>
          <p:cNvPr id="2166" name="Subtitle 2">
            <a:extLst>
              <a:ext uri="{FF2B5EF4-FFF2-40B4-BE49-F238E27FC236}">
                <a16:creationId xmlns:a16="http://schemas.microsoft.com/office/drawing/2014/main" id="{CB061899-47AA-D5C1-49C5-8F7E84D7DAD5}"/>
              </a:ext>
            </a:extLst>
          </p:cNvPr>
          <p:cNvSpPr txBox="1">
            <a:spLocks/>
          </p:cNvSpPr>
          <p:nvPr/>
        </p:nvSpPr>
        <p:spPr>
          <a:xfrm>
            <a:off x="8522738" y="5326544"/>
            <a:ext cx="2498592" cy="369332"/>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68" name="TextBox 2167">
            <a:extLst>
              <a:ext uri="{FF2B5EF4-FFF2-40B4-BE49-F238E27FC236}">
                <a16:creationId xmlns:a16="http://schemas.microsoft.com/office/drawing/2014/main" id="{30C87CD6-A963-7092-DC10-4AF0563734B0}"/>
              </a:ext>
            </a:extLst>
          </p:cNvPr>
          <p:cNvSpPr txBox="1"/>
          <p:nvPr/>
        </p:nvSpPr>
        <p:spPr>
          <a:xfrm>
            <a:off x="1915301"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
        <p:nvSpPr>
          <p:cNvPr id="2169" name="TextBox 2168">
            <a:extLst>
              <a:ext uri="{FF2B5EF4-FFF2-40B4-BE49-F238E27FC236}">
                <a16:creationId xmlns:a16="http://schemas.microsoft.com/office/drawing/2014/main" id="{6B5E80D7-E224-2CB6-52D4-DE1CD3C1CB35}"/>
              </a:ext>
            </a:extLst>
          </p:cNvPr>
          <p:cNvSpPr txBox="1"/>
          <p:nvPr/>
        </p:nvSpPr>
        <p:spPr>
          <a:xfrm>
            <a:off x="7560262" y="1696638"/>
            <a:ext cx="2694936" cy="369332"/>
          </a:xfrm>
          <a:prstGeom prst="rect">
            <a:avLst/>
          </a:prstGeom>
          <a:noFill/>
        </p:spPr>
        <p:txBody>
          <a:bodyPr wrap="square">
            <a:spAutoFit/>
          </a:bodyPr>
          <a:lstStyle/>
          <a:p>
            <a:pPr algn="ctr"/>
            <a:r>
              <a:rPr lang="en-US" sz="1800" b="1" dirty="0">
                <a:sym typeface="Verdana" panose="020B0604030504040204" pitchFamily="34" charset="0"/>
              </a:rPr>
              <a:t>Title here</a:t>
            </a:r>
          </a:p>
        </p:txBody>
      </p:sp>
    </p:spTree>
    <p:extLst>
      <p:ext uri="{BB962C8B-B14F-4D97-AF65-F5344CB8AC3E}">
        <p14:creationId xmlns:p14="http://schemas.microsoft.com/office/powerpoint/2010/main" val="41569594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679CC20-22F5-31BF-64A8-74B625A91067}"/>
              </a:ext>
            </a:extLst>
          </p:cNvPr>
          <p:cNvGraphicFramePr>
            <a:graphicFrameLocks noChangeAspect="1"/>
          </p:cNvGraphicFramePr>
          <p:nvPr>
            <p:custDataLst>
              <p:tags r:id="rId1"/>
            </p:custDataLst>
            <p:extLst>
              <p:ext uri="{D42A27DB-BD31-4B8C-83A1-F6EECF244321}">
                <p14:modId xmlns:p14="http://schemas.microsoft.com/office/powerpoint/2010/main" val="39286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679CC20-22F5-31BF-64A8-74B625A910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F20531C-B59A-91D2-C7E3-2FC2BBC02A50}"/>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230C38C6-3E4F-5BFB-100C-A1D01F318D0A}"/>
              </a:ext>
            </a:extLst>
          </p:cNvPr>
          <p:cNvSpPr>
            <a:spLocks noGrp="1"/>
          </p:cNvSpPr>
          <p:nvPr>
            <p:ph type="title"/>
          </p:nvPr>
        </p:nvSpPr>
        <p:spPr/>
        <p:txBody>
          <a:bodyPr vert="horz"/>
          <a:lstStyle/>
          <a:p>
            <a:r>
              <a:rPr lang="en-US" dirty="0"/>
              <a:t>Template - </a:t>
            </a:r>
            <a:r>
              <a:rPr lang="en-GB" dirty="0"/>
              <a:t>Rectangle area chart</a:t>
            </a:r>
          </a:p>
        </p:txBody>
      </p:sp>
      <p:sp>
        <p:nvSpPr>
          <p:cNvPr id="4" name="Marcador de pie de página 3">
            <a:extLst>
              <a:ext uri="{FF2B5EF4-FFF2-40B4-BE49-F238E27FC236}">
                <a16:creationId xmlns:a16="http://schemas.microsoft.com/office/drawing/2014/main" id="{34D31C74-63E1-8D43-AFC5-707BC9A4EADB}"/>
              </a:ext>
            </a:extLst>
          </p:cNvPr>
          <p:cNvSpPr>
            <a:spLocks noGrp="1"/>
          </p:cNvSpPr>
          <p:nvPr>
            <p:ph type="ftr" sz="quarter" idx="3"/>
          </p:nvPr>
        </p:nvSpPr>
        <p:spPr/>
        <p:txBody>
          <a:bodyPr/>
          <a:lstStyle/>
          <a:p>
            <a:r>
              <a:rPr lang="en-US"/>
              <a:t>Source:_______</a:t>
            </a:r>
            <a:endParaRPr lang="en-US" dirty="0"/>
          </a:p>
        </p:txBody>
      </p:sp>
      <mc:AlternateContent xmlns:mc="http://schemas.openxmlformats.org/markup-compatibility/2006" xmlns:cx1="http://schemas.microsoft.com/office/drawing/2015/9/8/chartex">
        <mc:Choice Requires="cx1">
          <p:graphicFrame>
            <p:nvGraphicFramePr>
              <p:cNvPr id="8" name="Gráfico 7">
                <a:extLst>
                  <a:ext uri="{FF2B5EF4-FFF2-40B4-BE49-F238E27FC236}">
                    <a16:creationId xmlns:a16="http://schemas.microsoft.com/office/drawing/2014/main" id="{16459DC3-9695-325D-7C73-4921D8A5AA9D}"/>
                  </a:ext>
                </a:extLst>
              </p:cNvPr>
              <p:cNvGraphicFramePr/>
              <p:nvPr>
                <p:extLst>
                  <p:ext uri="{D42A27DB-BD31-4B8C-83A1-F6EECF244321}">
                    <p14:modId xmlns:p14="http://schemas.microsoft.com/office/powerpoint/2010/main" val="4266463577"/>
                  </p:ext>
                </p:extLst>
              </p:nvPr>
            </p:nvGraphicFramePr>
            <p:xfrm>
              <a:off x="2032000" y="1520825"/>
              <a:ext cx="8128000" cy="461750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Gráfico 7">
                <a:extLst>
                  <a:ext uri="{FF2B5EF4-FFF2-40B4-BE49-F238E27FC236}">
                    <a16:creationId xmlns:a16="http://schemas.microsoft.com/office/drawing/2014/main" id="{16459DC3-9695-325D-7C73-4921D8A5AA9D}"/>
                  </a:ext>
                </a:extLst>
              </p:cNvPr>
              <p:cNvPicPr>
                <a:picLocks noGrp="1" noRot="1" noChangeAspect="1" noMove="1" noResize="1" noEditPoints="1" noAdjustHandles="1" noChangeArrowheads="1" noChangeShapeType="1"/>
              </p:cNvPicPr>
              <p:nvPr/>
            </p:nvPicPr>
            <p:blipFill>
              <a:blip r:embed="rId6"/>
              <a:stretch>
                <a:fillRect/>
              </a:stretch>
            </p:blipFill>
            <p:spPr>
              <a:xfrm>
                <a:off x="2032000" y="1520825"/>
                <a:ext cx="8128000" cy="4617508"/>
              </a:xfrm>
              <a:prstGeom prst="rect">
                <a:avLst/>
              </a:prstGeom>
            </p:spPr>
          </p:pic>
        </mc:Fallback>
      </mc:AlternateContent>
      <p:sp>
        <p:nvSpPr>
          <p:cNvPr id="9" name="TextBox 25">
            <a:extLst>
              <a:ext uri="{FF2B5EF4-FFF2-40B4-BE49-F238E27FC236}">
                <a16:creationId xmlns:a16="http://schemas.microsoft.com/office/drawing/2014/main" id="{1625104C-98A2-B844-C522-2EAEBBF4435C}"/>
              </a:ext>
            </a:extLst>
          </p:cNvPr>
          <p:cNvSpPr txBox="1"/>
          <p:nvPr/>
        </p:nvSpPr>
        <p:spPr>
          <a:xfrm>
            <a:off x="3331457"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0" name="TextBox 25">
            <a:extLst>
              <a:ext uri="{FF2B5EF4-FFF2-40B4-BE49-F238E27FC236}">
                <a16:creationId xmlns:a16="http://schemas.microsoft.com/office/drawing/2014/main" id="{E0E6D6C9-4AAE-9FFD-BF33-FE4FC707CC4B}"/>
              </a:ext>
            </a:extLst>
          </p:cNvPr>
          <p:cNvSpPr txBox="1"/>
          <p:nvPr/>
        </p:nvSpPr>
        <p:spPr>
          <a:xfrm>
            <a:off x="6228255"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F3371656-4FAA-0EB4-34A6-AD725F2C1ABC}"/>
              </a:ext>
            </a:extLst>
          </p:cNvPr>
          <p:cNvSpPr txBox="1"/>
          <p:nvPr/>
        </p:nvSpPr>
        <p:spPr>
          <a:xfrm>
            <a:off x="8429780" y="6124059"/>
            <a:ext cx="1339745" cy="184666"/>
          </a:xfrm>
          <a:prstGeom prst="rect">
            <a:avLst/>
          </a:prstGeom>
          <a:noFill/>
        </p:spPr>
        <p:txBody>
          <a:bodyPr wrap="square" lIns="0" tIns="0" rIns="0" bIns="0" rtlCol="0" anchor="ctr">
            <a:spAutoFit/>
          </a:bodyPr>
          <a:lstStyle/>
          <a:p>
            <a:pPr algn="ct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472862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24515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303230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3343553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p:txBody>
          <a:bodyPr vert="horz"/>
          <a:lstStyle/>
          <a:p>
            <a:pPr>
              <a:lnSpc>
                <a:spcPct val="125000"/>
              </a:lnSpc>
            </a:pPr>
            <a:r>
              <a:rPr lang="en-US" dirty="0">
                <a:latin typeface="Arial" panose="020B0604020202020204" pitchFamily="34" charset="0"/>
                <a:cs typeface="Arial" panose="020B0604020202020204" pitchFamily="34" charset="0"/>
              </a:rPr>
              <a:t>Designing an occupancy grid schema to keep track of obstacles in the workspace (in-vivo)</a:t>
            </a:r>
          </a:p>
        </p:txBody>
      </p:sp>
      <p:sp>
        <p:nvSpPr>
          <p:cNvPr id="4" name="Marcador de texto 3">
            <a:extLst>
              <a:ext uri="{FF2B5EF4-FFF2-40B4-BE49-F238E27FC236}">
                <a16:creationId xmlns:a16="http://schemas.microsoft.com/office/drawing/2014/main" id="{338D1AD8-D922-02D0-C940-8A13BC31E5B6}"/>
              </a:ext>
            </a:extLst>
          </p:cNvPr>
          <p:cNvSpPr>
            <a:spLocks noGrp="1"/>
          </p:cNvSpPr>
          <p:nvPr>
            <p:ph type="body" sz="quarter" idx="15"/>
          </p:nvPr>
        </p:nvSpPr>
        <p:spPr>
          <a:xfrm>
            <a:off x="371475" y="4348371"/>
            <a:ext cx="11449050" cy="2789918"/>
          </a:xfrm>
        </p:spPr>
        <p:txBody>
          <a:bodyPr/>
          <a:lstStyle/>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Maintain large occupancy grid for localization + smaller local map for locations of objects in the vicinity of the robot; Using a static state Bayes filter to estimate the state of each cell in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Have non-interruptible threads constantly parsing the image stream to refresh the occupancy grid</a:t>
            </a:r>
          </a:p>
          <a:p>
            <a:pPr marL="28575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Latency of occupancy map update loop needs to be lower than frequency of image stream updates </a:t>
            </a:r>
          </a:p>
          <a:p>
            <a:pPr marL="514304" lvl="1" indent="-285750">
              <a:spcAft>
                <a:spcPts val="600"/>
              </a:spcAft>
            </a:pPr>
            <a:r>
              <a:rPr lang="en-US" sz="1600" b="0" dirty="0">
                <a:latin typeface="Calibri" panose="020F0502020204030204" pitchFamily="34" charset="0"/>
                <a:cs typeface="Calibri" panose="020F0502020204030204" pitchFamily="34" charset="0"/>
              </a:rPr>
              <a:t>Ensures control systems using the occupancy map to plan next steps have latest inputs to wor</a:t>
            </a:r>
            <a:r>
              <a:rPr lang="en-US" sz="1600" dirty="0">
                <a:latin typeface="Calibri" panose="020F0502020204030204" pitchFamily="34" charset="0"/>
                <a:cs typeface="Calibri" panose="020F0502020204030204" pitchFamily="34" charset="0"/>
              </a:rPr>
              <a:t>k off</a:t>
            </a:r>
          </a:p>
          <a:p>
            <a:pPr marL="514304" lvl="1" indent="-285750">
              <a:spcAft>
                <a:spcPts val="600"/>
              </a:spcAft>
            </a:pPr>
            <a:r>
              <a:rPr lang="en-US" sz="1600" dirty="0">
                <a:latin typeface="Calibri" panose="020F0502020204030204" pitchFamily="34" charset="0"/>
                <a:cs typeface="Calibri" panose="020F0502020204030204" pitchFamily="34" charset="0"/>
              </a:rPr>
              <a:t>Needs to be enforced as a minimum performance guarantee, and achieved in practice by writing thread parallel code</a:t>
            </a:r>
          </a:p>
          <a:p>
            <a:pPr marL="285750" lvl="0" indent="-285750">
              <a:spcAft>
                <a:spcPts val="600"/>
              </a:spcAft>
              <a:buFont typeface="Arial" panose="020B0604020202020204" pitchFamily="34" charset="0"/>
              <a:buChar char="•"/>
            </a:pPr>
            <a:r>
              <a:rPr lang="en-US" sz="1600" b="0" dirty="0">
                <a:latin typeface="Calibri" panose="020F0502020204030204" pitchFamily="34" charset="0"/>
                <a:cs typeface="Calibri" panose="020F0502020204030204" pitchFamily="34" charset="0"/>
              </a:rPr>
              <a:t>As a failsafe, control algorithm checks if input is out of date based on some key latency threshold, and halts if so</a:t>
            </a:r>
          </a:p>
        </p:txBody>
      </p:sp>
      <p:graphicFrame>
        <p:nvGraphicFramePr>
          <p:cNvPr id="6" name="Table 7">
            <a:extLst>
              <a:ext uri="{FF2B5EF4-FFF2-40B4-BE49-F238E27FC236}">
                <a16:creationId xmlns:a16="http://schemas.microsoft.com/office/drawing/2014/main" id="{99958811-9560-22E5-C94D-3B465D3E01B2}"/>
              </a:ext>
            </a:extLst>
          </p:cNvPr>
          <p:cNvGraphicFramePr>
            <a:graphicFrameLocks noGrp="1"/>
          </p:cNvGraphicFramePr>
          <p:nvPr>
            <p:extLst>
              <p:ext uri="{D42A27DB-BD31-4B8C-83A1-F6EECF244321}">
                <p14:modId xmlns:p14="http://schemas.microsoft.com/office/powerpoint/2010/main" val="4285072577"/>
              </p:ext>
            </p:extLst>
          </p:nvPr>
        </p:nvGraphicFramePr>
        <p:xfrm>
          <a:off x="384175" y="1715288"/>
          <a:ext cx="7513731" cy="2138964"/>
        </p:xfrm>
        <a:graphic>
          <a:graphicData uri="http://schemas.openxmlformats.org/drawingml/2006/table">
            <a:tbl>
              <a:tblPr firstRow="1" bandRow="1">
                <a:tableStyleId>{69012ECD-51FC-41F1-AA8D-1B2483CD663E}</a:tableStyleId>
              </a:tblPr>
              <a:tblGrid>
                <a:gridCol w="2000236">
                  <a:extLst>
                    <a:ext uri="{9D8B030D-6E8A-4147-A177-3AD203B41FA5}">
                      <a16:colId xmlns:a16="http://schemas.microsoft.com/office/drawing/2014/main" val="2210956583"/>
                    </a:ext>
                  </a:extLst>
                </a:gridCol>
                <a:gridCol w="5513495">
                  <a:extLst>
                    <a:ext uri="{9D8B030D-6E8A-4147-A177-3AD203B41FA5}">
                      <a16:colId xmlns:a16="http://schemas.microsoft.com/office/drawing/2014/main" val="1581170035"/>
                    </a:ext>
                  </a:extLst>
                </a:gridCol>
              </a:tblGrid>
              <a:tr h="292062">
                <a:tc>
                  <a:txBody>
                    <a:bodyPr/>
                    <a:lstStyle/>
                    <a:p>
                      <a:pPr algn="ctr"/>
                      <a:r>
                        <a:rPr lang="en-US" sz="1600" dirty="0">
                          <a:latin typeface="Calibri" panose="020F0502020204030204" pitchFamily="34" charset="0"/>
                          <a:cs typeface="Calibri" panose="020F0502020204030204" pitchFamily="34" charset="0"/>
                        </a:rPr>
                        <a:t>Field</a:t>
                      </a:r>
                    </a:p>
                  </a:txBody>
                  <a:tcPr marT="36007" marB="36007"/>
                </a:tc>
                <a:tc>
                  <a:txBody>
                    <a:bodyPr/>
                    <a:lstStyle/>
                    <a:p>
                      <a:pPr algn="ctr"/>
                      <a:r>
                        <a:rPr lang="en-US" sz="1600" dirty="0">
                          <a:latin typeface="Calibri" panose="020F0502020204030204" pitchFamily="34" charset="0"/>
                          <a:cs typeface="Calibri" panose="020F0502020204030204" pitchFamily="34" charset="0"/>
                        </a:rPr>
                        <a:t>Description</a:t>
                      </a:r>
                    </a:p>
                  </a:txBody>
                  <a:tcPr marT="36007" marB="36007"/>
                </a:tc>
                <a:extLst>
                  <a:ext uri="{0D108BD9-81ED-4DB2-BD59-A6C34878D82A}">
                    <a16:rowId xmlns:a16="http://schemas.microsoft.com/office/drawing/2014/main" val="2807835465"/>
                  </a:ext>
                </a:extLst>
              </a:tr>
              <a:tr h="292062">
                <a:tc>
                  <a:txBody>
                    <a:bodyPr/>
                    <a:lstStyle/>
                    <a:p>
                      <a:pPr algn="l"/>
                      <a:r>
                        <a:rPr lang="en-US" sz="1600" b="1" dirty="0">
                          <a:latin typeface="Calibri" panose="020F0502020204030204" pitchFamily="34" charset="0"/>
                          <a:cs typeface="Calibri" panose="020F0502020204030204" pitchFamily="34" charset="0"/>
                        </a:rPr>
                        <a:t>Grid</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2x2 array;</a:t>
                      </a:r>
                      <a:r>
                        <a:rPr lang="en-US" sz="1600" baseline="0" dirty="0">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cells represent square</a:t>
                      </a:r>
                      <a:r>
                        <a:rPr lang="en-US" sz="1600" baseline="0" dirty="0">
                          <a:latin typeface="Calibri" panose="020F0502020204030204" pitchFamily="34" charset="0"/>
                          <a:cs typeface="Calibri" panose="020F0502020204030204" pitchFamily="34" charset="0"/>
                        </a:rPr>
                        <a:t> area of environment</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2116919975"/>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Occupancy</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Probability cell is occupied by obstacle</a:t>
                      </a:r>
                    </a:p>
                  </a:txBody>
                  <a:tcPr marT="36007" marB="36007"/>
                </a:tc>
                <a:extLst>
                  <a:ext uri="{0D108BD9-81ED-4DB2-BD59-A6C34878D82A}">
                    <a16:rowId xmlns:a16="http://schemas.microsoft.com/office/drawing/2014/main" val="6642726"/>
                  </a:ext>
                </a:extLst>
              </a:tr>
              <a:tr h="292062">
                <a:tc>
                  <a:txBody>
                    <a:bodyPr/>
                    <a:lstStyle/>
                    <a:p>
                      <a:pPr marL="285750" lvl="0" indent="-285750" algn="l">
                        <a:buFont typeface="Wingdings" panose="05000000000000000000" pitchFamily="2" charset="2"/>
                        <a:buChar char="Ø"/>
                      </a:pPr>
                      <a:r>
                        <a:rPr lang="en-US" sz="1600" b="1" dirty="0">
                          <a:latin typeface="Calibri" panose="020F0502020204030204" pitchFamily="34" charset="0"/>
                          <a:cs typeface="Calibri" panose="020F0502020204030204" pitchFamily="34" charset="0"/>
                        </a:rPr>
                        <a:t>Metadata</a:t>
                      </a:r>
                    </a:p>
                  </a:txBody>
                  <a:tcPr marT="36007" marB="36007">
                    <a:solidFill>
                      <a:schemeClr val="bg2">
                        <a:lumMod val="20000"/>
                        <a:lumOff val="80000"/>
                      </a:schemeClr>
                    </a:solidFill>
                  </a:tcPr>
                </a:tc>
                <a:tc>
                  <a:txBody>
                    <a:bodyPr/>
                    <a:lstStyle/>
                    <a:p>
                      <a:pPr marL="285750" indent="-285750" algn="l">
                        <a:buFont typeface="Arial" panose="020B0604020202020204" pitchFamily="34" charset="0"/>
                        <a:buChar char="•"/>
                      </a:pPr>
                      <a:r>
                        <a:rPr lang="en-US" sz="1600" dirty="0">
                          <a:latin typeface="Calibri" panose="020F0502020204030204" pitchFamily="34" charset="0"/>
                          <a:cs typeface="Calibri" panose="020F0502020204030204" pitchFamily="34" charset="0"/>
                        </a:rPr>
                        <a:t>Type/classification</a:t>
                      </a:r>
                      <a:r>
                        <a:rPr lang="en-US" sz="1600" baseline="0" dirty="0">
                          <a:latin typeface="Calibri" panose="020F0502020204030204" pitchFamily="34" charset="0"/>
                          <a:cs typeface="Calibri" panose="020F0502020204030204" pitchFamily="34" charset="0"/>
                        </a:rPr>
                        <a:t> of features (based on human anatomy)</a:t>
                      </a:r>
                    </a:p>
                    <a:p>
                      <a:pPr marL="285750" indent="-285750" algn="l">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Probability of a feature being a benign / malignant tumor</a:t>
                      </a:r>
                    </a:p>
                  </a:txBody>
                  <a:tcPr marT="36007" marB="36007"/>
                </a:tc>
                <a:extLst>
                  <a:ext uri="{0D108BD9-81ED-4DB2-BD59-A6C34878D82A}">
                    <a16:rowId xmlns:a16="http://schemas.microsoft.com/office/drawing/2014/main" val="2251413808"/>
                  </a:ext>
                </a:extLst>
              </a:tr>
              <a:tr h="292062">
                <a:tc>
                  <a:txBody>
                    <a:bodyPr/>
                    <a:lstStyle/>
                    <a:p>
                      <a:pPr algn="l"/>
                      <a:r>
                        <a:rPr lang="en-US" sz="1600" b="1" dirty="0" err="1">
                          <a:latin typeface="Calibri" panose="020F0502020204030204" pitchFamily="34" charset="0"/>
                          <a:cs typeface="Calibri" panose="020F0502020204030204" pitchFamily="34" charset="0"/>
                        </a:rPr>
                        <a:t>Time_Last_Updated</a:t>
                      </a:r>
                      <a:endParaRPr lang="en-US" sz="1600" b="1" dirty="0">
                        <a:latin typeface="Calibri" panose="020F0502020204030204" pitchFamily="34" charset="0"/>
                        <a:cs typeface="Calibri" panose="020F0502020204030204" pitchFamily="34" charset="0"/>
                      </a:endParaRP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Timestamp map was last refreshed</a:t>
                      </a:r>
                    </a:p>
                  </a:txBody>
                  <a:tcPr marT="36007" marB="36007"/>
                </a:tc>
                <a:extLst>
                  <a:ext uri="{0D108BD9-81ED-4DB2-BD59-A6C34878D82A}">
                    <a16:rowId xmlns:a16="http://schemas.microsoft.com/office/drawing/2014/main" val="1762044940"/>
                  </a:ext>
                </a:extLst>
              </a:tr>
              <a:tr h="292062">
                <a:tc>
                  <a:txBody>
                    <a:bodyPr/>
                    <a:lstStyle/>
                    <a:p>
                      <a:pPr algn="l"/>
                      <a:r>
                        <a:rPr lang="en-US" sz="1600" b="1" dirty="0">
                          <a:latin typeface="Calibri" panose="020F0502020204030204" pitchFamily="34" charset="0"/>
                          <a:cs typeface="Calibri" panose="020F0502020204030204" pitchFamily="34" charset="0"/>
                        </a:rPr>
                        <a:t>Resolution</a:t>
                      </a:r>
                    </a:p>
                  </a:txBody>
                  <a:tcPr marT="36007" marB="36007">
                    <a:solidFill>
                      <a:schemeClr val="bg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Resolution</a:t>
                      </a:r>
                      <a:r>
                        <a:rPr lang="en-US" sz="1600" baseline="0" dirty="0">
                          <a:latin typeface="Calibri" panose="020F0502020204030204" pitchFamily="34" charset="0"/>
                          <a:cs typeface="Calibri" panose="020F0502020204030204" pitchFamily="34" charset="0"/>
                        </a:rPr>
                        <a:t> of map (corresponding to real-world scale)</a:t>
                      </a:r>
                      <a:endParaRPr lang="en-US" sz="1600" dirty="0">
                        <a:latin typeface="Calibri" panose="020F0502020204030204" pitchFamily="34" charset="0"/>
                        <a:cs typeface="Calibri" panose="020F0502020204030204" pitchFamily="34" charset="0"/>
                      </a:endParaRPr>
                    </a:p>
                  </a:txBody>
                  <a:tcPr marT="36007" marB="36007"/>
                </a:tc>
                <a:extLst>
                  <a:ext uri="{0D108BD9-81ED-4DB2-BD59-A6C34878D82A}">
                    <a16:rowId xmlns:a16="http://schemas.microsoft.com/office/drawing/2014/main" val="824279294"/>
                  </a:ext>
                </a:extLst>
              </a:tr>
            </a:tbl>
          </a:graphicData>
        </a:graphic>
      </p:graphicFrame>
      <p:sp>
        <p:nvSpPr>
          <p:cNvPr id="35" name="TextBox 34">
            <a:extLst>
              <a:ext uri="{FF2B5EF4-FFF2-40B4-BE49-F238E27FC236}">
                <a16:creationId xmlns:a16="http://schemas.microsoft.com/office/drawing/2014/main" id="{AA904D97-3E8D-6E9A-AF03-521D7166368C}"/>
              </a:ext>
            </a:extLst>
          </p:cNvPr>
          <p:cNvSpPr txBox="1"/>
          <p:nvPr/>
        </p:nvSpPr>
        <p:spPr>
          <a:xfrm>
            <a:off x="384174" y="1344720"/>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schema for occupancy map:</a:t>
            </a:r>
          </a:p>
        </p:txBody>
      </p:sp>
      <p:sp>
        <p:nvSpPr>
          <p:cNvPr id="36" name="TextBox 35">
            <a:extLst>
              <a:ext uri="{FF2B5EF4-FFF2-40B4-BE49-F238E27FC236}">
                <a16:creationId xmlns:a16="http://schemas.microsoft.com/office/drawing/2014/main" id="{19DC55C0-C86C-5108-D354-0584FB79390C}"/>
              </a:ext>
            </a:extLst>
          </p:cNvPr>
          <p:cNvSpPr txBox="1"/>
          <p:nvPr/>
        </p:nvSpPr>
        <p:spPr>
          <a:xfrm>
            <a:off x="384174" y="3950031"/>
            <a:ext cx="11420475" cy="369332"/>
          </a:xfrm>
          <a:prstGeom prst="rect">
            <a:avLst/>
          </a:prstGeom>
          <a:noFill/>
        </p:spPr>
        <p:txBody>
          <a:bodyPr wrap="square">
            <a:noAutofit/>
          </a:bodyPr>
          <a:lstStyle/>
          <a:p>
            <a:pPr lvl="0"/>
            <a:r>
              <a:rPr lang="en-US" sz="1600" b="1" dirty="0">
                <a:latin typeface="Calibri" panose="020F0502020204030204" pitchFamily="34" charset="0"/>
                <a:cs typeface="Calibri" panose="020F0502020204030204" pitchFamily="34" charset="0"/>
              </a:rPr>
              <a:t>Potential Algorithm to initialize and refresh occupancy grid:</a:t>
            </a:r>
          </a:p>
        </p:txBody>
      </p:sp>
      <p:pic>
        <p:nvPicPr>
          <p:cNvPr id="1026" name="Picture 2" descr="Making a Map-making Robot:">
            <a:extLst>
              <a:ext uri="{FF2B5EF4-FFF2-40B4-BE49-F238E27FC236}">
                <a16:creationId xmlns:a16="http://schemas.microsoft.com/office/drawing/2014/main" id="{40FE64B8-0C6D-3B3D-D703-5575A48278E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8255425" y="1848336"/>
            <a:ext cx="1548922" cy="15822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Making a Map-making Robot:">
            <a:extLst>
              <a:ext uri="{FF2B5EF4-FFF2-40B4-BE49-F238E27FC236}">
                <a16:creationId xmlns:a16="http://schemas.microsoft.com/office/drawing/2014/main" id="{5B7A8394-493E-3C9D-8A17-95E755A3C54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9" b="-1"/>
          <a:stretch/>
        </p:blipFill>
        <p:spPr bwMode="auto">
          <a:xfrm>
            <a:off x="10219625" y="1848335"/>
            <a:ext cx="1548922" cy="158303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2154719-57B8-D5E5-C246-874B96B2112F}"/>
              </a:ext>
            </a:extLst>
          </p:cNvPr>
          <p:cNvSpPr txBox="1"/>
          <p:nvPr/>
        </p:nvSpPr>
        <p:spPr>
          <a:xfrm>
            <a:off x="8213408" y="3510623"/>
            <a:ext cx="3526919" cy="663288"/>
          </a:xfrm>
          <a:prstGeom prst="rect">
            <a:avLst/>
          </a:prstGeom>
          <a:noFill/>
        </p:spPr>
        <p:txBody>
          <a:bodyPr wrap="square" lIns="0" tIns="0" rIns="0" bIns="0" rtlCol="0">
            <a:noAutofit/>
          </a:bodyPr>
          <a:lstStyle/>
          <a:p>
            <a:pPr algn="ctr" defTabSz="228600">
              <a:lnSpc>
                <a:spcPct val="125000"/>
              </a:lnSpc>
              <a:spcAft>
                <a:spcPts val="1200"/>
              </a:spcAft>
            </a:pPr>
            <a:r>
              <a:rPr lang="en-US" sz="1200" i="1" noProof="0" dirty="0">
                <a:latin typeface="Calibri" panose="020F0502020204030204" pitchFamily="34" charset="0"/>
                <a:cs typeface="Calibri" panose="020F0502020204030204" pitchFamily="34" charset="0"/>
              </a:rPr>
              <a:t>Fig. 5 </a:t>
            </a:r>
            <a:r>
              <a:rPr lang="en-US" sz="1200" noProof="0" dirty="0">
                <a:latin typeface="Calibri" panose="020F0502020204030204" pitchFamily="34" charset="0"/>
                <a:cs typeface="Calibri" panose="020F0502020204030204" pitchFamily="34" charset="0"/>
              </a:rPr>
              <a:t>Illustrative example of how an image of the environment (left) can be mapped into a binary occupancy grid (right)</a:t>
            </a:r>
          </a:p>
        </p:txBody>
      </p:sp>
    </p:spTree>
    <p:extLst>
      <p:ext uri="{BB962C8B-B14F-4D97-AF65-F5344CB8AC3E}">
        <p14:creationId xmlns:p14="http://schemas.microsoft.com/office/powerpoint/2010/main" val="37995780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738BFCE-7606-233C-22D0-B9FF4C21C285}"/>
              </a:ext>
            </a:extLst>
          </p:cNvPr>
          <p:cNvGraphicFramePr>
            <a:graphicFrameLocks noChangeAspect="1"/>
          </p:cNvGraphicFramePr>
          <p:nvPr>
            <p:custDataLst>
              <p:tags r:id="rId1"/>
            </p:custDataLst>
            <p:extLst>
              <p:ext uri="{D42A27DB-BD31-4B8C-83A1-F6EECF244321}">
                <p14:modId xmlns:p14="http://schemas.microsoft.com/office/powerpoint/2010/main" val="418209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3738BFCE-7606-233C-22D0-B9FF4C21C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3659606C-726F-A9BB-CF11-DD41BC31359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6184B775-3974-6055-02ED-A0E3600F425B}"/>
              </a:ext>
            </a:extLst>
          </p:cNvPr>
          <p:cNvSpPr>
            <a:spLocks noGrp="1"/>
          </p:cNvSpPr>
          <p:nvPr>
            <p:ph type="title"/>
          </p:nvPr>
        </p:nvSpPr>
        <p:spPr/>
        <p:txBody>
          <a:bodyPr vert="horz"/>
          <a:lstStyle/>
          <a:p>
            <a:r>
              <a:rPr lang="en-US" dirty="0"/>
              <a:t>Template - </a:t>
            </a:r>
            <a:r>
              <a:rPr lang="en-GB" dirty="0"/>
              <a:t>Scatter chart</a:t>
            </a:r>
          </a:p>
        </p:txBody>
      </p:sp>
      <p:sp>
        <p:nvSpPr>
          <p:cNvPr id="4" name="Marcador de pie de página 3">
            <a:extLst>
              <a:ext uri="{FF2B5EF4-FFF2-40B4-BE49-F238E27FC236}">
                <a16:creationId xmlns:a16="http://schemas.microsoft.com/office/drawing/2014/main" id="{5916C403-4E7D-299B-4056-47B9DC800815}"/>
              </a:ext>
            </a:extLst>
          </p:cNvPr>
          <p:cNvSpPr>
            <a:spLocks noGrp="1"/>
          </p:cNvSpPr>
          <p:nvPr>
            <p:ph type="ftr" sz="quarter" idx="3"/>
          </p:nvPr>
        </p:nvSpPr>
        <p:spPr/>
        <p:txBody>
          <a:bodyPr/>
          <a:lstStyle/>
          <a:p>
            <a:r>
              <a:rPr lang="en-US"/>
              <a:t>Source:_______</a:t>
            </a:r>
            <a:endParaRPr lang="en-US" dirty="0"/>
          </a:p>
        </p:txBody>
      </p:sp>
      <p:graphicFrame>
        <p:nvGraphicFramePr>
          <p:cNvPr id="8" name="Gráfico 7">
            <a:extLst>
              <a:ext uri="{FF2B5EF4-FFF2-40B4-BE49-F238E27FC236}">
                <a16:creationId xmlns:a16="http://schemas.microsoft.com/office/drawing/2014/main" id="{23C6ECA2-4100-EE4F-F76D-7BDC664DDC95}"/>
              </a:ext>
            </a:extLst>
          </p:cNvPr>
          <p:cNvGraphicFramePr/>
          <p:nvPr>
            <p:extLst>
              <p:ext uri="{D42A27DB-BD31-4B8C-83A1-F6EECF244321}">
                <p14:modId xmlns:p14="http://schemas.microsoft.com/office/powerpoint/2010/main" val="2892451818"/>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9690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2E83919-C11D-775E-854E-1B91D6521065}"/>
              </a:ext>
            </a:extLst>
          </p:cNvPr>
          <p:cNvGraphicFramePr>
            <a:graphicFrameLocks noChangeAspect="1"/>
          </p:cNvGraphicFramePr>
          <p:nvPr>
            <p:custDataLst>
              <p:tags r:id="rId1"/>
            </p:custDataLst>
            <p:extLst>
              <p:ext uri="{D42A27DB-BD31-4B8C-83A1-F6EECF244321}">
                <p14:modId xmlns:p14="http://schemas.microsoft.com/office/powerpoint/2010/main" val="181638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2E83919-C11D-775E-854E-1B91D6521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ángulo 6">
            <a:extLst>
              <a:ext uri="{FF2B5EF4-FFF2-40B4-BE49-F238E27FC236}">
                <a16:creationId xmlns:a16="http://schemas.microsoft.com/office/drawing/2014/main" id="{2B334259-4235-F1E0-E6A7-C4DA4EC2F3E9}"/>
              </a:ext>
            </a:extLst>
          </p:cNvPr>
          <p:cNvSpPr/>
          <p:nvPr/>
        </p:nvSpPr>
        <p:spPr>
          <a:xfrm>
            <a:off x="2513011" y="1676399"/>
            <a:ext cx="2482851" cy="3044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Rectángulo 7">
            <a:extLst>
              <a:ext uri="{FF2B5EF4-FFF2-40B4-BE49-F238E27FC236}">
                <a16:creationId xmlns:a16="http://schemas.microsoft.com/office/drawing/2014/main" id="{51B7C592-D2A5-AB2D-E975-9E10912DD172}"/>
              </a:ext>
            </a:extLst>
          </p:cNvPr>
          <p:cNvSpPr/>
          <p:nvPr/>
        </p:nvSpPr>
        <p:spPr>
          <a:xfrm>
            <a:off x="4995861" y="1676399"/>
            <a:ext cx="4976813" cy="30448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9" name="Rectángulo 8">
            <a:extLst>
              <a:ext uri="{FF2B5EF4-FFF2-40B4-BE49-F238E27FC236}">
                <a16:creationId xmlns:a16="http://schemas.microsoft.com/office/drawing/2014/main" id="{8AE52D81-8DD8-C238-19DE-1F0FA29A5003}"/>
              </a:ext>
            </a:extLst>
          </p:cNvPr>
          <p:cNvSpPr/>
          <p:nvPr/>
        </p:nvSpPr>
        <p:spPr>
          <a:xfrm>
            <a:off x="2513011" y="4721225"/>
            <a:ext cx="2482851" cy="12152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0" name="Rectángulo 9">
            <a:extLst>
              <a:ext uri="{FF2B5EF4-FFF2-40B4-BE49-F238E27FC236}">
                <a16:creationId xmlns:a16="http://schemas.microsoft.com/office/drawing/2014/main" id="{27F06412-FECE-E3C2-705A-92CAEF5A725D}"/>
              </a:ext>
            </a:extLst>
          </p:cNvPr>
          <p:cNvSpPr/>
          <p:nvPr/>
        </p:nvSpPr>
        <p:spPr>
          <a:xfrm>
            <a:off x="4995861" y="4721225"/>
            <a:ext cx="4976813" cy="121523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2" name="Marcador de texto 1">
            <a:extLst>
              <a:ext uri="{FF2B5EF4-FFF2-40B4-BE49-F238E27FC236}">
                <a16:creationId xmlns:a16="http://schemas.microsoft.com/office/drawing/2014/main" id="{1595D338-CEC8-FBC8-C674-B7E6DB484E1C}"/>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D589F967-A112-8FC4-44F3-8FEAE2EF1E3D}"/>
              </a:ext>
            </a:extLst>
          </p:cNvPr>
          <p:cNvSpPr>
            <a:spLocks noGrp="1"/>
          </p:cNvSpPr>
          <p:nvPr>
            <p:ph type="title"/>
          </p:nvPr>
        </p:nvSpPr>
        <p:spPr/>
        <p:txBody>
          <a:bodyPr vert="horz"/>
          <a:lstStyle/>
          <a:p>
            <a:r>
              <a:rPr lang="en-US" dirty="0"/>
              <a:t>Template - Scatter chart with four quadrants</a:t>
            </a:r>
            <a:endParaRPr lang="en-GB" dirty="0"/>
          </a:p>
        </p:txBody>
      </p:sp>
      <p:sp>
        <p:nvSpPr>
          <p:cNvPr id="4" name="Marcador de pie de página 3">
            <a:extLst>
              <a:ext uri="{FF2B5EF4-FFF2-40B4-BE49-F238E27FC236}">
                <a16:creationId xmlns:a16="http://schemas.microsoft.com/office/drawing/2014/main" id="{2F1692FA-E02D-50F2-0CC9-4DBD5D9CDC20}"/>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42AE247-3CAE-55D3-391D-5E9E906E6C4B}"/>
              </a:ext>
            </a:extLst>
          </p:cNvPr>
          <p:cNvGraphicFramePr/>
          <p:nvPr>
            <p:extLst>
              <p:ext uri="{D42A27DB-BD31-4B8C-83A1-F6EECF244321}">
                <p14:modId xmlns:p14="http://schemas.microsoft.com/office/powerpoint/2010/main" val="61321007"/>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5">
            <a:extLst>
              <a:ext uri="{FF2B5EF4-FFF2-40B4-BE49-F238E27FC236}">
                <a16:creationId xmlns:a16="http://schemas.microsoft.com/office/drawing/2014/main" id="{A736B307-0040-C38A-4BC6-21B53567F14C}"/>
              </a:ext>
            </a:extLst>
          </p:cNvPr>
          <p:cNvSpPr txBox="1"/>
          <p:nvPr/>
        </p:nvSpPr>
        <p:spPr>
          <a:xfrm>
            <a:off x="2585912"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3" name="TextBox 25">
            <a:extLst>
              <a:ext uri="{FF2B5EF4-FFF2-40B4-BE49-F238E27FC236}">
                <a16:creationId xmlns:a16="http://schemas.microsoft.com/office/drawing/2014/main" id="{FA6E4D84-0D4D-0FF0-A0DB-0AE651B1A03A}"/>
              </a:ext>
            </a:extLst>
          </p:cNvPr>
          <p:cNvSpPr txBox="1"/>
          <p:nvPr/>
        </p:nvSpPr>
        <p:spPr>
          <a:xfrm>
            <a:off x="2585912"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4" name="TextBox 25">
            <a:extLst>
              <a:ext uri="{FF2B5EF4-FFF2-40B4-BE49-F238E27FC236}">
                <a16:creationId xmlns:a16="http://schemas.microsoft.com/office/drawing/2014/main" id="{0482A8A8-4D28-4976-37FB-633F9AF298AF}"/>
              </a:ext>
            </a:extLst>
          </p:cNvPr>
          <p:cNvSpPr txBox="1"/>
          <p:nvPr/>
        </p:nvSpPr>
        <p:spPr>
          <a:xfrm>
            <a:off x="5048137" y="1739058"/>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5" name="TextBox 25">
            <a:extLst>
              <a:ext uri="{FF2B5EF4-FFF2-40B4-BE49-F238E27FC236}">
                <a16:creationId xmlns:a16="http://schemas.microsoft.com/office/drawing/2014/main" id="{10D5FCF1-27BB-2CD1-7D7D-19039A2FAA75}"/>
              </a:ext>
            </a:extLst>
          </p:cNvPr>
          <p:cNvSpPr txBox="1"/>
          <p:nvPr/>
        </p:nvSpPr>
        <p:spPr>
          <a:xfrm>
            <a:off x="5048137" y="4800424"/>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3714319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DA6A834-5DEA-3D3A-98E0-3C0683A5F426}"/>
              </a:ext>
            </a:extLst>
          </p:cNvPr>
          <p:cNvGraphicFramePr>
            <a:graphicFrameLocks noChangeAspect="1"/>
          </p:cNvGraphicFramePr>
          <p:nvPr>
            <p:custDataLst>
              <p:tags r:id="rId1"/>
            </p:custDataLst>
            <p:extLst>
              <p:ext uri="{D42A27DB-BD31-4B8C-83A1-F6EECF244321}">
                <p14:modId xmlns:p14="http://schemas.microsoft.com/office/powerpoint/2010/main" val="74093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6DA6A834-5DEA-3D3A-98E0-3C0683A5F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8556EFF-8110-6581-1344-BD4294521A03}"/>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29DB6B8-76BB-D8A4-829F-C7282AFA5F45}"/>
              </a:ext>
            </a:extLst>
          </p:cNvPr>
          <p:cNvSpPr>
            <a:spLocks noGrp="1"/>
          </p:cNvSpPr>
          <p:nvPr>
            <p:ph type="title"/>
          </p:nvPr>
        </p:nvSpPr>
        <p:spPr/>
        <p:txBody>
          <a:bodyPr vert="horz"/>
          <a:lstStyle/>
          <a:p>
            <a:r>
              <a:rPr lang="en-US" dirty="0"/>
              <a:t>Template - </a:t>
            </a:r>
            <a:r>
              <a:rPr lang="en-GB" dirty="0"/>
              <a:t>Scatter chart with segmentation</a:t>
            </a:r>
          </a:p>
        </p:txBody>
      </p:sp>
      <p:sp>
        <p:nvSpPr>
          <p:cNvPr id="4" name="Marcador de pie de página 3">
            <a:extLst>
              <a:ext uri="{FF2B5EF4-FFF2-40B4-BE49-F238E27FC236}">
                <a16:creationId xmlns:a16="http://schemas.microsoft.com/office/drawing/2014/main" id="{BFE87874-48CE-76D2-4743-F04BF4AF2A3E}"/>
              </a:ext>
            </a:extLst>
          </p:cNvPr>
          <p:cNvSpPr>
            <a:spLocks noGrp="1"/>
          </p:cNvSpPr>
          <p:nvPr>
            <p:ph type="ftr" sz="quarter" idx="3"/>
          </p:nvPr>
        </p:nvSpPr>
        <p:spPr/>
        <p:txBody>
          <a:bodyPr/>
          <a:lstStyle/>
          <a:p>
            <a:r>
              <a:rPr lang="en-US"/>
              <a:t>Source:_______</a:t>
            </a:r>
            <a:endParaRPr lang="en-US" dirty="0"/>
          </a:p>
        </p:txBody>
      </p:sp>
      <p:graphicFrame>
        <p:nvGraphicFramePr>
          <p:cNvPr id="5" name="Gráfico 4">
            <a:extLst>
              <a:ext uri="{FF2B5EF4-FFF2-40B4-BE49-F238E27FC236}">
                <a16:creationId xmlns:a16="http://schemas.microsoft.com/office/drawing/2014/main" id="{482FB31A-C3C3-88A5-4826-DF8F04872212}"/>
              </a:ext>
            </a:extLst>
          </p:cNvPr>
          <p:cNvGraphicFramePr/>
          <p:nvPr>
            <p:extLst>
              <p:ext uri="{D42A27DB-BD31-4B8C-83A1-F6EECF244321}">
                <p14:modId xmlns:p14="http://schemas.microsoft.com/office/powerpoint/2010/main" val="100112684"/>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ángulo 9">
            <a:extLst>
              <a:ext uri="{FF2B5EF4-FFF2-40B4-BE49-F238E27FC236}">
                <a16:creationId xmlns:a16="http://schemas.microsoft.com/office/drawing/2014/main" id="{C65C8D40-CEB5-1A3B-3205-CB90FF3F7A34}"/>
              </a:ext>
            </a:extLst>
          </p:cNvPr>
          <p:cNvSpPr/>
          <p:nvPr/>
        </p:nvSpPr>
        <p:spPr>
          <a:xfrm>
            <a:off x="6219827" y="16732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1" name="Rectángulo 10">
            <a:extLst>
              <a:ext uri="{FF2B5EF4-FFF2-40B4-BE49-F238E27FC236}">
                <a16:creationId xmlns:a16="http://schemas.microsoft.com/office/drawing/2014/main" id="{9D0023D4-2AA9-62B4-0BE6-03849BFF09E9}"/>
              </a:ext>
            </a:extLst>
          </p:cNvPr>
          <p:cNvSpPr/>
          <p:nvPr/>
        </p:nvSpPr>
        <p:spPr>
          <a:xfrm>
            <a:off x="3627437" y="2282826"/>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
        <p:nvSpPr>
          <p:cNvPr id="12" name="Rectángulo 11">
            <a:extLst>
              <a:ext uri="{FF2B5EF4-FFF2-40B4-BE49-F238E27FC236}">
                <a16:creationId xmlns:a16="http://schemas.microsoft.com/office/drawing/2014/main" id="{660DF876-7DEE-AE45-7B15-328262448D40}"/>
              </a:ext>
            </a:extLst>
          </p:cNvPr>
          <p:cNvSpPr/>
          <p:nvPr/>
        </p:nvSpPr>
        <p:spPr>
          <a:xfrm>
            <a:off x="8256587" y="4559301"/>
            <a:ext cx="2482851" cy="622299"/>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GB" sz="1200" dirty="0">
                <a:solidFill>
                  <a:schemeClr val="tx1"/>
                </a:solidFill>
              </a:rPr>
              <a:t>Text</a:t>
            </a:r>
          </a:p>
        </p:txBody>
      </p:sp>
    </p:spTree>
    <p:extLst>
      <p:ext uri="{BB962C8B-B14F-4D97-AF65-F5344CB8AC3E}">
        <p14:creationId xmlns:p14="http://schemas.microsoft.com/office/powerpoint/2010/main" val="40104350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F20B74FE-6EC9-5B21-2B07-2CCA60B2B508}"/>
              </a:ext>
            </a:extLst>
          </p:cNvPr>
          <p:cNvGraphicFramePr>
            <a:graphicFrameLocks noChangeAspect="1"/>
          </p:cNvGraphicFramePr>
          <p:nvPr>
            <p:custDataLst>
              <p:tags r:id="rId1"/>
            </p:custDataLst>
            <p:extLst>
              <p:ext uri="{D42A27DB-BD31-4B8C-83A1-F6EECF244321}">
                <p14:modId xmlns:p14="http://schemas.microsoft.com/office/powerpoint/2010/main" val="6564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F20B74FE-6EC9-5B21-2B07-2CCA60B2B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663612A5-4266-EB65-6034-0F185B7700A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400E79B3-DC90-B57E-785C-6C71D4312AD7}"/>
              </a:ext>
            </a:extLst>
          </p:cNvPr>
          <p:cNvSpPr>
            <a:spLocks noGrp="1"/>
          </p:cNvSpPr>
          <p:nvPr>
            <p:ph type="title"/>
          </p:nvPr>
        </p:nvSpPr>
        <p:spPr/>
        <p:txBody>
          <a:bodyPr vert="horz"/>
          <a:lstStyle/>
          <a:p>
            <a:r>
              <a:rPr lang="en-US" dirty="0"/>
              <a:t>Template - </a:t>
            </a:r>
            <a:r>
              <a:rPr lang="en-GB" dirty="0"/>
              <a:t>XY Bubble chart</a:t>
            </a:r>
          </a:p>
        </p:txBody>
      </p:sp>
      <p:sp>
        <p:nvSpPr>
          <p:cNvPr id="4" name="Marcador de pie de página 3">
            <a:extLst>
              <a:ext uri="{FF2B5EF4-FFF2-40B4-BE49-F238E27FC236}">
                <a16:creationId xmlns:a16="http://schemas.microsoft.com/office/drawing/2014/main" id="{EFC93C5F-C54A-C4C7-66D5-9F223EF6E6EC}"/>
              </a:ext>
            </a:extLst>
          </p:cNvPr>
          <p:cNvSpPr>
            <a:spLocks noGrp="1"/>
          </p:cNvSpPr>
          <p:nvPr>
            <p:ph type="ftr" sz="quarter" idx="3"/>
          </p:nvPr>
        </p:nvSpPr>
        <p:spPr/>
        <p:txBody>
          <a:bodyPr/>
          <a:lstStyle/>
          <a:p>
            <a:r>
              <a:rPr lang="en-US"/>
              <a:t>Source:_______</a:t>
            </a:r>
            <a:endParaRPr lang="en-US" dirty="0"/>
          </a:p>
        </p:txBody>
      </p:sp>
      <p:graphicFrame>
        <p:nvGraphicFramePr>
          <p:cNvPr id="9" name="Gráfico 8">
            <a:extLst>
              <a:ext uri="{FF2B5EF4-FFF2-40B4-BE49-F238E27FC236}">
                <a16:creationId xmlns:a16="http://schemas.microsoft.com/office/drawing/2014/main" id="{5B60A400-3DD2-99E3-D95D-E4328A60003E}"/>
              </a:ext>
            </a:extLst>
          </p:cNvPr>
          <p:cNvGraphicFramePr/>
          <p:nvPr>
            <p:extLst>
              <p:ext uri="{D42A27DB-BD31-4B8C-83A1-F6EECF244321}">
                <p14:modId xmlns:p14="http://schemas.microsoft.com/office/powerpoint/2010/main" val="3849570599"/>
              </p:ext>
            </p:extLst>
          </p:nvPr>
        </p:nvGraphicFramePr>
        <p:xfrm>
          <a:off x="2032000" y="1520825"/>
          <a:ext cx="8128000" cy="4787900"/>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25">
            <a:extLst>
              <a:ext uri="{FF2B5EF4-FFF2-40B4-BE49-F238E27FC236}">
                <a16:creationId xmlns:a16="http://schemas.microsoft.com/office/drawing/2014/main" id="{824BF7AD-3F0D-1174-CB54-A385FAF171E5}"/>
              </a:ext>
            </a:extLst>
          </p:cNvPr>
          <p:cNvSpPr txBox="1"/>
          <p:nvPr/>
        </p:nvSpPr>
        <p:spPr>
          <a:xfrm>
            <a:off x="6789931" y="2451363"/>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1" name="TextBox 25">
            <a:extLst>
              <a:ext uri="{FF2B5EF4-FFF2-40B4-BE49-F238E27FC236}">
                <a16:creationId xmlns:a16="http://schemas.microsoft.com/office/drawing/2014/main" id="{A263A498-103C-4B55-DEEB-6A0540AEE441}"/>
              </a:ext>
            </a:extLst>
          </p:cNvPr>
          <p:cNvSpPr txBox="1"/>
          <p:nvPr/>
        </p:nvSpPr>
        <p:spPr>
          <a:xfrm>
            <a:off x="8602963" y="5005377"/>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
        <p:nvSpPr>
          <p:cNvPr id="12" name="TextBox 25">
            <a:extLst>
              <a:ext uri="{FF2B5EF4-FFF2-40B4-BE49-F238E27FC236}">
                <a16:creationId xmlns:a16="http://schemas.microsoft.com/office/drawing/2014/main" id="{92DD86F6-FEDE-1B33-ACD9-9586115976C7}"/>
              </a:ext>
            </a:extLst>
          </p:cNvPr>
          <p:cNvSpPr txBox="1"/>
          <p:nvPr/>
        </p:nvSpPr>
        <p:spPr>
          <a:xfrm>
            <a:off x="4635893" y="2987391"/>
            <a:ext cx="1339745" cy="184666"/>
          </a:xfrm>
          <a:prstGeom prst="rect">
            <a:avLst/>
          </a:prstGeom>
          <a:noFill/>
        </p:spPr>
        <p:txBody>
          <a:bodyPr wrap="square" lIns="0" tIns="0" rIns="0" bIns="0" rtlCol="0" anchor="ctr">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p>
        </p:txBody>
      </p:sp>
    </p:spTree>
    <p:extLst>
      <p:ext uri="{BB962C8B-B14F-4D97-AF65-F5344CB8AC3E}">
        <p14:creationId xmlns:p14="http://schemas.microsoft.com/office/powerpoint/2010/main" val="1264918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4804379"/>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330627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182A15C-98BF-23F1-FEAE-C90AA2260864}"/>
              </a:ext>
            </a:extLst>
          </p:cNvPr>
          <p:cNvGraphicFramePr>
            <a:graphicFrameLocks noChangeAspect="1"/>
          </p:cNvGraphicFramePr>
          <p:nvPr>
            <p:custDataLst>
              <p:tags r:id="rId1"/>
            </p:custDataLst>
            <p:extLst>
              <p:ext uri="{D42A27DB-BD31-4B8C-83A1-F6EECF244321}">
                <p14:modId xmlns:p14="http://schemas.microsoft.com/office/powerpoint/2010/main" val="340136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182A15C-98BF-23F1-FEAE-C90AA2260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6A50A60-CA52-55DB-7605-02824992C64E}"/>
              </a:ext>
            </a:extLst>
          </p:cNvPr>
          <p:cNvSpPr>
            <a:spLocks noGrp="1"/>
          </p:cNvSpPr>
          <p:nvPr>
            <p:ph type="body" sz="quarter" idx="14"/>
          </p:nvPr>
        </p:nvSpPr>
        <p:spPr>
          <a:xfrm>
            <a:off x="385762" y="802298"/>
            <a:ext cx="11418888" cy="576263"/>
          </a:xfrm>
        </p:spPr>
        <p:txBody>
          <a:bodyPr/>
          <a:lstStyle/>
          <a:p>
            <a:r>
              <a:rPr lang="en-GB" dirty="0"/>
              <a:t>Subtitle</a:t>
            </a:r>
          </a:p>
        </p:txBody>
      </p:sp>
      <p:sp>
        <p:nvSpPr>
          <p:cNvPr id="3" name="Título 2">
            <a:extLst>
              <a:ext uri="{FF2B5EF4-FFF2-40B4-BE49-F238E27FC236}">
                <a16:creationId xmlns:a16="http://schemas.microsoft.com/office/drawing/2014/main" id="{EA9E9421-1CE8-C1FF-4319-D83DB6342B74}"/>
              </a:ext>
            </a:extLst>
          </p:cNvPr>
          <p:cNvSpPr>
            <a:spLocks noGrp="1"/>
          </p:cNvSpPr>
          <p:nvPr>
            <p:ph type="title"/>
          </p:nvPr>
        </p:nvSpPr>
        <p:spPr>
          <a:xfrm>
            <a:off x="384174" y="381000"/>
            <a:ext cx="11420475" cy="485775"/>
          </a:xfrm>
        </p:spPr>
        <p:txBody>
          <a:bodyPr vert="horz"/>
          <a:lstStyle/>
          <a:p>
            <a:r>
              <a:rPr lang="en-US" dirty="0"/>
              <a:t>Template - </a:t>
            </a:r>
            <a:r>
              <a:rPr lang="en-GB" dirty="0"/>
              <a:t>Flow chart </a:t>
            </a:r>
          </a:p>
        </p:txBody>
      </p:sp>
      <p:sp>
        <p:nvSpPr>
          <p:cNvPr id="4" name="Marcador de pie de página 3">
            <a:extLst>
              <a:ext uri="{FF2B5EF4-FFF2-40B4-BE49-F238E27FC236}">
                <a16:creationId xmlns:a16="http://schemas.microsoft.com/office/drawing/2014/main" id="{ADBC27E0-04E3-6986-16AA-2DEEDE52693B}"/>
              </a:ext>
            </a:extLst>
          </p:cNvPr>
          <p:cNvSpPr>
            <a:spLocks noGrp="1"/>
          </p:cNvSpPr>
          <p:nvPr>
            <p:ph type="ftr" sz="quarter" idx="3"/>
          </p:nvPr>
        </p:nvSpPr>
        <p:spPr/>
        <p:txBody>
          <a:bodyPr/>
          <a:lstStyle/>
          <a:p>
            <a:r>
              <a:rPr lang="en-US"/>
              <a:t>Source:_______</a:t>
            </a:r>
            <a:endParaRPr lang="en-US" dirty="0"/>
          </a:p>
        </p:txBody>
      </p:sp>
      <p:sp>
        <p:nvSpPr>
          <p:cNvPr id="9" name="Subtitle 2">
            <a:extLst>
              <a:ext uri="{FF2B5EF4-FFF2-40B4-BE49-F238E27FC236}">
                <a16:creationId xmlns:a16="http://schemas.microsoft.com/office/drawing/2014/main" id="{E1ADDE8E-1F72-8EBE-81C6-5DD48E7BE179}"/>
              </a:ext>
            </a:extLst>
          </p:cNvPr>
          <p:cNvSpPr txBox="1">
            <a:spLocks/>
          </p:cNvSpPr>
          <p:nvPr/>
        </p:nvSpPr>
        <p:spPr>
          <a:xfrm>
            <a:off x="6720521" y="1726424"/>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0" name="Subtitle 2">
            <a:extLst>
              <a:ext uri="{FF2B5EF4-FFF2-40B4-BE49-F238E27FC236}">
                <a16:creationId xmlns:a16="http://schemas.microsoft.com/office/drawing/2014/main" id="{597CCE33-726A-6E5A-1A4E-5782A60EE71C}"/>
              </a:ext>
            </a:extLst>
          </p:cNvPr>
          <p:cNvSpPr txBox="1">
            <a:spLocks/>
          </p:cNvSpPr>
          <p:nvPr/>
        </p:nvSpPr>
        <p:spPr>
          <a:xfrm>
            <a:off x="8350683" y="2844449"/>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1" name="Subtitle 2">
            <a:extLst>
              <a:ext uri="{FF2B5EF4-FFF2-40B4-BE49-F238E27FC236}">
                <a16:creationId xmlns:a16="http://schemas.microsoft.com/office/drawing/2014/main" id="{2E7802C4-5B8F-59FD-E277-EDABA1E71786}"/>
              </a:ext>
            </a:extLst>
          </p:cNvPr>
          <p:cNvSpPr txBox="1">
            <a:spLocks/>
          </p:cNvSpPr>
          <p:nvPr/>
        </p:nvSpPr>
        <p:spPr>
          <a:xfrm>
            <a:off x="8350683" y="4805600"/>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2" name="Subtitle 2">
            <a:extLst>
              <a:ext uri="{FF2B5EF4-FFF2-40B4-BE49-F238E27FC236}">
                <a16:creationId xmlns:a16="http://schemas.microsoft.com/office/drawing/2014/main" id="{8D4B53DE-5D0E-B42E-713D-020FA457310D}"/>
              </a:ext>
            </a:extLst>
          </p:cNvPr>
          <p:cNvSpPr txBox="1">
            <a:spLocks/>
          </p:cNvSpPr>
          <p:nvPr/>
        </p:nvSpPr>
        <p:spPr>
          <a:xfrm>
            <a:off x="6641680" y="601519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3" name="Subtitle 2">
            <a:extLst>
              <a:ext uri="{FF2B5EF4-FFF2-40B4-BE49-F238E27FC236}">
                <a16:creationId xmlns:a16="http://schemas.microsoft.com/office/drawing/2014/main" id="{FE69EDBC-1643-1A41-314D-D113E2551BD8}"/>
              </a:ext>
            </a:extLst>
          </p:cNvPr>
          <p:cNvSpPr txBox="1">
            <a:spLocks/>
          </p:cNvSpPr>
          <p:nvPr/>
        </p:nvSpPr>
        <p:spPr>
          <a:xfrm>
            <a:off x="385763" y="2845612"/>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sp>
        <p:nvSpPr>
          <p:cNvPr id="14" name="Subtitle 2">
            <a:extLst>
              <a:ext uri="{FF2B5EF4-FFF2-40B4-BE49-F238E27FC236}">
                <a16:creationId xmlns:a16="http://schemas.microsoft.com/office/drawing/2014/main" id="{53F75D8B-8B93-1EFA-AD2C-65502ACBDA75}"/>
              </a:ext>
            </a:extLst>
          </p:cNvPr>
          <p:cNvSpPr txBox="1">
            <a:spLocks/>
          </p:cNvSpPr>
          <p:nvPr/>
        </p:nvSpPr>
        <p:spPr>
          <a:xfrm>
            <a:off x="385763" y="4800685"/>
            <a:ext cx="3477578" cy="191064"/>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dirty="0"/>
              <a:t>Text</a:t>
            </a:r>
          </a:p>
        </p:txBody>
      </p:sp>
      <p:grpSp>
        <p:nvGrpSpPr>
          <p:cNvPr id="5131" name="Grupo 5130">
            <a:extLst>
              <a:ext uri="{FF2B5EF4-FFF2-40B4-BE49-F238E27FC236}">
                <a16:creationId xmlns:a16="http://schemas.microsoft.com/office/drawing/2014/main" id="{4E56E47C-3FCE-DABC-F281-989A913F421D}"/>
              </a:ext>
            </a:extLst>
          </p:cNvPr>
          <p:cNvGrpSpPr/>
          <p:nvPr/>
        </p:nvGrpSpPr>
        <p:grpSpPr>
          <a:xfrm>
            <a:off x="3971966" y="1520825"/>
            <a:ext cx="4244890" cy="4787899"/>
            <a:chOff x="4022471" y="1520825"/>
            <a:chExt cx="4244890" cy="4787899"/>
          </a:xfrm>
        </p:grpSpPr>
        <p:sp>
          <p:nvSpPr>
            <p:cNvPr id="5129" name="Elipse 5128">
              <a:extLst>
                <a:ext uri="{FF2B5EF4-FFF2-40B4-BE49-F238E27FC236}">
                  <a16:creationId xmlns:a16="http://schemas.microsoft.com/office/drawing/2014/main" id="{1E1159C1-F020-FB0D-B326-AF0A63B59043}"/>
                </a:ext>
              </a:extLst>
            </p:cNvPr>
            <p:cNvSpPr/>
            <p:nvPr/>
          </p:nvSpPr>
          <p:spPr>
            <a:xfrm>
              <a:off x="4206430" y="1976784"/>
              <a:ext cx="3875984" cy="387598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8" name="Elipse 7">
              <a:extLst>
                <a:ext uri="{FF2B5EF4-FFF2-40B4-BE49-F238E27FC236}">
                  <a16:creationId xmlns:a16="http://schemas.microsoft.com/office/drawing/2014/main" id="{07120DB6-B669-35EA-9112-59B04B39BE8A}"/>
                </a:ext>
              </a:extLst>
            </p:cNvPr>
            <p:cNvSpPr/>
            <p:nvPr/>
          </p:nvSpPr>
          <p:spPr>
            <a:xfrm>
              <a:off x="4823846" y="2594201"/>
              <a:ext cx="2641152" cy="26411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dirty="0" err="1"/>
            </a:p>
          </p:txBody>
        </p:sp>
        <p:sp>
          <p:nvSpPr>
            <p:cNvPr id="15" name="Elipse 14">
              <a:extLst>
                <a:ext uri="{FF2B5EF4-FFF2-40B4-BE49-F238E27FC236}">
                  <a16:creationId xmlns:a16="http://schemas.microsoft.com/office/drawing/2014/main" id="{911C8A0E-72FE-76E0-517D-023775314DC0}"/>
                </a:ext>
              </a:extLst>
            </p:cNvPr>
            <p:cNvSpPr/>
            <p:nvPr/>
          </p:nvSpPr>
          <p:spPr>
            <a:xfrm>
              <a:off x="5703408" y="1520825"/>
              <a:ext cx="882028" cy="8820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6" name="Elipse 15">
              <a:extLst>
                <a:ext uri="{FF2B5EF4-FFF2-40B4-BE49-F238E27FC236}">
                  <a16:creationId xmlns:a16="http://schemas.microsoft.com/office/drawing/2014/main" id="{B9796A65-05B9-ACBB-294F-9FDC543E2B08}"/>
                </a:ext>
              </a:extLst>
            </p:cNvPr>
            <p:cNvSpPr/>
            <p:nvPr/>
          </p:nvSpPr>
          <p:spPr>
            <a:xfrm>
              <a:off x="7385333" y="2504322"/>
              <a:ext cx="882028" cy="882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7" name="Elipse 16">
              <a:extLst>
                <a:ext uri="{FF2B5EF4-FFF2-40B4-BE49-F238E27FC236}">
                  <a16:creationId xmlns:a16="http://schemas.microsoft.com/office/drawing/2014/main" id="{89CA7B9E-AC9C-AC45-CFA4-D23F82783ECC}"/>
                </a:ext>
              </a:extLst>
            </p:cNvPr>
            <p:cNvSpPr/>
            <p:nvPr/>
          </p:nvSpPr>
          <p:spPr>
            <a:xfrm>
              <a:off x="7385333" y="4438511"/>
              <a:ext cx="882028" cy="882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8" name="Elipse 17">
              <a:extLst>
                <a:ext uri="{FF2B5EF4-FFF2-40B4-BE49-F238E27FC236}">
                  <a16:creationId xmlns:a16="http://schemas.microsoft.com/office/drawing/2014/main" id="{2191A454-0896-95E8-CE4D-3CA48BEB2C1C}"/>
                </a:ext>
              </a:extLst>
            </p:cNvPr>
            <p:cNvSpPr/>
            <p:nvPr/>
          </p:nvSpPr>
          <p:spPr>
            <a:xfrm>
              <a:off x="5703408" y="5426696"/>
              <a:ext cx="882028" cy="882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19" name="Elipse 18">
              <a:extLst>
                <a:ext uri="{FF2B5EF4-FFF2-40B4-BE49-F238E27FC236}">
                  <a16:creationId xmlns:a16="http://schemas.microsoft.com/office/drawing/2014/main" id="{3361C09C-DF2D-33AC-E8B8-552EAC811A0C}"/>
                </a:ext>
              </a:extLst>
            </p:cNvPr>
            <p:cNvSpPr/>
            <p:nvPr/>
          </p:nvSpPr>
          <p:spPr>
            <a:xfrm>
              <a:off x="4022471" y="4446118"/>
              <a:ext cx="882028" cy="882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sp>
          <p:nvSpPr>
            <p:cNvPr id="20" name="Elipse 19">
              <a:extLst>
                <a:ext uri="{FF2B5EF4-FFF2-40B4-BE49-F238E27FC236}">
                  <a16:creationId xmlns:a16="http://schemas.microsoft.com/office/drawing/2014/main" id="{B7E92987-C190-162C-7532-FFA6D3FD19FF}"/>
                </a:ext>
              </a:extLst>
            </p:cNvPr>
            <p:cNvSpPr/>
            <p:nvPr/>
          </p:nvSpPr>
          <p:spPr>
            <a:xfrm>
              <a:off x="4022471" y="2500574"/>
              <a:ext cx="882028" cy="88202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t>Text</a:t>
              </a:r>
            </a:p>
          </p:txBody>
        </p:sp>
        <p:cxnSp>
          <p:nvCxnSpPr>
            <p:cNvPr id="22" name="Conector recto 21">
              <a:extLst>
                <a:ext uri="{FF2B5EF4-FFF2-40B4-BE49-F238E27FC236}">
                  <a16:creationId xmlns:a16="http://schemas.microsoft.com/office/drawing/2014/main" id="{9DDAAD6C-E900-3AC1-9EDE-87A90767E4E7}"/>
                </a:ext>
              </a:extLst>
            </p:cNvPr>
            <p:cNvCxnSpPr>
              <a:cxnSpLocks/>
              <a:stCxn id="8" idx="4"/>
              <a:endCxn id="8" idx="0"/>
            </p:cNvCxnSpPr>
            <p:nvPr/>
          </p:nvCxnSpPr>
          <p:spPr>
            <a:xfrm flipV="1">
              <a:off x="6144422" y="2594201"/>
              <a:ext cx="0" cy="2641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8F45D382-EDD2-96B6-5D91-DF9EBF571B1B}"/>
                </a:ext>
              </a:extLst>
            </p:cNvPr>
            <p:cNvCxnSpPr>
              <a:cxnSpLocks/>
              <a:stCxn id="8" idx="6"/>
              <a:endCxn id="8" idx="2"/>
            </p:cNvCxnSpPr>
            <p:nvPr/>
          </p:nvCxnSpPr>
          <p:spPr>
            <a:xfrm flipH="1">
              <a:off x="4823846" y="3914775"/>
              <a:ext cx="264115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1" name="Subtitle 2">
              <a:extLst>
                <a:ext uri="{FF2B5EF4-FFF2-40B4-BE49-F238E27FC236}">
                  <a16:creationId xmlns:a16="http://schemas.microsoft.com/office/drawing/2014/main" id="{5BDF04B4-3871-CFF0-92F1-55FD5C60BFA9}"/>
                </a:ext>
              </a:extLst>
            </p:cNvPr>
            <p:cNvSpPr txBox="1">
              <a:spLocks/>
            </p:cNvSpPr>
            <p:nvPr/>
          </p:nvSpPr>
          <p:spPr>
            <a:xfrm>
              <a:off x="6252830"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3" name="Subtitle 2">
              <a:extLst>
                <a:ext uri="{FF2B5EF4-FFF2-40B4-BE49-F238E27FC236}">
                  <a16:creationId xmlns:a16="http://schemas.microsoft.com/office/drawing/2014/main" id="{DCFA0236-D005-048D-F52D-804B914A44FF}"/>
                </a:ext>
              </a:extLst>
            </p:cNvPr>
            <p:cNvSpPr txBox="1">
              <a:spLocks/>
            </p:cNvSpPr>
            <p:nvPr/>
          </p:nvSpPr>
          <p:spPr>
            <a:xfrm>
              <a:off x="5165083" y="3202701"/>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4" name="Subtitle 2">
              <a:extLst>
                <a:ext uri="{FF2B5EF4-FFF2-40B4-BE49-F238E27FC236}">
                  <a16:creationId xmlns:a16="http://schemas.microsoft.com/office/drawing/2014/main" id="{0D77483F-4E56-9656-A91A-8B827E5F665D}"/>
                </a:ext>
              </a:extLst>
            </p:cNvPr>
            <p:cNvSpPr txBox="1">
              <a:spLocks/>
            </p:cNvSpPr>
            <p:nvPr/>
          </p:nvSpPr>
          <p:spPr>
            <a:xfrm>
              <a:off x="6252830"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sp>
          <p:nvSpPr>
            <p:cNvPr id="5125" name="Subtitle 2">
              <a:extLst>
                <a:ext uri="{FF2B5EF4-FFF2-40B4-BE49-F238E27FC236}">
                  <a16:creationId xmlns:a16="http://schemas.microsoft.com/office/drawing/2014/main" id="{DA149AA2-885D-38D3-74B8-549272C21506}"/>
                </a:ext>
              </a:extLst>
            </p:cNvPr>
            <p:cNvSpPr txBox="1">
              <a:spLocks/>
            </p:cNvSpPr>
            <p:nvPr/>
          </p:nvSpPr>
          <p:spPr>
            <a:xfrm>
              <a:off x="5165083" y="4405668"/>
              <a:ext cx="882027" cy="159220"/>
            </a:xfrm>
            <a:prstGeom prst="rect">
              <a:avLst/>
            </a:prstGeom>
            <a:noFill/>
          </p:spPr>
          <p:txBody>
            <a:bodyPr wrap="square" lIns="0" tIns="0" rIns="0" bIns="0" rtlCol="0" anchor="ctr">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00" dirty="0"/>
                <a:t>Text</a:t>
              </a:r>
            </a:p>
          </p:txBody>
        </p:sp>
      </p:grpSp>
    </p:spTree>
    <p:extLst>
      <p:ext uri="{BB962C8B-B14F-4D97-AF65-F5344CB8AC3E}">
        <p14:creationId xmlns:p14="http://schemas.microsoft.com/office/powerpoint/2010/main" val="29997535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23DCD289-2D75-8FF2-5095-6598D1FD27EE}"/>
              </a:ext>
            </a:extLst>
          </p:cNvPr>
          <p:cNvGraphicFramePr>
            <a:graphicFrameLocks noChangeAspect="1"/>
          </p:cNvGraphicFramePr>
          <p:nvPr>
            <p:custDataLst>
              <p:tags r:id="rId1"/>
            </p:custDataLst>
            <p:extLst>
              <p:ext uri="{D42A27DB-BD31-4B8C-83A1-F6EECF244321}">
                <p14:modId xmlns:p14="http://schemas.microsoft.com/office/powerpoint/2010/main" val="210705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23DCD289-2D75-8FF2-5095-6598D1FD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7CFD663-43B3-9D3D-938F-204E6828CCCE}"/>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76E44B68-E1A3-B2E2-DEB7-485F1439207A}"/>
              </a:ext>
            </a:extLst>
          </p:cNvPr>
          <p:cNvSpPr>
            <a:spLocks noGrp="1"/>
          </p:cNvSpPr>
          <p:nvPr>
            <p:ph type="title"/>
          </p:nvPr>
        </p:nvSpPr>
        <p:spPr>
          <a:xfrm>
            <a:off x="384174" y="381000"/>
            <a:ext cx="11420475" cy="485775"/>
          </a:xfrm>
        </p:spPr>
        <p:txBody>
          <a:bodyPr vert="horz"/>
          <a:lstStyle/>
          <a:p>
            <a:r>
              <a:rPr lang="en-US" dirty="0"/>
              <a:t>Template - </a:t>
            </a:r>
            <a:r>
              <a:rPr lang="en-GB" dirty="0"/>
              <a:t>Repeating process</a:t>
            </a:r>
          </a:p>
        </p:txBody>
      </p:sp>
      <p:sp>
        <p:nvSpPr>
          <p:cNvPr id="4" name="Marcador de pie de página 3">
            <a:extLst>
              <a:ext uri="{FF2B5EF4-FFF2-40B4-BE49-F238E27FC236}">
                <a16:creationId xmlns:a16="http://schemas.microsoft.com/office/drawing/2014/main" id="{2896D963-4B4D-9AA4-427E-3A4124ED81E5}"/>
              </a:ext>
            </a:extLst>
          </p:cNvPr>
          <p:cNvSpPr>
            <a:spLocks noGrp="1"/>
          </p:cNvSpPr>
          <p:nvPr>
            <p:ph type="ftr" sz="quarter" idx="3"/>
          </p:nvPr>
        </p:nvSpPr>
        <p:spPr/>
        <p:txBody>
          <a:bodyPr/>
          <a:lstStyle/>
          <a:p>
            <a:r>
              <a:rPr lang="en-US"/>
              <a:t>Source:_______</a:t>
            </a:r>
            <a:endParaRPr lang="en-US" dirty="0"/>
          </a:p>
        </p:txBody>
      </p:sp>
      <p:sp>
        <p:nvSpPr>
          <p:cNvPr id="8" name="Elipse 7">
            <a:extLst>
              <a:ext uri="{FF2B5EF4-FFF2-40B4-BE49-F238E27FC236}">
                <a16:creationId xmlns:a16="http://schemas.microsoft.com/office/drawing/2014/main" id="{3018535C-6916-FA61-049F-86541C4CF274}"/>
              </a:ext>
            </a:extLst>
          </p:cNvPr>
          <p:cNvSpPr/>
          <p:nvPr/>
        </p:nvSpPr>
        <p:spPr>
          <a:xfrm>
            <a:off x="4624387" y="1520825"/>
            <a:ext cx="342089" cy="3420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1</a:t>
            </a:r>
          </a:p>
        </p:txBody>
      </p:sp>
      <p:sp>
        <p:nvSpPr>
          <p:cNvPr id="9" name="Subtitle 2">
            <a:extLst>
              <a:ext uri="{FF2B5EF4-FFF2-40B4-BE49-F238E27FC236}">
                <a16:creationId xmlns:a16="http://schemas.microsoft.com/office/drawing/2014/main" id="{D6F130D2-8F0A-7E64-1CBE-707D3CE0A127}"/>
              </a:ext>
            </a:extLst>
          </p:cNvPr>
          <p:cNvSpPr txBox="1">
            <a:spLocks/>
          </p:cNvSpPr>
          <p:nvPr/>
        </p:nvSpPr>
        <p:spPr>
          <a:xfrm>
            <a:off x="5055779" y="1599536"/>
            <a:ext cx="3189061"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0" name="Elipse 9">
            <a:extLst>
              <a:ext uri="{FF2B5EF4-FFF2-40B4-BE49-F238E27FC236}">
                <a16:creationId xmlns:a16="http://schemas.microsoft.com/office/drawing/2014/main" id="{A3177C37-6045-373B-1982-368A61C41B28}"/>
              </a:ext>
            </a:extLst>
          </p:cNvPr>
          <p:cNvSpPr/>
          <p:nvPr/>
        </p:nvSpPr>
        <p:spPr>
          <a:xfrm>
            <a:off x="6537711" y="3458614"/>
            <a:ext cx="342089" cy="3420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3</a:t>
            </a:r>
          </a:p>
        </p:txBody>
      </p:sp>
      <p:sp>
        <p:nvSpPr>
          <p:cNvPr id="11" name="Subtitle 2">
            <a:extLst>
              <a:ext uri="{FF2B5EF4-FFF2-40B4-BE49-F238E27FC236}">
                <a16:creationId xmlns:a16="http://schemas.microsoft.com/office/drawing/2014/main" id="{BBDC0668-AC59-A6A6-5EA2-D2CDD6FDD6BD}"/>
              </a:ext>
            </a:extLst>
          </p:cNvPr>
          <p:cNvSpPr txBox="1">
            <a:spLocks/>
          </p:cNvSpPr>
          <p:nvPr/>
        </p:nvSpPr>
        <p:spPr>
          <a:xfrm>
            <a:off x="6969102"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2" name="Elipse 11">
            <a:extLst>
              <a:ext uri="{FF2B5EF4-FFF2-40B4-BE49-F238E27FC236}">
                <a16:creationId xmlns:a16="http://schemas.microsoft.com/office/drawing/2014/main" id="{60E75A95-F87A-36C8-25CE-56C8522727DD}"/>
              </a:ext>
            </a:extLst>
          </p:cNvPr>
          <p:cNvSpPr/>
          <p:nvPr/>
        </p:nvSpPr>
        <p:spPr>
          <a:xfrm>
            <a:off x="3330175" y="3458614"/>
            <a:ext cx="342089" cy="342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t>2</a:t>
            </a:r>
          </a:p>
        </p:txBody>
      </p:sp>
      <p:sp>
        <p:nvSpPr>
          <p:cNvPr id="13" name="Subtitle 2">
            <a:extLst>
              <a:ext uri="{FF2B5EF4-FFF2-40B4-BE49-F238E27FC236}">
                <a16:creationId xmlns:a16="http://schemas.microsoft.com/office/drawing/2014/main" id="{23A3089B-A523-44EE-382F-D4A7C10A7A66}"/>
              </a:ext>
            </a:extLst>
          </p:cNvPr>
          <p:cNvSpPr txBox="1">
            <a:spLocks/>
          </p:cNvSpPr>
          <p:nvPr/>
        </p:nvSpPr>
        <p:spPr>
          <a:xfrm>
            <a:off x="3761566" y="3537325"/>
            <a:ext cx="2215263" cy="553998"/>
          </a:xfrm>
          <a:prstGeom prst="rect">
            <a:avLst/>
          </a:prstGeom>
          <a:noFill/>
        </p:spPr>
        <p:txBody>
          <a:bodyPr wrap="square" lIns="0" tIns="0" rIns="0" bIns="0" rtlCol="0" anchor="t">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b="1" dirty="0"/>
              <a:t>Text</a:t>
            </a:r>
          </a:p>
          <a:p>
            <a:pPr marL="171450" indent="-171450" algn="l">
              <a:buFont typeface="Arial" panose="020B0604020202020204" pitchFamily="34" charset="0"/>
              <a:buChar char="•"/>
            </a:pPr>
            <a:r>
              <a:rPr lang="en-US" dirty="0"/>
              <a:t>Text</a:t>
            </a:r>
          </a:p>
          <a:p>
            <a:pPr marL="171450" indent="-171450" algn="l">
              <a:buFont typeface="Arial" panose="020B0604020202020204" pitchFamily="34" charset="0"/>
              <a:buChar char="•"/>
            </a:pPr>
            <a:r>
              <a:rPr lang="en-US" dirty="0"/>
              <a:t>Text</a:t>
            </a:r>
          </a:p>
        </p:txBody>
      </p:sp>
      <p:sp>
        <p:nvSpPr>
          <p:cNvPr id="14" name="Arco 13">
            <a:extLst>
              <a:ext uri="{FF2B5EF4-FFF2-40B4-BE49-F238E27FC236}">
                <a16:creationId xmlns:a16="http://schemas.microsoft.com/office/drawing/2014/main" id="{5C142DF2-C201-26C9-8D1E-95C17098BF68}"/>
              </a:ext>
            </a:extLst>
          </p:cNvPr>
          <p:cNvSpPr/>
          <p:nvPr/>
        </p:nvSpPr>
        <p:spPr>
          <a:xfrm>
            <a:off x="2756945" y="2678461"/>
            <a:ext cx="3409252" cy="3409252"/>
          </a:xfrm>
          <a:prstGeom prst="arc">
            <a:avLst>
              <a:gd name="adj1" fmla="val 8033615"/>
              <a:gd name="adj2" fmla="val 13308993"/>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co 14">
            <a:extLst>
              <a:ext uri="{FF2B5EF4-FFF2-40B4-BE49-F238E27FC236}">
                <a16:creationId xmlns:a16="http://schemas.microsoft.com/office/drawing/2014/main" id="{ED52F14F-8E17-184C-BCD8-FA791577E884}"/>
              </a:ext>
            </a:extLst>
          </p:cNvPr>
          <p:cNvSpPr/>
          <p:nvPr/>
        </p:nvSpPr>
        <p:spPr>
          <a:xfrm>
            <a:off x="2756945" y="2678461"/>
            <a:ext cx="3409252" cy="3409252"/>
          </a:xfrm>
          <a:prstGeom prst="arc">
            <a:avLst>
              <a:gd name="adj1" fmla="val 13478639"/>
              <a:gd name="adj2" fmla="val 1849472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Arco 15">
            <a:extLst>
              <a:ext uri="{FF2B5EF4-FFF2-40B4-BE49-F238E27FC236}">
                <a16:creationId xmlns:a16="http://schemas.microsoft.com/office/drawing/2014/main" id="{DADADB62-31BE-7A08-7CEB-A58EAF9890C1}"/>
              </a:ext>
            </a:extLst>
          </p:cNvPr>
          <p:cNvSpPr/>
          <p:nvPr/>
        </p:nvSpPr>
        <p:spPr>
          <a:xfrm>
            <a:off x="2756945" y="2678461"/>
            <a:ext cx="3409252" cy="3409252"/>
          </a:xfrm>
          <a:prstGeom prst="arc">
            <a:avLst>
              <a:gd name="adj1" fmla="val 18611249"/>
              <a:gd name="adj2" fmla="val 2723927"/>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co 16">
            <a:extLst>
              <a:ext uri="{FF2B5EF4-FFF2-40B4-BE49-F238E27FC236}">
                <a16:creationId xmlns:a16="http://schemas.microsoft.com/office/drawing/2014/main" id="{FD307375-F64E-BD1B-E0CD-0719B0214EFC}"/>
              </a:ext>
            </a:extLst>
          </p:cNvPr>
          <p:cNvSpPr/>
          <p:nvPr/>
        </p:nvSpPr>
        <p:spPr>
          <a:xfrm>
            <a:off x="2756945" y="2678461"/>
            <a:ext cx="3409252" cy="3409252"/>
          </a:xfrm>
          <a:prstGeom prst="arc">
            <a:avLst>
              <a:gd name="adj1" fmla="val 2887736"/>
              <a:gd name="adj2" fmla="val 7886298"/>
            </a:avLst>
          </a:prstGeom>
          <a:ln w="28575">
            <a:solidFill>
              <a:schemeClr val="bg2"/>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Arco 23">
            <a:extLst>
              <a:ext uri="{FF2B5EF4-FFF2-40B4-BE49-F238E27FC236}">
                <a16:creationId xmlns:a16="http://schemas.microsoft.com/office/drawing/2014/main" id="{900615F6-DB8F-D2C0-1DB7-5CF7CD4BBDB0}"/>
              </a:ext>
            </a:extLst>
          </p:cNvPr>
          <p:cNvSpPr/>
          <p:nvPr/>
        </p:nvSpPr>
        <p:spPr>
          <a:xfrm>
            <a:off x="6022626" y="2678461"/>
            <a:ext cx="3409252" cy="3409252"/>
          </a:xfrm>
          <a:prstGeom prst="arc">
            <a:avLst>
              <a:gd name="adj1" fmla="val 8033615"/>
              <a:gd name="adj2" fmla="val 13308993"/>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Arco 24">
            <a:extLst>
              <a:ext uri="{FF2B5EF4-FFF2-40B4-BE49-F238E27FC236}">
                <a16:creationId xmlns:a16="http://schemas.microsoft.com/office/drawing/2014/main" id="{484C1EC8-3D5D-AB60-4091-795169C20797}"/>
              </a:ext>
            </a:extLst>
          </p:cNvPr>
          <p:cNvSpPr/>
          <p:nvPr/>
        </p:nvSpPr>
        <p:spPr>
          <a:xfrm>
            <a:off x="6022626" y="2678461"/>
            <a:ext cx="3409252" cy="3409252"/>
          </a:xfrm>
          <a:prstGeom prst="arc">
            <a:avLst>
              <a:gd name="adj1" fmla="val 13478639"/>
              <a:gd name="adj2" fmla="val 1849472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Arco 25">
            <a:extLst>
              <a:ext uri="{FF2B5EF4-FFF2-40B4-BE49-F238E27FC236}">
                <a16:creationId xmlns:a16="http://schemas.microsoft.com/office/drawing/2014/main" id="{9FF457B1-7F71-BB4F-4A4D-3893705AC614}"/>
              </a:ext>
            </a:extLst>
          </p:cNvPr>
          <p:cNvSpPr/>
          <p:nvPr/>
        </p:nvSpPr>
        <p:spPr>
          <a:xfrm>
            <a:off x="6022626" y="2678461"/>
            <a:ext cx="3409252" cy="3409252"/>
          </a:xfrm>
          <a:prstGeom prst="arc">
            <a:avLst>
              <a:gd name="adj1" fmla="val 18611249"/>
              <a:gd name="adj2" fmla="val 2723927"/>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Arco 26">
            <a:extLst>
              <a:ext uri="{FF2B5EF4-FFF2-40B4-BE49-F238E27FC236}">
                <a16:creationId xmlns:a16="http://schemas.microsoft.com/office/drawing/2014/main" id="{2C6BA874-251F-B0D5-B482-E87AFA343316}"/>
              </a:ext>
            </a:extLst>
          </p:cNvPr>
          <p:cNvSpPr/>
          <p:nvPr/>
        </p:nvSpPr>
        <p:spPr>
          <a:xfrm>
            <a:off x="6022626" y="2678461"/>
            <a:ext cx="3409252" cy="3409252"/>
          </a:xfrm>
          <a:prstGeom prst="arc">
            <a:avLst>
              <a:gd name="adj1" fmla="val 2887736"/>
              <a:gd name="adj2" fmla="val 7886298"/>
            </a:avLst>
          </a:prstGeom>
          <a:ln w="285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Arco 27">
            <a:extLst>
              <a:ext uri="{FF2B5EF4-FFF2-40B4-BE49-F238E27FC236}">
                <a16:creationId xmlns:a16="http://schemas.microsoft.com/office/drawing/2014/main" id="{433EA86F-48F7-1817-89DF-64647948DB8A}"/>
              </a:ext>
            </a:extLst>
          </p:cNvPr>
          <p:cNvSpPr/>
          <p:nvPr/>
        </p:nvSpPr>
        <p:spPr>
          <a:xfrm>
            <a:off x="2535933" y="2457449"/>
            <a:ext cx="3851275" cy="3851275"/>
          </a:xfrm>
          <a:prstGeom prst="arc">
            <a:avLst>
              <a:gd name="adj1" fmla="val 5398875"/>
              <a:gd name="adj2" fmla="val 16180728"/>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30" name="Conector recto de flecha 29">
            <a:extLst>
              <a:ext uri="{FF2B5EF4-FFF2-40B4-BE49-F238E27FC236}">
                <a16:creationId xmlns:a16="http://schemas.microsoft.com/office/drawing/2014/main" id="{D8E3D946-D310-405A-798B-1E4261E6BD98}"/>
              </a:ext>
            </a:extLst>
          </p:cNvPr>
          <p:cNvCxnSpPr>
            <a:cxnSpLocks/>
          </p:cNvCxnSpPr>
          <p:nvPr/>
        </p:nvCxnSpPr>
        <p:spPr>
          <a:xfrm>
            <a:off x="4497311" y="2457449"/>
            <a:ext cx="1557128"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6144" name="Conector recto de flecha 6143">
            <a:extLst>
              <a:ext uri="{FF2B5EF4-FFF2-40B4-BE49-F238E27FC236}">
                <a16:creationId xmlns:a16="http://schemas.microsoft.com/office/drawing/2014/main" id="{1224483C-E423-AF4D-B386-9738370D5021}"/>
              </a:ext>
            </a:extLst>
          </p:cNvPr>
          <p:cNvCxnSpPr>
            <a:cxnSpLocks/>
          </p:cNvCxnSpPr>
          <p:nvPr/>
        </p:nvCxnSpPr>
        <p:spPr>
          <a:xfrm>
            <a:off x="6156149" y="2457449"/>
            <a:ext cx="1571102" cy="0"/>
          </a:xfrm>
          <a:prstGeom prst="straightConnector1">
            <a:avLst/>
          </a:prstGeom>
          <a:ln w="28575">
            <a:solidFill>
              <a:schemeClr val="accent6"/>
            </a:solidFill>
            <a:tailEnd type="none" w="med" len="sm"/>
          </a:ln>
        </p:spPr>
        <p:style>
          <a:lnRef idx="1">
            <a:schemeClr val="accent1"/>
          </a:lnRef>
          <a:fillRef idx="0">
            <a:schemeClr val="accent1"/>
          </a:fillRef>
          <a:effectRef idx="0">
            <a:schemeClr val="accent1"/>
          </a:effectRef>
          <a:fontRef idx="minor">
            <a:schemeClr val="tx1"/>
          </a:fontRef>
        </p:style>
      </p:cxnSp>
      <p:cxnSp>
        <p:nvCxnSpPr>
          <p:cNvPr id="6145" name="Conector recto de flecha 6144">
            <a:extLst>
              <a:ext uri="{FF2B5EF4-FFF2-40B4-BE49-F238E27FC236}">
                <a16:creationId xmlns:a16="http://schemas.microsoft.com/office/drawing/2014/main" id="{EE9C13AF-FBC1-F4CD-F915-20C5FE6C9332}"/>
              </a:ext>
            </a:extLst>
          </p:cNvPr>
          <p:cNvCxnSpPr>
            <a:cxnSpLocks/>
          </p:cNvCxnSpPr>
          <p:nvPr/>
        </p:nvCxnSpPr>
        <p:spPr>
          <a:xfrm flipH="1">
            <a:off x="4512379" y="6308724"/>
            <a:ext cx="3214872" cy="0"/>
          </a:xfrm>
          <a:prstGeom prst="straightConnector1">
            <a:avLst/>
          </a:prstGeom>
          <a:ln w="28575">
            <a:solidFill>
              <a:schemeClr val="accent6"/>
            </a:solidFill>
            <a:tailEnd type="arrow" w="med" len="sm"/>
          </a:ln>
        </p:spPr>
        <p:style>
          <a:lnRef idx="1">
            <a:schemeClr val="accent1"/>
          </a:lnRef>
          <a:fillRef idx="0">
            <a:schemeClr val="accent1"/>
          </a:fillRef>
          <a:effectRef idx="0">
            <a:schemeClr val="accent1"/>
          </a:effectRef>
          <a:fontRef idx="minor">
            <a:schemeClr val="tx1"/>
          </a:fontRef>
        </p:style>
      </p:cxnSp>
      <p:sp>
        <p:nvSpPr>
          <p:cNvPr id="6152" name="Arco 6151">
            <a:extLst>
              <a:ext uri="{FF2B5EF4-FFF2-40B4-BE49-F238E27FC236}">
                <a16:creationId xmlns:a16="http://schemas.microsoft.com/office/drawing/2014/main" id="{3BDCCF9B-2852-0691-3F50-B271230BA32C}"/>
              </a:ext>
            </a:extLst>
          </p:cNvPr>
          <p:cNvSpPr/>
          <p:nvPr/>
        </p:nvSpPr>
        <p:spPr>
          <a:xfrm flipH="1">
            <a:off x="5801614" y="2457449"/>
            <a:ext cx="3851275" cy="3851275"/>
          </a:xfrm>
          <a:prstGeom prst="arc">
            <a:avLst>
              <a:gd name="adj1" fmla="val 5516318"/>
              <a:gd name="adj2" fmla="val 16215582"/>
            </a:avLst>
          </a:prstGeom>
          <a:ln w="28575">
            <a:solidFill>
              <a:schemeClr val="accent6"/>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685427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A5A2CDE-F516-E2B2-0C61-0345D49A257D}"/>
              </a:ext>
            </a:extLst>
          </p:cNvPr>
          <p:cNvGraphicFramePr>
            <a:graphicFrameLocks noChangeAspect="1"/>
          </p:cNvGraphicFramePr>
          <p:nvPr>
            <p:custDataLst>
              <p:tags r:id="rId1"/>
            </p:custDataLst>
            <p:extLst>
              <p:ext uri="{D42A27DB-BD31-4B8C-83A1-F6EECF244321}">
                <p14:modId xmlns:p14="http://schemas.microsoft.com/office/powerpoint/2010/main" val="32512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5" name="Objeto 4" hidden="1">
                        <a:extLst>
                          <a:ext uri="{FF2B5EF4-FFF2-40B4-BE49-F238E27FC236}">
                            <a16:creationId xmlns:a16="http://schemas.microsoft.com/office/drawing/2014/main" id="{2A5A2CDE-F516-E2B2-0C61-0345D49A2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E48BB1B-A17D-E9AB-7609-DC278E074DEA}"/>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C6D713C4-61E9-8514-FC7C-99EB9DF0F57A}"/>
              </a:ext>
            </a:extLst>
          </p:cNvPr>
          <p:cNvSpPr>
            <a:spLocks noGrp="1"/>
          </p:cNvSpPr>
          <p:nvPr>
            <p:ph type="title"/>
          </p:nvPr>
        </p:nvSpPr>
        <p:spPr/>
        <p:txBody>
          <a:bodyPr vert="horz"/>
          <a:lstStyle/>
          <a:p>
            <a:r>
              <a:rPr lang="en-US" dirty="0"/>
              <a:t>Template - </a:t>
            </a:r>
            <a:r>
              <a:rPr lang="en-GB" dirty="0"/>
              <a:t>Timeline</a:t>
            </a:r>
          </a:p>
        </p:txBody>
      </p:sp>
      <p:sp>
        <p:nvSpPr>
          <p:cNvPr id="4" name="Marcador de pie de página 3">
            <a:extLst>
              <a:ext uri="{FF2B5EF4-FFF2-40B4-BE49-F238E27FC236}">
                <a16:creationId xmlns:a16="http://schemas.microsoft.com/office/drawing/2014/main" id="{AF951E11-6F34-B97C-E160-5E658A2642A1}"/>
              </a:ext>
            </a:extLst>
          </p:cNvPr>
          <p:cNvSpPr>
            <a:spLocks noGrp="1"/>
          </p:cNvSpPr>
          <p:nvPr>
            <p:ph type="ftr" sz="quarter" idx="3"/>
          </p:nvPr>
        </p:nvSpPr>
        <p:spPr/>
        <p:txBody>
          <a:bodyPr/>
          <a:lstStyle/>
          <a:p>
            <a:r>
              <a:rPr lang="en-US"/>
              <a:t>Source:_______</a:t>
            </a:r>
            <a:endParaRPr lang="en-US" dirty="0"/>
          </a:p>
        </p:txBody>
      </p:sp>
      <p:sp>
        <p:nvSpPr>
          <p:cNvPr id="7" name="Subtitle 2">
            <a:extLst>
              <a:ext uri="{FF2B5EF4-FFF2-40B4-BE49-F238E27FC236}">
                <a16:creationId xmlns:a16="http://schemas.microsoft.com/office/drawing/2014/main" id="{3C1C9D04-B96F-4BA9-0FC3-B834FF807252}"/>
              </a:ext>
            </a:extLst>
          </p:cNvPr>
          <p:cNvSpPr txBox="1">
            <a:spLocks/>
          </p:cNvSpPr>
          <p:nvPr/>
        </p:nvSpPr>
        <p:spPr>
          <a:xfrm>
            <a:off x="384174"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14" name="Elipse 13">
            <a:extLst>
              <a:ext uri="{FF2B5EF4-FFF2-40B4-BE49-F238E27FC236}">
                <a16:creationId xmlns:a16="http://schemas.microsoft.com/office/drawing/2014/main" id="{2012AEE7-565D-4808-EFFE-12CF21971ABB}"/>
              </a:ext>
            </a:extLst>
          </p:cNvPr>
          <p:cNvSpPr/>
          <p:nvPr/>
        </p:nvSpPr>
        <p:spPr>
          <a:xfrm>
            <a:off x="384174" y="2912131"/>
            <a:ext cx="609600" cy="60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1</a:t>
            </a:r>
          </a:p>
        </p:txBody>
      </p:sp>
      <p:sp>
        <p:nvSpPr>
          <p:cNvPr id="15" name="Elipse 14">
            <a:extLst>
              <a:ext uri="{FF2B5EF4-FFF2-40B4-BE49-F238E27FC236}">
                <a16:creationId xmlns:a16="http://schemas.microsoft.com/office/drawing/2014/main" id="{E8620D18-9F9B-19DB-DE81-7FBF76DFEFB9}"/>
              </a:ext>
            </a:extLst>
          </p:cNvPr>
          <p:cNvSpPr/>
          <p:nvPr/>
        </p:nvSpPr>
        <p:spPr>
          <a:xfrm>
            <a:off x="4336642" y="2912131"/>
            <a:ext cx="609600" cy="60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2</a:t>
            </a:r>
          </a:p>
        </p:txBody>
      </p:sp>
      <p:sp>
        <p:nvSpPr>
          <p:cNvPr id="16" name="Elipse 15">
            <a:extLst>
              <a:ext uri="{FF2B5EF4-FFF2-40B4-BE49-F238E27FC236}">
                <a16:creationId xmlns:a16="http://schemas.microsoft.com/office/drawing/2014/main" id="{BCAA987C-C193-9905-16D5-A2CF46BFC75E}"/>
              </a:ext>
            </a:extLst>
          </p:cNvPr>
          <p:cNvSpPr/>
          <p:nvPr/>
        </p:nvSpPr>
        <p:spPr>
          <a:xfrm>
            <a:off x="8289109" y="2912131"/>
            <a:ext cx="609600" cy="60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000" b="1" dirty="0"/>
              <a:t>3</a:t>
            </a:r>
          </a:p>
        </p:txBody>
      </p:sp>
      <p:grpSp>
        <p:nvGrpSpPr>
          <p:cNvPr id="4101" name="Grupo 4100">
            <a:extLst>
              <a:ext uri="{FF2B5EF4-FFF2-40B4-BE49-F238E27FC236}">
                <a16:creationId xmlns:a16="http://schemas.microsoft.com/office/drawing/2014/main" id="{25145286-E8EC-47C4-A72C-227663DFD981}"/>
              </a:ext>
            </a:extLst>
          </p:cNvPr>
          <p:cNvGrpSpPr/>
          <p:nvPr/>
        </p:nvGrpSpPr>
        <p:grpSpPr>
          <a:xfrm>
            <a:off x="400051" y="1747157"/>
            <a:ext cx="11420475" cy="0"/>
            <a:chOff x="400051" y="2699657"/>
            <a:chExt cx="11420475" cy="0"/>
          </a:xfrm>
        </p:grpSpPr>
        <p:cxnSp>
          <p:nvCxnSpPr>
            <p:cNvPr id="12" name="Conector recto de flecha 11">
              <a:extLst>
                <a:ext uri="{FF2B5EF4-FFF2-40B4-BE49-F238E27FC236}">
                  <a16:creationId xmlns:a16="http://schemas.microsoft.com/office/drawing/2014/main" id="{B55316B0-DB1F-B3A9-E088-17652CF86109}"/>
                </a:ext>
              </a:extLst>
            </p:cNvPr>
            <p:cNvCxnSpPr>
              <a:cxnSpLocks/>
            </p:cNvCxnSpPr>
            <p:nvPr/>
          </p:nvCxnSpPr>
          <p:spPr>
            <a:xfrm>
              <a:off x="10947855" y="2699657"/>
              <a:ext cx="872671" cy="0"/>
            </a:xfrm>
            <a:prstGeom prst="straightConnector1">
              <a:avLst/>
            </a:prstGeom>
            <a:ln w="57150" cap="flat">
              <a:solidFill>
                <a:schemeClr val="bg2"/>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22" name="Conector recto de flecha 21">
              <a:extLst>
                <a:ext uri="{FF2B5EF4-FFF2-40B4-BE49-F238E27FC236}">
                  <a16:creationId xmlns:a16="http://schemas.microsoft.com/office/drawing/2014/main" id="{092F9846-3E5E-1011-7D1A-CD4655D1BB5F}"/>
                </a:ext>
              </a:extLst>
            </p:cNvPr>
            <p:cNvCxnSpPr>
              <a:cxnSpLocks/>
            </p:cNvCxnSpPr>
            <p:nvPr/>
          </p:nvCxnSpPr>
          <p:spPr>
            <a:xfrm>
              <a:off x="998896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091D3510-838E-6756-7AB6-E084E32CF84A}"/>
                </a:ext>
              </a:extLst>
            </p:cNvPr>
            <p:cNvCxnSpPr>
              <a:cxnSpLocks/>
            </p:cNvCxnSpPr>
            <p:nvPr/>
          </p:nvCxnSpPr>
          <p:spPr>
            <a:xfrm>
              <a:off x="903007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4" name="Conector recto de flecha 23">
              <a:extLst>
                <a:ext uri="{FF2B5EF4-FFF2-40B4-BE49-F238E27FC236}">
                  <a16:creationId xmlns:a16="http://schemas.microsoft.com/office/drawing/2014/main" id="{D1A503BC-17F2-41F4-994E-D127F7331E64}"/>
                </a:ext>
              </a:extLst>
            </p:cNvPr>
            <p:cNvCxnSpPr>
              <a:cxnSpLocks/>
            </p:cNvCxnSpPr>
            <p:nvPr/>
          </p:nvCxnSpPr>
          <p:spPr>
            <a:xfrm>
              <a:off x="807118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5" name="Conector recto de flecha 24">
              <a:extLst>
                <a:ext uri="{FF2B5EF4-FFF2-40B4-BE49-F238E27FC236}">
                  <a16:creationId xmlns:a16="http://schemas.microsoft.com/office/drawing/2014/main" id="{299C22D7-6591-CDF1-2EA7-5C90F124FA06}"/>
                </a:ext>
              </a:extLst>
            </p:cNvPr>
            <p:cNvCxnSpPr>
              <a:cxnSpLocks/>
            </p:cNvCxnSpPr>
            <p:nvPr/>
          </p:nvCxnSpPr>
          <p:spPr>
            <a:xfrm>
              <a:off x="7112290"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FF3CDBAB-E15A-C4D1-3269-339C58F68650}"/>
                </a:ext>
              </a:extLst>
            </p:cNvPr>
            <p:cNvCxnSpPr>
              <a:cxnSpLocks/>
            </p:cNvCxnSpPr>
            <p:nvPr/>
          </p:nvCxnSpPr>
          <p:spPr>
            <a:xfrm>
              <a:off x="6153398"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7" name="Conector recto de flecha 26">
              <a:extLst>
                <a:ext uri="{FF2B5EF4-FFF2-40B4-BE49-F238E27FC236}">
                  <a16:creationId xmlns:a16="http://schemas.microsoft.com/office/drawing/2014/main" id="{677AEEC4-4F86-E570-7DD0-36C95B31E444}"/>
                </a:ext>
              </a:extLst>
            </p:cNvPr>
            <p:cNvCxnSpPr>
              <a:cxnSpLocks/>
            </p:cNvCxnSpPr>
            <p:nvPr/>
          </p:nvCxnSpPr>
          <p:spPr>
            <a:xfrm>
              <a:off x="5194507"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8" name="Conector recto de flecha 27">
              <a:extLst>
                <a:ext uri="{FF2B5EF4-FFF2-40B4-BE49-F238E27FC236}">
                  <a16:creationId xmlns:a16="http://schemas.microsoft.com/office/drawing/2014/main" id="{B2F16733-EF8D-6EE9-5C3C-2D71FD109FD7}"/>
                </a:ext>
              </a:extLst>
            </p:cNvPr>
            <p:cNvCxnSpPr>
              <a:cxnSpLocks/>
            </p:cNvCxnSpPr>
            <p:nvPr/>
          </p:nvCxnSpPr>
          <p:spPr>
            <a:xfrm>
              <a:off x="4235616"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11DC9902-B63F-851A-24BE-9ACB2BDD3DE6}"/>
                </a:ext>
              </a:extLst>
            </p:cNvPr>
            <p:cNvCxnSpPr>
              <a:cxnSpLocks/>
            </p:cNvCxnSpPr>
            <p:nvPr/>
          </p:nvCxnSpPr>
          <p:spPr>
            <a:xfrm>
              <a:off x="3276725"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FC22049D-9AEF-389D-D838-F107AC8D3E7A}"/>
                </a:ext>
              </a:extLst>
            </p:cNvPr>
            <p:cNvCxnSpPr>
              <a:cxnSpLocks/>
            </p:cNvCxnSpPr>
            <p:nvPr/>
          </p:nvCxnSpPr>
          <p:spPr>
            <a:xfrm>
              <a:off x="2317833"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4093090B-2C2F-691C-33B0-CA632983C1C7}"/>
                </a:ext>
              </a:extLst>
            </p:cNvPr>
            <p:cNvCxnSpPr>
              <a:cxnSpLocks/>
            </p:cNvCxnSpPr>
            <p:nvPr/>
          </p:nvCxnSpPr>
          <p:spPr>
            <a:xfrm>
              <a:off x="1358942"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cxnSp>
          <p:nvCxnSpPr>
            <p:cNvPr id="4096" name="Conector recto de flecha 4095">
              <a:extLst>
                <a:ext uri="{FF2B5EF4-FFF2-40B4-BE49-F238E27FC236}">
                  <a16:creationId xmlns:a16="http://schemas.microsoft.com/office/drawing/2014/main" id="{2B116B16-38CB-023C-4407-6CC707AE68E7}"/>
                </a:ext>
              </a:extLst>
            </p:cNvPr>
            <p:cNvCxnSpPr>
              <a:cxnSpLocks/>
            </p:cNvCxnSpPr>
            <p:nvPr/>
          </p:nvCxnSpPr>
          <p:spPr>
            <a:xfrm>
              <a:off x="400051" y="2699657"/>
              <a:ext cx="872671" cy="0"/>
            </a:xfrm>
            <a:prstGeom prst="straightConnector1">
              <a:avLst/>
            </a:prstGeom>
            <a:ln w="57150" cap="flat">
              <a:solidFill>
                <a:schemeClr val="bg2"/>
              </a:solidFill>
              <a:round/>
              <a:tailEnd type="none" w="med" len="sm"/>
            </a:ln>
          </p:spPr>
          <p:style>
            <a:lnRef idx="1">
              <a:schemeClr val="accent1"/>
            </a:lnRef>
            <a:fillRef idx="0">
              <a:schemeClr val="accent1"/>
            </a:fillRef>
            <a:effectRef idx="0">
              <a:schemeClr val="accent1"/>
            </a:effectRef>
            <a:fontRef idx="minor">
              <a:schemeClr val="tx1"/>
            </a:fontRef>
          </p:style>
        </p:cxnSp>
      </p:grpSp>
      <p:sp>
        <p:nvSpPr>
          <p:cNvPr id="4102" name="Cerrar llave 4101">
            <a:extLst>
              <a:ext uri="{FF2B5EF4-FFF2-40B4-BE49-F238E27FC236}">
                <a16:creationId xmlns:a16="http://schemas.microsoft.com/office/drawing/2014/main" id="{962A6BD8-CF89-CDA8-FC41-1FA03D625066}"/>
              </a:ext>
            </a:extLst>
          </p:cNvPr>
          <p:cNvSpPr/>
          <p:nvPr/>
        </p:nvSpPr>
        <p:spPr>
          <a:xfrm rot="5400000">
            <a:off x="8887948" y="-801070"/>
            <a:ext cx="182149" cy="5651251"/>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3" name="Cerrar llave 4102">
            <a:extLst>
              <a:ext uri="{FF2B5EF4-FFF2-40B4-BE49-F238E27FC236}">
                <a16:creationId xmlns:a16="http://schemas.microsoft.com/office/drawing/2014/main" id="{5149B48F-3CFC-7E93-9FF6-306A63127148}"/>
              </a:ext>
            </a:extLst>
          </p:cNvPr>
          <p:cNvSpPr/>
          <p:nvPr/>
        </p:nvSpPr>
        <p:spPr>
          <a:xfrm rot="5400000">
            <a:off x="1704201" y="629330"/>
            <a:ext cx="182151" cy="2790453"/>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04" name="Cerrar llave 4103">
            <a:extLst>
              <a:ext uri="{FF2B5EF4-FFF2-40B4-BE49-F238E27FC236}">
                <a16:creationId xmlns:a16="http://schemas.microsoft.com/office/drawing/2014/main" id="{450B21F5-8711-90A3-3CCA-F99731F2B356}"/>
              </a:ext>
            </a:extLst>
          </p:cNvPr>
          <p:cNvSpPr/>
          <p:nvPr/>
        </p:nvSpPr>
        <p:spPr>
          <a:xfrm rot="5400000">
            <a:off x="4595288" y="614919"/>
            <a:ext cx="182150" cy="2819275"/>
          </a:xfrm>
          <a:prstGeom prst="rightBrace">
            <a:avLst>
              <a:gd name="adj1" fmla="val 57849"/>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14" name="Subtitle 2">
            <a:extLst>
              <a:ext uri="{FF2B5EF4-FFF2-40B4-BE49-F238E27FC236}">
                <a16:creationId xmlns:a16="http://schemas.microsoft.com/office/drawing/2014/main" id="{0EEDD65D-E0EA-43AE-D46F-8D1195B5F648}"/>
              </a:ext>
            </a:extLst>
          </p:cNvPr>
          <p:cNvSpPr txBox="1">
            <a:spLocks/>
          </p:cNvSpPr>
          <p:nvPr/>
        </p:nvSpPr>
        <p:spPr>
          <a:xfrm>
            <a:off x="4336642"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sp>
        <p:nvSpPr>
          <p:cNvPr id="4115" name="Subtitle 2">
            <a:extLst>
              <a:ext uri="{FF2B5EF4-FFF2-40B4-BE49-F238E27FC236}">
                <a16:creationId xmlns:a16="http://schemas.microsoft.com/office/drawing/2014/main" id="{CB0603EB-93EE-D2FB-CB25-A97D8C7F50C2}"/>
              </a:ext>
            </a:extLst>
          </p:cNvPr>
          <p:cNvSpPr txBox="1">
            <a:spLocks/>
          </p:cNvSpPr>
          <p:nvPr/>
        </p:nvSpPr>
        <p:spPr>
          <a:xfrm>
            <a:off x="8289109" y="3727697"/>
            <a:ext cx="3531416" cy="430887"/>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dirty="0"/>
              <a:t>Text</a:t>
            </a:r>
          </a:p>
          <a:p>
            <a:pPr algn="l"/>
            <a:r>
              <a:rPr lang="en-US" sz="1400" dirty="0"/>
              <a:t>Text</a:t>
            </a:r>
          </a:p>
        </p:txBody>
      </p:sp>
      <p:cxnSp>
        <p:nvCxnSpPr>
          <p:cNvPr id="4120" name="Conector: angular 4119">
            <a:extLst>
              <a:ext uri="{FF2B5EF4-FFF2-40B4-BE49-F238E27FC236}">
                <a16:creationId xmlns:a16="http://schemas.microsoft.com/office/drawing/2014/main" id="{4DF526BB-28A0-1D45-AD97-5718886F6C09}"/>
              </a:ext>
            </a:extLst>
          </p:cNvPr>
          <p:cNvCxnSpPr>
            <a:cxnSpLocks/>
            <a:stCxn id="14" idx="0"/>
            <a:endCxn id="4103" idx="1"/>
          </p:cNvCxnSpPr>
          <p:nvPr/>
        </p:nvCxnSpPr>
        <p:spPr>
          <a:xfrm rot="5400000" flipH="1" flipV="1">
            <a:off x="843876" y="1960731"/>
            <a:ext cx="796499" cy="1106302"/>
          </a:xfrm>
          <a:prstGeom prst="bentConnector3">
            <a:avLst>
              <a:gd name="adj1" fmla="val 4583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4" name="Conector: angular 4123">
            <a:extLst>
              <a:ext uri="{FF2B5EF4-FFF2-40B4-BE49-F238E27FC236}">
                <a16:creationId xmlns:a16="http://schemas.microsoft.com/office/drawing/2014/main" id="{6B5B12F5-B3FD-91F0-FE10-3FFE5B755A99}"/>
              </a:ext>
            </a:extLst>
          </p:cNvPr>
          <p:cNvCxnSpPr>
            <a:cxnSpLocks/>
            <a:stCxn id="15" idx="0"/>
            <a:endCxn id="4104" idx="1"/>
          </p:cNvCxnSpPr>
          <p:nvPr/>
        </p:nvCxnSpPr>
        <p:spPr>
          <a:xfrm rot="5400000" flipH="1" flipV="1">
            <a:off x="4265653" y="2491422"/>
            <a:ext cx="796499" cy="44921"/>
          </a:xfrm>
          <a:prstGeom prst="bentConnector3">
            <a:avLst>
              <a:gd name="adj1" fmla="val 44458"/>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28" name="Conector: angular 4127">
            <a:extLst>
              <a:ext uri="{FF2B5EF4-FFF2-40B4-BE49-F238E27FC236}">
                <a16:creationId xmlns:a16="http://schemas.microsoft.com/office/drawing/2014/main" id="{E1EFF074-800C-9CD4-D01A-8EC5905088AA}"/>
              </a:ext>
            </a:extLst>
          </p:cNvPr>
          <p:cNvCxnSpPr>
            <a:cxnSpLocks/>
            <a:stCxn id="16" idx="0"/>
            <a:endCxn id="4102" idx="1"/>
          </p:cNvCxnSpPr>
          <p:nvPr/>
        </p:nvCxnSpPr>
        <p:spPr>
          <a:xfrm rot="5400000" flipH="1" flipV="1">
            <a:off x="8388215" y="2321325"/>
            <a:ext cx="796501" cy="385113"/>
          </a:xfrm>
          <a:prstGeom prst="bentConnector3">
            <a:avLst>
              <a:gd name="adj1" fmla="val 40465"/>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074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84174" y="1520825"/>
            <a:ext cx="2656142" cy="2609742"/>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79227" y="1520825"/>
            <a:ext cx="2656142" cy="2609742"/>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74280" y="1520825"/>
            <a:ext cx="2656142" cy="2609742"/>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69333" y="1520825"/>
            <a:ext cx="2656142" cy="2609742"/>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64383" y="1520825"/>
            <a:ext cx="2656142" cy="2609742"/>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chemeClr val="bg1"/>
                </a:solidFill>
                <a:sym typeface="Verdana" panose="020B0604030504040204" pitchFamily="34" charset="0"/>
              </a:rPr>
              <a:t>XXX</a:t>
            </a:r>
          </a:p>
          <a:p>
            <a:r>
              <a:rPr lang="en-US" sz="1400" dirty="0">
                <a:solidFill>
                  <a:schemeClr val="bg1"/>
                </a:solidFill>
                <a:sym typeface="Verdana" panose="020B0604030504040204" pitchFamily="34" charset="0"/>
              </a:rPr>
              <a:t>Text</a:t>
            </a:r>
          </a:p>
        </p:txBody>
      </p:sp>
      <p:sp>
        <p:nvSpPr>
          <p:cNvPr id="2" name="Marcador de texto 1">
            <a:extLst>
              <a:ext uri="{FF2B5EF4-FFF2-40B4-BE49-F238E27FC236}">
                <a16:creationId xmlns:a16="http://schemas.microsoft.com/office/drawing/2014/main" id="{B83DD26E-C420-FD32-755C-E011808EFA17}"/>
              </a:ext>
            </a:extLst>
          </p:cNvPr>
          <p:cNvSpPr>
            <a:spLocks noGrp="1"/>
          </p:cNvSpPr>
          <p:nvPr>
            <p:ph type="body" sz="quarter" idx="14"/>
          </p:nvPr>
        </p:nvSpPr>
        <p:spPr/>
        <p:txBody>
          <a:bodyPr/>
          <a:lstStyle/>
          <a:p>
            <a:r>
              <a:rPr lang="en-GB" dirty="0"/>
              <a:t>Subtitle</a:t>
            </a: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US" dirty="0"/>
              <a:t>Template - </a:t>
            </a:r>
            <a:r>
              <a:rPr lang="en-GB" dirty="0"/>
              <a:t>Boat chart</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p:txBody>
          <a:bodyPr/>
          <a:lstStyle/>
          <a:p>
            <a:r>
              <a:rPr lang="en-US"/>
              <a:t>Source:_______</a:t>
            </a:r>
            <a:endParaRPr lang="en-US" dirty="0"/>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0" name="Freeform 984">
            <a:extLst>
              <a:ext uri="{FF2B5EF4-FFF2-40B4-BE49-F238E27FC236}">
                <a16:creationId xmlns:a16="http://schemas.microsoft.com/office/drawing/2014/main" id="{704DF97E-D0AB-5E57-35EC-3298D65F4B68}"/>
              </a:ext>
            </a:extLst>
          </p:cNvPr>
          <p:cNvSpPr>
            <a:spLocks noChangeAspect="1" noChangeArrowheads="1"/>
          </p:cNvSpPr>
          <p:nvPr/>
        </p:nvSpPr>
        <p:spPr bwMode="auto">
          <a:xfrm>
            <a:off x="805642" y="1689970"/>
            <a:ext cx="367160" cy="48240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41" name="Freeform 985">
            <a:extLst>
              <a:ext uri="{FF2B5EF4-FFF2-40B4-BE49-F238E27FC236}">
                <a16:creationId xmlns:a16="http://schemas.microsoft.com/office/drawing/2014/main" id="{490035BB-C7B5-3895-3D6A-CBE495150A9C}"/>
              </a:ext>
            </a:extLst>
          </p:cNvPr>
          <p:cNvSpPr>
            <a:spLocks noChangeAspect="1" noChangeArrowheads="1"/>
          </p:cNvSpPr>
          <p:nvPr/>
        </p:nvSpPr>
        <p:spPr bwMode="auto">
          <a:xfrm>
            <a:off x="3234980" y="1689971"/>
            <a:ext cx="482398" cy="482398"/>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042" name="Freeform 986">
            <a:extLst>
              <a:ext uri="{FF2B5EF4-FFF2-40B4-BE49-F238E27FC236}">
                <a16:creationId xmlns:a16="http://schemas.microsoft.com/office/drawing/2014/main" id="{5712A161-8735-92B4-5941-15FF0E79E910}"/>
              </a:ext>
            </a:extLst>
          </p:cNvPr>
          <p:cNvSpPr>
            <a:spLocks noChangeAspect="1" noChangeArrowheads="1"/>
          </p:cNvSpPr>
          <p:nvPr/>
        </p:nvSpPr>
        <p:spPr bwMode="auto">
          <a:xfrm>
            <a:off x="5413958" y="1689971"/>
            <a:ext cx="482398" cy="482398"/>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043" name="Freeform 987">
            <a:extLst>
              <a:ext uri="{FF2B5EF4-FFF2-40B4-BE49-F238E27FC236}">
                <a16:creationId xmlns:a16="http://schemas.microsoft.com/office/drawing/2014/main" id="{AE36FB29-7CEF-066B-FE41-6634519C37E3}"/>
              </a:ext>
            </a:extLst>
          </p:cNvPr>
          <p:cNvSpPr>
            <a:spLocks noChangeAspect="1" noChangeArrowheads="1"/>
          </p:cNvSpPr>
          <p:nvPr/>
        </p:nvSpPr>
        <p:spPr bwMode="auto">
          <a:xfrm>
            <a:off x="7600792" y="1689971"/>
            <a:ext cx="482398" cy="482398"/>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044" name="Freeform 988">
            <a:extLst>
              <a:ext uri="{FF2B5EF4-FFF2-40B4-BE49-F238E27FC236}">
                <a16:creationId xmlns:a16="http://schemas.microsoft.com/office/drawing/2014/main" id="{F0FB45C9-9BC2-5010-305F-2CA6F69DDF8A}"/>
              </a:ext>
            </a:extLst>
          </p:cNvPr>
          <p:cNvSpPr>
            <a:spLocks noChangeAspect="1" noChangeArrowheads="1"/>
          </p:cNvSpPr>
          <p:nvPr/>
        </p:nvSpPr>
        <p:spPr bwMode="auto">
          <a:xfrm>
            <a:off x="9840162" y="1689971"/>
            <a:ext cx="482398" cy="482398"/>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4272831"/>
            <a:ext cx="206184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279684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9ADBB69-F75B-DB83-E284-6CC1F4398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49ADBB69-F75B-DB83-E284-6CC1F4398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147E5E23-F41A-B094-CC59-9C8CD0FE6B5E}"/>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17EB9F5-F498-6B3A-152A-6F801472627F}"/>
              </a:ext>
            </a:extLst>
          </p:cNvPr>
          <p:cNvSpPr>
            <a:spLocks noGrp="1"/>
          </p:cNvSpPr>
          <p:nvPr>
            <p:ph type="title"/>
          </p:nvPr>
        </p:nvSpPr>
        <p:spPr/>
        <p:txBody>
          <a:bodyPr vert="horz"/>
          <a:lstStyle/>
          <a:p>
            <a:r>
              <a:rPr lang="en-US" dirty="0"/>
              <a:t>Template - From-to chart</a:t>
            </a:r>
          </a:p>
        </p:txBody>
      </p:sp>
      <p:sp>
        <p:nvSpPr>
          <p:cNvPr id="4" name="Marcador de pie de página 3">
            <a:extLst>
              <a:ext uri="{FF2B5EF4-FFF2-40B4-BE49-F238E27FC236}">
                <a16:creationId xmlns:a16="http://schemas.microsoft.com/office/drawing/2014/main" id="{54CFC2A5-D270-E420-E2F9-E446255860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endParaRPr kumimoji="0" lang="en-US" sz="1050" b="0" i="0" u="none" strike="noStrike" kern="1200" cap="none" spc="0" normalizeH="0" baseline="0" noProof="0" dirty="0">
              <a:ln>
                <a:noFill/>
              </a:ln>
              <a:solidFill>
                <a:srgbClr val="000000">
                  <a:tint val="75000"/>
                </a:srgbClr>
              </a:solidFill>
              <a:effectLst/>
              <a:uLnTx/>
              <a:uFillTx/>
              <a:latin typeface="Verdana"/>
              <a:ea typeface="+mn-ea"/>
              <a:cs typeface="+mn-cs"/>
            </a:endParaRPr>
          </a:p>
        </p:txBody>
      </p:sp>
      <p:graphicFrame>
        <p:nvGraphicFramePr>
          <p:cNvPr id="10" name="Tabla 10">
            <a:extLst>
              <a:ext uri="{FF2B5EF4-FFF2-40B4-BE49-F238E27FC236}">
                <a16:creationId xmlns:a16="http://schemas.microsoft.com/office/drawing/2014/main" id="{CC131254-09E1-4CDC-2A5E-263CFE5F521A}"/>
              </a:ext>
            </a:extLst>
          </p:cNvPr>
          <p:cNvGraphicFramePr>
            <a:graphicFrameLocks noGrp="1"/>
          </p:cNvGraphicFramePr>
          <p:nvPr/>
        </p:nvGraphicFramePr>
        <p:xfrm>
          <a:off x="384173" y="2177143"/>
          <a:ext cx="11436351" cy="4131580"/>
        </p:xfrm>
        <a:graphic>
          <a:graphicData uri="http://schemas.openxmlformats.org/drawingml/2006/table">
            <a:tbl>
              <a:tblPr firstRow="1" bandRow="1">
                <a:tableStyleId>{5C22544A-7EE6-4342-B048-85BDC9FD1C3A}</a:tableStyleId>
              </a:tblPr>
              <a:tblGrid>
                <a:gridCol w="3812117">
                  <a:extLst>
                    <a:ext uri="{9D8B030D-6E8A-4147-A177-3AD203B41FA5}">
                      <a16:colId xmlns:a16="http://schemas.microsoft.com/office/drawing/2014/main" val="33592840"/>
                    </a:ext>
                  </a:extLst>
                </a:gridCol>
                <a:gridCol w="3812117">
                  <a:extLst>
                    <a:ext uri="{9D8B030D-6E8A-4147-A177-3AD203B41FA5}">
                      <a16:colId xmlns:a16="http://schemas.microsoft.com/office/drawing/2014/main" val="3139504981"/>
                    </a:ext>
                  </a:extLst>
                </a:gridCol>
                <a:gridCol w="3812117">
                  <a:extLst>
                    <a:ext uri="{9D8B030D-6E8A-4147-A177-3AD203B41FA5}">
                      <a16:colId xmlns:a16="http://schemas.microsoft.com/office/drawing/2014/main" val="557228131"/>
                    </a:ext>
                  </a:extLst>
                </a:gridCol>
              </a:tblGrid>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30151"/>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450350"/>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5078634"/>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1837876"/>
                  </a:ext>
                </a:extLst>
              </a:tr>
              <a:tr h="82631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36000" marR="36000" marT="36000" marB="36000" anchor="ctr">
                    <a:lnL w="12700" cap="flat" cmpd="sng" algn="ctr">
                      <a:no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accent3"/>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Verdana"/>
                          <a:ea typeface="+mn-ea"/>
                          <a:cs typeface="+mn-cs"/>
                        </a:rPr>
                        <a:t>Text</a:t>
                      </a:r>
                    </a:p>
                  </a:txBody>
                  <a:tcPr marL="72000" marR="36000" marT="36000" marB="36000" anchor="ctr">
                    <a:lnL w="190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4013441"/>
                  </a:ext>
                </a:extLst>
              </a:tr>
            </a:tbl>
          </a:graphicData>
        </a:graphic>
      </p:graphicFrame>
      <p:cxnSp>
        <p:nvCxnSpPr>
          <p:cNvPr id="12" name="Conector recto de flecha 11">
            <a:extLst>
              <a:ext uri="{FF2B5EF4-FFF2-40B4-BE49-F238E27FC236}">
                <a16:creationId xmlns:a16="http://schemas.microsoft.com/office/drawing/2014/main" id="{10E0F8BA-29FE-8B7E-EA33-1A72DF4DA51A}"/>
              </a:ext>
            </a:extLst>
          </p:cNvPr>
          <p:cNvCxnSpPr>
            <a:cxnSpLocks/>
            <a:stCxn id="26" idx="3"/>
            <a:endCxn id="28" idx="1"/>
          </p:cNvCxnSpPr>
          <p:nvPr/>
        </p:nvCxnSpPr>
        <p:spPr>
          <a:xfrm>
            <a:off x="4422321" y="1774888"/>
            <a:ext cx="3355525" cy="0"/>
          </a:xfrm>
          <a:prstGeom prst="straightConnector1">
            <a:avLst/>
          </a:prstGeom>
          <a:ln w="57150" cap="flat">
            <a:gradFill flip="none" rotWithShape="1">
              <a:gsLst>
                <a:gs pos="0">
                  <a:schemeClr val="accent3"/>
                </a:gs>
                <a:gs pos="100000">
                  <a:schemeClr val="tx2"/>
                </a:gs>
              </a:gsLst>
              <a:lin ang="0" scaled="1"/>
              <a:tileRect/>
            </a:gradFill>
            <a:round/>
            <a:tailEnd type="arrow" w="med" len="sm"/>
          </a:ln>
        </p:spPr>
        <p:style>
          <a:lnRef idx="1">
            <a:schemeClr val="accent1"/>
          </a:lnRef>
          <a:fillRef idx="0">
            <a:schemeClr val="accent1"/>
          </a:fillRef>
          <a:effectRef idx="0">
            <a:schemeClr val="accent1"/>
          </a:effectRef>
          <a:fontRef idx="minor">
            <a:schemeClr val="tx1"/>
          </a:fontRef>
        </p:style>
      </p:cxnSp>
      <p:sp>
        <p:nvSpPr>
          <p:cNvPr id="25" name="Oval 22">
            <a:extLst>
              <a:ext uri="{FF2B5EF4-FFF2-40B4-BE49-F238E27FC236}">
                <a16:creationId xmlns:a16="http://schemas.microsoft.com/office/drawing/2014/main" id="{F1956BA5-08FB-5B71-0F90-1274920B7AED}"/>
              </a:ext>
            </a:extLst>
          </p:cNvPr>
          <p:cNvSpPr/>
          <p:nvPr/>
        </p:nvSpPr>
        <p:spPr>
          <a:xfrm>
            <a:off x="3937736" y="1520825"/>
            <a:ext cx="508058" cy="508126"/>
          </a:xfrm>
          <a:prstGeom prst="ellipse">
            <a:avLst/>
          </a:prstGeom>
          <a:solidFill>
            <a:schemeClr val="accent3"/>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Oval 22">
            <a:extLst>
              <a:ext uri="{FF2B5EF4-FFF2-40B4-BE49-F238E27FC236}">
                <a16:creationId xmlns:a16="http://schemas.microsoft.com/office/drawing/2014/main" id="{0FFC5B99-BCD8-0AD5-6CBB-F02CB6CC94B1}"/>
              </a:ext>
            </a:extLst>
          </p:cNvPr>
          <p:cNvSpPr/>
          <p:nvPr/>
        </p:nvSpPr>
        <p:spPr>
          <a:xfrm>
            <a:off x="3961209"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From</a:t>
            </a:r>
          </a:p>
        </p:txBody>
      </p:sp>
      <p:sp>
        <p:nvSpPr>
          <p:cNvPr id="27" name="Oval 22">
            <a:extLst>
              <a:ext uri="{FF2B5EF4-FFF2-40B4-BE49-F238E27FC236}">
                <a16:creationId xmlns:a16="http://schemas.microsoft.com/office/drawing/2014/main" id="{33CD30B1-86FA-128C-2475-C8A0FF598F3B}"/>
              </a:ext>
            </a:extLst>
          </p:cNvPr>
          <p:cNvSpPr/>
          <p:nvPr/>
        </p:nvSpPr>
        <p:spPr>
          <a:xfrm>
            <a:off x="7754373" y="1520825"/>
            <a:ext cx="508058" cy="508126"/>
          </a:xfrm>
          <a:prstGeom prst="ellipse">
            <a:avLst/>
          </a:prstGeom>
          <a:solidFill>
            <a:schemeClr val="tx2"/>
          </a:solid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2">
            <a:extLst>
              <a:ext uri="{FF2B5EF4-FFF2-40B4-BE49-F238E27FC236}">
                <a16:creationId xmlns:a16="http://schemas.microsoft.com/office/drawing/2014/main" id="{681E442C-9734-685E-149D-149887D3F50D}"/>
              </a:ext>
            </a:extLst>
          </p:cNvPr>
          <p:cNvSpPr/>
          <p:nvPr/>
        </p:nvSpPr>
        <p:spPr>
          <a:xfrm>
            <a:off x="7777846" y="1667166"/>
            <a:ext cx="461112" cy="215444"/>
          </a:xfrm>
          <a:prstGeom prst="rect">
            <a:avLst/>
          </a:prstGeom>
          <a:noFill/>
          <a:ln>
            <a:noFill/>
          </a:ln>
          <a:scene3d>
            <a:camera prst="orthographicFront"/>
            <a:lightRig rig="threePt" dir="t"/>
          </a:scene3d>
          <a:sp3d extrusionH="254000"/>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Verdana"/>
                <a:ea typeface="+mn-ea"/>
                <a:cs typeface="+mn-cs"/>
              </a:rPr>
              <a:t>To</a:t>
            </a:r>
          </a:p>
        </p:txBody>
      </p:sp>
    </p:spTree>
    <p:extLst>
      <p:ext uri="{BB962C8B-B14F-4D97-AF65-F5344CB8AC3E}">
        <p14:creationId xmlns:p14="http://schemas.microsoft.com/office/powerpoint/2010/main" val="3685536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2248628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84174" y="381000"/>
            <a:ext cx="11420475" cy="485775"/>
          </a:xfrm>
          <a:ln>
            <a:noFill/>
          </a:ln>
        </p:spPr>
        <p:style>
          <a:lnRef idx="2">
            <a:schemeClr val="accent1"/>
          </a:lnRef>
          <a:fillRef idx="1">
            <a:schemeClr val="lt1"/>
          </a:fillRef>
          <a:effectRef idx="0">
            <a:schemeClr val="accent1"/>
          </a:effectRef>
          <a:fontRef idx="minor">
            <a:schemeClr val="dk1"/>
          </a:fontRef>
        </p:style>
        <p:txBody>
          <a:bodyPr vert="horz">
            <a:noAutofit/>
          </a:bodyPr>
          <a:lstStyle/>
          <a:p>
            <a:pPr>
              <a:lnSpc>
                <a:spcPct val="125000"/>
              </a:lnSpc>
            </a:pPr>
            <a:r>
              <a:rPr lang="en-US" dirty="0">
                <a:latin typeface="Arial" panose="020B0604020202020204" pitchFamily="34" charset="0"/>
                <a:cs typeface="Arial" panose="020B0604020202020204" pitchFamily="34" charset="0"/>
              </a:rPr>
              <a:t>We can populate the occupancy grid using image filtering techniques &amp; localize the robot using Bayesian estimators</a:t>
            </a:r>
          </a:p>
        </p:txBody>
      </p:sp>
      <p:sp>
        <p:nvSpPr>
          <p:cNvPr id="5" name="Footer Placeholder 4">
            <a:extLst>
              <a:ext uri="{FF2B5EF4-FFF2-40B4-BE49-F238E27FC236}">
                <a16:creationId xmlns:a16="http://schemas.microsoft.com/office/drawing/2014/main" id="{4DECCB19-963E-F349-081B-0EC5FB88C2FE}"/>
              </a:ext>
            </a:extLst>
          </p:cNvPr>
          <p:cNvSpPr>
            <a:spLocks noGrp="1"/>
          </p:cNvSpPr>
          <p:nvPr>
            <p:ph type="ftr" sz="quarter" idx="3"/>
          </p:nvPr>
        </p:nvSpPr>
        <p:spPr>
          <a:xfrm>
            <a:off x="337541" y="6388101"/>
            <a:ext cx="11244859" cy="312964"/>
          </a:xfrm>
        </p:spPr>
        <p:txBody>
          <a:bodyPr/>
          <a:lstStyle/>
          <a:p>
            <a:r>
              <a:rPr lang="en-US" dirty="0"/>
              <a:t>Source: High-performance localization software for autonomous vehicles (</a:t>
            </a:r>
            <a:r>
              <a:rPr lang="en-US" dirty="0">
                <a:hlinkClick r:id="rId5"/>
              </a:rPr>
              <a:t>GitHub</a:t>
            </a:r>
            <a:r>
              <a:rPr lang="en-US" dirty="0"/>
              <a:t>)</a:t>
            </a:r>
            <a:r>
              <a:rPr lang="en-US" i="1" dirty="0"/>
              <a:t>; </a:t>
            </a:r>
            <a:r>
              <a:rPr lang="en-US" dirty="0"/>
              <a:t>Surgical Robotics, Systems Applications and Visions (Springer)</a:t>
            </a:r>
          </a:p>
          <a:p>
            <a:endParaRPr lang="en-US" i="1" dirty="0"/>
          </a:p>
        </p:txBody>
      </p:sp>
      <p:grpSp>
        <p:nvGrpSpPr>
          <p:cNvPr id="9" name="Group 8">
            <a:extLst>
              <a:ext uri="{FF2B5EF4-FFF2-40B4-BE49-F238E27FC236}">
                <a16:creationId xmlns:a16="http://schemas.microsoft.com/office/drawing/2014/main" id="{B3760D4D-84E1-BF01-70B9-A759E0E6FF67}"/>
              </a:ext>
            </a:extLst>
          </p:cNvPr>
          <p:cNvGrpSpPr/>
          <p:nvPr/>
        </p:nvGrpSpPr>
        <p:grpSpPr>
          <a:xfrm>
            <a:off x="-60960" y="2004781"/>
            <a:ext cx="6628674" cy="3876473"/>
            <a:chOff x="1301904" y="1311210"/>
            <a:chExt cx="9154083" cy="5149173"/>
          </a:xfrm>
        </p:grpSpPr>
        <p:pic>
          <p:nvPicPr>
            <p:cNvPr id="1026" name="Picture 2" descr="alt text">
              <a:extLst>
                <a:ext uri="{FF2B5EF4-FFF2-40B4-BE49-F238E27FC236}">
                  <a16:creationId xmlns:a16="http://schemas.microsoft.com/office/drawing/2014/main" id="{46D3877B-EBA3-4277-2A3F-4136A630DBC6}"/>
                </a:ext>
              </a:extLst>
            </p:cNvPr>
            <p:cNvPicPr>
              <a:picLocks noChangeAspect="1" noChangeArrowheads="1"/>
            </p:cNvPicPr>
            <p:nvPr/>
          </p:nvPicPr>
          <p:blipFill>
            <a:blip r:embed="rId6">
              <a:clrChange>
                <a:clrFrom>
                  <a:srgbClr val="2E3D49"/>
                </a:clrFrom>
                <a:clrTo>
                  <a:srgbClr val="2E3D49">
                    <a:alpha val="0"/>
                  </a:srgbClr>
                </a:clrTo>
              </a:clrChange>
              <a:extLst>
                <a:ext uri="{28A0092B-C50C-407E-A947-70E740481C1C}">
                  <a14:useLocalDpi xmlns:a14="http://schemas.microsoft.com/office/drawing/2010/main" val="0"/>
                </a:ext>
              </a:extLst>
            </a:blip>
            <a:srcRect/>
            <a:stretch>
              <a:fillRect/>
            </a:stretch>
          </p:blipFill>
          <p:spPr bwMode="auto">
            <a:xfrm>
              <a:off x="1301904" y="1311210"/>
              <a:ext cx="9154083" cy="514917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DFB473-F56F-B7F1-13DF-4EBBF1754D02}"/>
                </a:ext>
              </a:extLst>
            </p:cNvPr>
            <p:cNvGrpSpPr/>
            <p:nvPr/>
          </p:nvGrpSpPr>
          <p:grpSpPr>
            <a:xfrm>
              <a:off x="2428568" y="2679290"/>
              <a:ext cx="4968991" cy="2721505"/>
              <a:chOff x="2428568" y="2679290"/>
              <a:chExt cx="4968991" cy="2721505"/>
            </a:xfrm>
          </p:grpSpPr>
          <p:sp>
            <p:nvSpPr>
              <p:cNvPr id="4" name="TextBox 3">
                <a:extLst>
                  <a:ext uri="{FF2B5EF4-FFF2-40B4-BE49-F238E27FC236}">
                    <a16:creationId xmlns:a16="http://schemas.microsoft.com/office/drawing/2014/main" id="{B43A2542-B41A-4B77-3690-FA4074E08425}"/>
                  </a:ext>
                </a:extLst>
              </p:cNvPr>
              <p:cNvSpPr txBox="1"/>
              <p:nvPr/>
            </p:nvSpPr>
            <p:spPr>
              <a:xfrm>
                <a:off x="2428568" y="2792362"/>
                <a:ext cx="511277" cy="167148"/>
              </a:xfrm>
              <a:prstGeom prst="rect">
                <a:avLst/>
              </a:prstGeom>
              <a:solidFill>
                <a:srgbClr val="0B9BC5"/>
              </a:solidFill>
            </p:spPr>
            <p:txBody>
              <a:bodyPr wrap="squar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10D73B15-D2B4-7F0A-D13B-865281937A98}"/>
                  </a:ext>
                </a:extLst>
              </p:cNvPr>
              <p:cNvSpPr txBox="1"/>
              <p:nvPr/>
            </p:nvSpPr>
            <p:spPr>
              <a:xfrm>
                <a:off x="3623832" y="2679290"/>
                <a:ext cx="1296580" cy="167148"/>
              </a:xfrm>
              <a:prstGeom prst="rect">
                <a:avLst/>
              </a:prstGeom>
              <a:solidFill>
                <a:srgbClr val="D0563F"/>
              </a:solidFill>
            </p:spPr>
            <p:txBody>
              <a:bodyPr wrap="square" lIns="0" tIns="0" rIns="0" bIns="0" rtlCol="0">
                <a:noAutofit/>
              </a:bodyPr>
              <a:lstStyle/>
              <a:p>
                <a:pPr algn="ctr" defTabSz="228600">
                  <a:spcAft>
                    <a:spcPts val="1200"/>
                  </a:spcAft>
                </a:pPr>
                <a:r>
                  <a:rPr lang="en-US" sz="1200" noProof="0" dirty="0">
                    <a:solidFill>
                      <a:schemeClr val="bg1"/>
                    </a:solidFill>
                  </a:rPr>
                  <a:t>Heading</a:t>
                </a:r>
                <a:endParaRPr lang="en-US" sz="1100" noProof="0" dirty="0">
                  <a:solidFill>
                    <a:schemeClr val="bg1"/>
                  </a:solidFill>
                </a:endParaRPr>
              </a:p>
            </p:txBody>
          </p:sp>
          <p:sp>
            <p:nvSpPr>
              <p:cNvPr id="8" name="TextBox 7">
                <a:extLst>
                  <a:ext uri="{FF2B5EF4-FFF2-40B4-BE49-F238E27FC236}">
                    <a16:creationId xmlns:a16="http://schemas.microsoft.com/office/drawing/2014/main" id="{39A254D3-E073-BCB9-1E2C-5A600A08142B}"/>
                  </a:ext>
                </a:extLst>
              </p:cNvPr>
              <p:cNvSpPr txBox="1"/>
              <p:nvPr/>
            </p:nvSpPr>
            <p:spPr>
              <a:xfrm>
                <a:off x="4354579"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0" name="TextBox 9">
                <a:extLst>
                  <a:ext uri="{FF2B5EF4-FFF2-40B4-BE49-F238E27FC236}">
                    <a16:creationId xmlns:a16="http://schemas.microsoft.com/office/drawing/2014/main" id="{15D998B7-CB37-6E81-4933-A406CBA13616}"/>
                  </a:ext>
                </a:extLst>
              </p:cNvPr>
              <p:cNvSpPr txBox="1"/>
              <p:nvPr/>
            </p:nvSpPr>
            <p:spPr>
              <a:xfrm>
                <a:off x="6176121"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sp>
            <p:nvSpPr>
              <p:cNvPr id="11" name="TextBox 10">
                <a:extLst>
                  <a:ext uri="{FF2B5EF4-FFF2-40B4-BE49-F238E27FC236}">
                    <a16:creationId xmlns:a16="http://schemas.microsoft.com/office/drawing/2014/main" id="{69E68DDA-2655-135C-0F57-1AC44A66ED82}"/>
                  </a:ext>
                </a:extLst>
              </p:cNvPr>
              <p:cNvSpPr txBox="1"/>
              <p:nvPr/>
            </p:nvSpPr>
            <p:spPr>
              <a:xfrm>
                <a:off x="2565103" y="5094101"/>
                <a:ext cx="1221438" cy="306694"/>
              </a:xfrm>
              <a:prstGeom prst="rect">
                <a:avLst/>
              </a:prstGeom>
              <a:solidFill>
                <a:srgbClr val="D58E38"/>
              </a:solidFill>
            </p:spPr>
            <p:txBody>
              <a:bodyPr wrap="square" lIns="0" tIns="0" rIns="0" bIns="0" rtlCol="0">
                <a:noAutofit/>
              </a:bodyPr>
              <a:lstStyle/>
              <a:p>
                <a:pPr algn="ctr" defTabSz="228600">
                  <a:spcAft>
                    <a:spcPts val="1200"/>
                  </a:spcAft>
                </a:pPr>
                <a:r>
                  <a:rPr lang="en-US" sz="800" noProof="0" dirty="0">
                    <a:solidFill>
                      <a:schemeClr val="bg1"/>
                    </a:solidFill>
                  </a:rPr>
                  <a:t>Measurement Error / Sensor Noise</a:t>
                </a:r>
                <a:endParaRPr lang="en-US" sz="700" noProof="0" dirty="0">
                  <a:solidFill>
                    <a:schemeClr val="bg1"/>
                  </a:solidFill>
                </a:endParaRPr>
              </a:p>
            </p:txBody>
          </p:sp>
        </p:grpSp>
      </p:grpSp>
      <p:sp>
        <p:nvSpPr>
          <p:cNvPr id="50" name="Rectangle 49">
            <a:extLst>
              <a:ext uri="{FF2B5EF4-FFF2-40B4-BE49-F238E27FC236}">
                <a16:creationId xmlns:a16="http://schemas.microsoft.com/office/drawing/2014/main" id="{D89614D6-3584-F373-40C7-1FCD4F057834}"/>
              </a:ext>
            </a:extLst>
          </p:cNvPr>
          <p:cNvSpPr/>
          <p:nvPr/>
        </p:nvSpPr>
        <p:spPr>
          <a:xfrm>
            <a:off x="384174" y="1520825"/>
            <a:ext cx="5711826"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Sketch of potential adaptive control localization algorithm</a:t>
            </a:r>
          </a:p>
        </p:txBody>
      </p:sp>
      <p:sp>
        <p:nvSpPr>
          <p:cNvPr id="51" name="Rectangle 50">
            <a:extLst>
              <a:ext uri="{FF2B5EF4-FFF2-40B4-BE49-F238E27FC236}">
                <a16:creationId xmlns:a16="http://schemas.microsoft.com/office/drawing/2014/main" id="{C5F6EF41-5F1A-5487-C131-44BF62CDC8B6}"/>
              </a:ext>
            </a:extLst>
          </p:cNvPr>
          <p:cNvSpPr/>
          <p:nvPr/>
        </p:nvSpPr>
        <p:spPr>
          <a:xfrm>
            <a:off x="6180136" y="1520825"/>
            <a:ext cx="5640389" cy="612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400" b="1" dirty="0">
                <a:latin typeface="Georgia" panose="02040502050405020303" pitchFamily="18" charset="0"/>
                <a:cs typeface="Calibri" panose="020F0502020204030204" pitchFamily="34" charset="0"/>
              </a:rPr>
              <a:t>Potential image-filtering techniques to localize robot using X-rays, MRI, etc.</a:t>
            </a:r>
          </a:p>
        </p:txBody>
      </p:sp>
      <p:sp>
        <p:nvSpPr>
          <p:cNvPr id="3" name="TextBox 2">
            <a:extLst>
              <a:ext uri="{FF2B5EF4-FFF2-40B4-BE49-F238E27FC236}">
                <a16:creationId xmlns:a16="http://schemas.microsoft.com/office/drawing/2014/main" id="{87E574B7-8459-08B3-6E4D-4BF429B6B935}"/>
              </a:ext>
            </a:extLst>
          </p:cNvPr>
          <p:cNvSpPr txBox="1"/>
          <p:nvPr/>
        </p:nvSpPr>
        <p:spPr>
          <a:xfrm>
            <a:off x="6388100" y="2311400"/>
            <a:ext cx="5432425" cy="3605893"/>
          </a:xfrm>
          <a:prstGeom prst="rect">
            <a:avLst/>
          </a:prstGeom>
          <a:noFill/>
        </p:spPr>
        <p:txBody>
          <a:bodyPr wrap="square">
            <a:noAutofit/>
          </a:bodyPr>
          <a:lstStyle/>
          <a:p>
            <a:pPr marL="228600" indent="-228600" algn="l">
              <a:lnSpc>
                <a:spcPct val="125000"/>
              </a:lnSpc>
              <a:spcAft>
                <a:spcPts val="300"/>
              </a:spcAft>
              <a:buAutoNum type="arabicPeriod"/>
            </a:pPr>
            <a:r>
              <a:rPr lang="en-US" sz="1600" b="0" i="0" u="none" strike="noStrike" baseline="0" dirty="0">
                <a:latin typeface="AdvP6965"/>
              </a:rPr>
              <a:t>Measurement models can be used to specify the likelihood of robot and target location measurements obtained from the imaging system</a:t>
            </a:r>
          </a:p>
          <a:p>
            <a:pPr marL="228600" indent="-228600" algn="l">
              <a:lnSpc>
                <a:spcPct val="125000"/>
              </a:lnSpc>
              <a:spcAft>
                <a:spcPts val="300"/>
              </a:spcAft>
              <a:buAutoNum type="arabicPeriod"/>
            </a:pPr>
            <a:r>
              <a:rPr lang="en-US" sz="1600" dirty="0">
                <a:latin typeface="AdvP6965"/>
              </a:rPr>
              <a:t>Motion models to estimate the robot’s future position given current state of the target and robot (via probability density functions for next states)</a:t>
            </a:r>
          </a:p>
          <a:p>
            <a:pPr marL="228600" indent="-228600" algn="l">
              <a:lnSpc>
                <a:spcPct val="125000"/>
              </a:lnSpc>
              <a:spcAft>
                <a:spcPts val="300"/>
              </a:spcAft>
              <a:buAutoNum type="arabicPeriod"/>
            </a:pPr>
            <a:r>
              <a:rPr lang="en-US" sz="1600" dirty="0">
                <a:latin typeface="AdvP6965"/>
              </a:rPr>
              <a:t>Bayesian filters to estimate the current robot and target state given output from measurement and motion models</a:t>
            </a:r>
          </a:p>
        </p:txBody>
      </p:sp>
    </p:spTree>
    <p:extLst>
      <p:ext uri="{BB962C8B-B14F-4D97-AF65-F5344CB8AC3E}">
        <p14:creationId xmlns:p14="http://schemas.microsoft.com/office/powerpoint/2010/main" val="8027454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333371"/>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7363169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E4B6F3D-F39D-82FA-3528-A3F1F7B178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6" name="Objeto 5" hidden="1">
                        <a:extLst>
                          <a:ext uri="{FF2B5EF4-FFF2-40B4-BE49-F238E27FC236}">
                            <a16:creationId xmlns:a16="http://schemas.microsoft.com/office/drawing/2014/main" id="{DE4B6F3D-F39D-82FA-3528-A3F1F7B17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87" name="Conector angular 33">
            <a:extLst>
              <a:ext uri="{FF2B5EF4-FFF2-40B4-BE49-F238E27FC236}">
                <a16:creationId xmlns:a16="http://schemas.microsoft.com/office/drawing/2014/main" id="{0EAB512E-EDC8-4437-8922-70BA985EE700}"/>
              </a:ext>
            </a:extLst>
          </p:cNvPr>
          <p:cNvCxnSpPr>
            <a:cxnSpLocks/>
            <a:stCxn id="28" idx="1"/>
            <a:endCxn id="14" idx="3"/>
          </p:cNvCxnSpPr>
          <p:nvPr/>
        </p:nvCxnSpPr>
        <p:spPr>
          <a:xfrm rot="10800000">
            <a:off x="3965576" y="2985153"/>
            <a:ext cx="4263769" cy="2479040"/>
          </a:xfrm>
          <a:prstGeom prst="bentConnector3">
            <a:avLst>
              <a:gd name="adj1" fmla="val 94934"/>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091" name="Conector angular 33">
            <a:extLst>
              <a:ext uri="{FF2B5EF4-FFF2-40B4-BE49-F238E27FC236}">
                <a16:creationId xmlns:a16="http://schemas.microsoft.com/office/drawing/2014/main" id="{35BF4BE7-4A4A-DC00-58D3-3ECF53D45E69}"/>
              </a:ext>
            </a:extLst>
          </p:cNvPr>
          <p:cNvCxnSpPr>
            <a:cxnSpLocks/>
            <a:stCxn id="29" idx="1"/>
            <a:endCxn id="14" idx="3"/>
          </p:cNvCxnSpPr>
          <p:nvPr/>
        </p:nvCxnSpPr>
        <p:spPr>
          <a:xfrm rot="10800000">
            <a:off x="3965576" y="2985153"/>
            <a:ext cx="6246755" cy="1239520"/>
          </a:xfrm>
          <a:prstGeom prst="bentConnector3">
            <a:avLst>
              <a:gd name="adj1" fmla="val 96622"/>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 name="Marcador de texto 1">
            <a:extLst>
              <a:ext uri="{FF2B5EF4-FFF2-40B4-BE49-F238E27FC236}">
                <a16:creationId xmlns:a16="http://schemas.microsoft.com/office/drawing/2014/main" id="{AA3A6A1D-C712-7E52-BF1C-733B61E59632}"/>
              </a:ext>
            </a:extLst>
          </p:cNvPr>
          <p:cNvSpPr>
            <a:spLocks noGrp="1"/>
          </p:cNvSpPr>
          <p:nvPr>
            <p:ph type="body" sz="quarter" idx="14"/>
          </p:nvPr>
        </p:nvSpPr>
        <p:spPr>
          <a:xfrm>
            <a:off x="385762" y="802298"/>
            <a:ext cx="11418888" cy="576263"/>
          </a:xfrm>
        </p:spPr>
        <p:txBody>
          <a:bodyPr/>
          <a:lstStyle/>
          <a:p>
            <a:r>
              <a:rPr lang="en-US"/>
              <a:t>Subtitle</a:t>
            </a:r>
          </a:p>
        </p:txBody>
      </p:sp>
      <p:sp>
        <p:nvSpPr>
          <p:cNvPr id="3" name="Título 2">
            <a:extLst>
              <a:ext uri="{FF2B5EF4-FFF2-40B4-BE49-F238E27FC236}">
                <a16:creationId xmlns:a16="http://schemas.microsoft.com/office/drawing/2014/main" id="{9D66EAD0-976A-9CBA-E440-3B5D7F6C7065}"/>
              </a:ext>
            </a:extLst>
          </p:cNvPr>
          <p:cNvSpPr>
            <a:spLocks noGrp="1"/>
          </p:cNvSpPr>
          <p:nvPr>
            <p:ph type="title"/>
          </p:nvPr>
        </p:nvSpPr>
        <p:spPr/>
        <p:txBody>
          <a:bodyPr vert="horz"/>
          <a:lstStyle/>
          <a:p>
            <a:r>
              <a:rPr lang="en-US" dirty="0"/>
              <a:t>Template - Organizational chart</a:t>
            </a:r>
          </a:p>
        </p:txBody>
      </p:sp>
      <p:sp>
        <p:nvSpPr>
          <p:cNvPr id="4" name="Marcador de pie de página 3">
            <a:extLst>
              <a:ext uri="{FF2B5EF4-FFF2-40B4-BE49-F238E27FC236}">
                <a16:creationId xmlns:a16="http://schemas.microsoft.com/office/drawing/2014/main" id="{91D8E929-E2C1-0062-B90A-63F39F97AE0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tint val="75000"/>
                  </a:srgbClr>
                </a:solidFill>
                <a:effectLst/>
                <a:uLnTx/>
                <a:uFillTx/>
                <a:latin typeface="Verdana"/>
                <a:ea typeface="+mn-ea"/>
                <a:cs typeface="+mn-cs"/>
              </a:rPr>
              <a:t>Source:_______</a:t>
            </a:r>
          </a:p>
        </p:txBody>
      </p:sp>
      <p:sp>
        <p:nvSpPr>
          <p:cNvPr id="12" name="Rounded Rectangle 33">
            <a:extLst>
              <a:ext uri="{FF2B5EF4-FFF2-40B4-BE49-F238E27FC236}">
                <a16:creationId xmlns:a16="http://schemas.microsoft.com/office/drawing/2014/main" id="{B806AD11-D192-F88B-229E-C1DB18303A7B}"/>
              </a:ext>
            </a:extLst>
          </p:cNvPr>
          <p:cNvSpPr/>
          <p:nvPr/>
        </p:nvSpPr>
        <p:spPr>
          <a:xfrm>
            <a:off x="4344930" y="214443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3" name="Rounded Rectangle 33">
            <a:extLst>
              <a:ext uri="{FF2B5EF4-FFF2-40B4-BE49-F238E27FC236}">
                <a16:creationId xmlns:a16="http://schemas.microsoft.com/office/drawing/2014/main" id="{C180DAC3-3FFE-FC92-C9DE-8562A2683F74}"/>
              </a:ext>
            </a:extLst>
          </p:cNvPr>
          <p:cNvSpPr/>
          <p:nvPr/>
        </p:nvSpPr>
        <p:spPr>
          <a:xfrm>
            <a:off x="434493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4" name="Rounded Rectangle 33">
            <a:extLst>
              <a:ext uri="{FF2B5EF4-FFF2-40B4-BE49-F238E27FC236}">
                <a16:creationId xmlns:a16="http://schemas.microsoft.com/office/drawing/2014/main" id="{2EC277E3-95C2-D00F-D869-0207F9123D06}"/>
              </a:ext>
            </a:extLst>
          </p:cNvPr>
          <p:cNvSpPr/>
          <p:nvPr/>
        </p:nvSpPr>
        <p:spPr>
          <a:xfrm>
            <a:off x="2357380"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5" name="Rounded Rectangle 33">
            <a:extLst>
              <a:ext uri="{FF2B5EF4-FFF2-40B4-BE49-F238E27FC236}">
                <a16:creationId xmlns:a16="http://schemas.microsoft.com/office/drawing/2014/main" id="{D5E64C63-20C4-9CAC-6BC3-C084C19D2FED}"/>
              </a:ext>
            </a:extLst>
          </p:cNvPr>
          <p:cNvSpPr/>
          <p:nvPr/>
        </p:nvSpPr>
        <p:spPr>
          <a:xfrm>
            <a:off x="2357380"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6" name="Rounded Rectangle 33">
            <a:extLst>
              <a:ext uri="{FF2B5EF4-FFF2-40B4-BE49-F238E27FC236}">
                <a16:creationId xmlns:a16="http://schemas.microsoft.com/office/drawing/2014/main" id="{1D9B0760-014E-B82C-EC6A-ACEE6FF70EB8}"/>
              </a:ext>
            </a:extLst>
          </p:cNvPr>
          <p:cNvSpPr/>
          <p:nvPr/>
        </p:nvSpPr>
        <p:spPr>
          <a:xfrm>
            <a:off x="2357380"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7" name="Rounded Rectangle 33">
            <a:extLst>
              <a:ext uri="{FF2B5EF4-FFF2-40B4-BE49-F238E27FC236}">
                <a16:creationId xmlns:a16="http://schemas.microsoft.com/office/drawing/2014/main" id="{58FAE6E1-51E7-FA55-B790-CDF6AD2BDCF4}"/>
              </a:ext>
            </a:extLst>
          </p:cNvPr>
          <p:cNvSpPr/>
          <p:nvPr/>
        </p:nvSpPr>
        <p:spPr>
          <a:xfrm>
            <a:off x="2357380" y="58591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8" name="Rounded Rectangle 33">
            <a:extLst>
              <a:ext uri="{FF2B5EF4-FFF2-40B4-BE49-F238E27FC236}">
                <a16:creationId xmlns:a16="http://schemas.microsoft.com/office/drawing/2014/main" id="{FE0BAF40-AFD8-1F73-9A0C-AA92C96B5158}"/>
              </a:ext>
            </a:extLst>
          </p:cNvPr>
          <p:cNvSpPr/>
          <p:nvPr/>
        </p:nvSpPr>
        <p:spPr>
          <a:xfrm>
            <a:off x="235738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9" name="Rounded Rectangle 33">
            <a:extLst>
              <a:ext uri="{FF2B5EF4-FFF2-40B4-BE49-F238E27FC236}">
                <a16:creationId xmlns:a16="http://schemas.microsoft.com/office/drawing/2014/main" id="{8DA623C7-29EE-421F-106A-B1B24EF88572}"/>
              </a:ext>
            </a:extLst>
          </p:cNvPr>
          <p:cNvSpPr/>
          <p:nvPr/>
        </p:nvSpPr>
        <p:spPr>
          <a:xfrm>
            <a:off x="2357380"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0" name="Rounded Rectangle 33">
            <a:extLst>
              <a:ext uri="{FF2B5EF4-FFF2-40B4-BE49-F238E27FC236}">
                <a16:creationId xmlns:a16="http://schemas.microsoft.com/office/drawing/2014/main" id="{E4C3A955-9913-A119-7B75-79165722AB24}"/>
              </a:ext>
            </a:extLst>
          </p:cNvPr>
          <p:cNvSpPr/>
          <p:nvPr/>
        </p:nvSpPr>
        <p:spPr>
          <a:xfrm>
            <a:off x="6283327" y="276038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1" name="Rounded Rectangle 33">
            <a:extLst>
              <a:ext uri="{FF2B5EF4-FFF2-40B4-BE49-F238E27FC236}">
                <a16:creationId xmlns:a16="http://schemas.microsoft.com/office/drawing/2014/main" id="{1B0D5BAB-5614-C8DD-5831-20473D737734}"/>
              </a:ext>
            </a:extLst>
          </p:cNvPr>
          <p:cNvSpPr/>
          <p:nvPr/>
        </p:nvSpPr>
        <p:spPr>
          <a:xfrm>
            <a:off x="6283327" y="461966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2" name="Rounded Rectangle 33">
            <a:extLst>
              <a:ext uri="{FF2B5EF4-FFF2-40B4-BE49-F238E27FC236}">
                <a16:creationId xmlns:a16="http://schemas.microsoft.com/office/drawing/2014/main" id="{1E2BB5F0-6C1D-EBAF-5493-94E97B4B54FB}"/>
              </a:ext>
            </a:extLst>
          </p:cNvPr>
          <p:cNvSpPr/>
          <p:nvPr/>
        </p:nvSpPr>
        <p:spPr>
          <a:xfrm>
            <a:off x="6283327"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3" name="Rounded Rectangle 33">
            <a:extLst>
              <a:ext uri="{FF2B5EF4-FFF2-40B4-BE49-F238E27FC236}">
                <a16:creationId xmlns:a16="http://schemas.microsoft.com/office/drawing/2014/main" id="{C82EEC47-011A-3986-C4CD-0F6BF3E13A5C}"/>
              </a:ext>
            </a:extLst>
          </p:cNvPr>
          <p:cNvSpPr/>
          <p:nvPr/>
        </p:nvSpPr>
        <p:spPr>
          <a:xfrm>
            <a:off x="6283327"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4" name="Rounded Rectangle 33">
            <a:extLst>
              <a:ext uri="{FF2B5EF4-FFF2-40B4-BE49-F238E27FC236}">
                <a16:creationId xmlns:a16="http://schemas.microsoft.com/office/drawing/2014/main" id="{C9A13A72-E42D-6BC9-CA47-B2DF838EC308}"/>
              </a:ext>
            </a:extLst>
          </p:cNvPr>
          <p:cNvSpPr/>
          <p:nvPr/>
        </p:nvSpPr>
        <p:spPr>
          <a:xfrm>
            <a:off x="8229344"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5" name="Rounded Rectangle 33">
            <a:extLst>
              <a:ext uri="{FF2B5EF4-FFF2-40B4-BE49-F238E27FC236}">
                <a16:creationId xmlns:a16="http://schemas.microsoft.com/office/drawing/2014/main" id="{41A60602-B73B-69EC-4BC5-A701D9304E7F}"/>
              </a:ext>
            </a:extLst>
          </p:cNvPr>
          <p:cNvSpPr/>
          <p:nvPr/>
        </p:nvSpPr>
        <p:spPr>
          <a:xfrm>
            <a:off x="10212330"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6" name="Rounded Rectangle 33">
            <a:extLst>
              <a:ext uri="{FF2B5EF4-FFF2-40B4-BE49-F238E27FC236}">
                <a16:creationId xmlns:a16="http://schemas.microsoft.com/office/drawing/2014/main" id="{A46F4AA6-3903-4283-6F3D-6BEA28EB642E}"/>
              </a:ext>
            </a:extLst>
          </p:cNvPr>
          <p:cNvSpPr/>
          <p:nvPr/>
        </p:nvSpPr>
        <p:spPr>
          <a:xfrm>
            <a:off x="8229344"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7" name="Rounded Rectangle 33">
            <a:extLst>
              <a:ext uri="{FF2B5EF4-FFF2-40B4-BE49-F238E27FC236}">
                <a16:creationId xmlns:a16="http://schemas.microsoft.com/office/drawing/2014/main" id="{61164AB8-41D4-F9E4-CD7F-5A5770A890F4}"/>
              </a:ext>
            </a:extLst>
          </p:cNvPr>
          <p:cNvSpPr/>
          <p:nvPr/>
        </p:nvSpPr>
        <p:spPr>
          <a:xfrm>
            <a:off x="8229344" y="461966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8" name="Rounded Rectangle 33">
            <a:extLst>
              <a:ext uri="{FF2B5EF4-FFF2-40B4-BE49-F238E27FC236}">
                <a16:creationId xmlns:a16="http://schemas.microsoft.com/office/drawing/2014/main" id="{4A598A78-671D-C716-0E87-3DDF27D932B5}"/>
              </a:ext>
            </a:extLst>
          </p:cNvPr>
          <p:cNvSpPr/>
          <p:nvPr/>
        </p:nvSpPr>
        <p:spPr>
          <a:xfrm>
            <a:off x="8229344" y="523942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29" name="Rounded Rectangle 33">
            <a:extLst>
              <a:ext uri="{FF2B5EF4-FFF2-40B4-BE49-F238E27FC236}">
                <a16:creationId xmlns:a16="http://schemas.microsoft.com/office/drawing/2014/main" id="{5359D713-3161-B2FF-27DF-16DD223E8E0D}"/>
              </a:ext>
            </a:extLst>
          </p:cNvPr>
          <p:cNvSpPr/>
          <p:nvPr/>
        </p:nvSpPr>
        <p:spPr>
          <a:xfrm>
            <a:off x="10212330" y="399990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30" name="Rounded Rectangle 33">
            <a:extLst>
              <a:ext uri="{FF2B5EF4-FFF2-40B4-BE49-F238E27FC236}">
                <a16:creationId xmlns:a16="http://schemas.microsoft.com/office/drawing/2014/main" id="{5967A0B9-C5CE-6EAF-8BB6-98DFA92F72FD}"/>
              </a:ext>
            </a:extLst>
          </p:cNvPr>
          <p:cNvSpPr/>
          <p:nvPr/>
        </p:nvSpPr>
        <p:spPr>
          <a:xfrm>
            <a:off x="385762" y="3380140"/>
            <a:ext cx="1608195" cy="449545"/>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4" name="Rounded Rectangle 33">
            <a:extLst>
              <a:ext uri="{FF2B5EF4-FFF2-40B4-BE49-F238E27FC236}">
                <a16:creationId xmlns:a16="http://schemas.microsoft.com/office/drawing/2014/main" id="{A573BB3E-F8CA-5BE9-7336-893E99651FC4}"/>
              </a:ext>
            </a:extLst>
          </p:cNvPr>
          <p:cNvSpPr/>
          <p:nvPr/>
        </p:nvSpPr>
        <p:spPr>
          <a:xfrm>
            <a:off x="385762" y="399990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7" name="Rounded Rectangle 33">
            <a:extLst>
              <a:ext uri="{FF2B5EF4-FFF2-40B4-BE49-F238E27FC236}">
                <a16:creationId xmlns:a16="http://schemas.microsoft.com/office/drawing/2014/main" id="{BAF08AB9-4F5E-1128-D1E3-1DA58BBE5686}"/>
              </a:ext>
            </a:extLst>
          </p:cNvPr>
          <p:cNvSpPr/>
          <p:nvPr/>
        </p:nvSpPr>
        <p:spPr>
          <a:xfrm>
            <a:off x="385762" y="15284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29" name="Conector recto 1028">
            <a:extLst>
              <a:ext uri="{FF2B5EF4-FFF2-40B4-BE49-F238E27FC236}">
                <a16:creationId xmlns:a16="http://schemas.microsoft.com/office/drawing/2014/main" id="{CC16E7A5-6B24-EBB2-5CD7-ADA03CC5955B}"/>
              </a:ext>
            </a:extLst>
          </p:cNvPr>
          <p:cNvCxnSpPr>
            <a:cxnSpLocks/>
          </p:cNvCxnSpPr>
          <p:nvPr/>
        </p:nvCxnSpPr>
        <p:spPr>
          <a:xfrm flipV="1">
            <a:off x="1189859" y="1978025"/>
            <a:ext cx="0" cy="140211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1" name="Conector angular 33">
            <a:extLst>
              <a:ext uri="{FF2B5EF4-FFF2-40B4-BE49-F238E27FC236}">
                <a16:creationId xmlns:a16="http://schemas.microsoft.com/office/drawing/2014/main" id="{3232CA5D-DD47-906E-B2F1-A56C49083C17}"/>
              </a:ext>
            </a:extLst>
          </p:cNvPr>
          <p:cNvCxnSpPr>
            <a:cxnSpLocks/>
            <a:stCxn id="12" idx="0"/>
            <a:endCxn id="23" idx="2"/>
          </p:cNvCxnSpPr>
          <p:nvPr/>
        </p:nvCxnSpPr>
        <p:spPr>
          <a:xfrm rot="5400000" flipH="1" flipV="1">
            <a:off x="6035024" y="1092030"/>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4" name="Conector angular 33">
            <a:extLst>
              <a:ext uri="{FF2B5EF4-FFF2-40B4-BE49-F238E27FC236}">
                <a16:creationId xmlns:a16="http://schemas.microsoft.com/office/drawing/2014/main" id="{E298B312-EF6D-17F2-5F5B-3BCBD56180DD}"/>
              </a:ext>
            </a:extLst>
          </p:cNvPr>
          <p:cNvCxnSpPr>
            <a:cxnSpLocks/>
            <a:stCxn id="23" idx="2"/>
            <a:endCxn id="24" idx="0"/>
          </p:cNvCxnSpPr>
          <p:nvPr/>
        </p:nvCxnSpPr>
        <p:spPr>
          <a:xfrm rot="16200000" flipH="1">
            <a:off x="7977231" y="1088218"/>
            <a:ext cx="166405" cy="194601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8" name="Conector angular 33">
            <a:extLst>
              <a:ext uri="{FF2B5EF4-FFF2-40B4-BE49-F238E27FC236}">
                <a16:creationId xmlns:a16="http://schemas.microsoft.com/office/drawing/2014/main" id="{B4C49147-7A8C-517E-A821-F6CEC1BE4064}"/>
              </a:ext>
            </a:extLst>
          </p:cNvPr>
          <p:cNvCxnSpPr>
            <a:cxnSpLocks/>
            <a:stCxn id="12" idx="2"/>
            <a:endCxn id="14" idx="0"/>
          </p:cNvCxnSpPr>
          <p:nvPr/>
        </p:nvCxnSpPr>
        <p:spPr>
          <a:xfrm rot="5400000">
            <a:off x="4072051" y="1683402"/>
            <a:ext cx="166405" cy="1987550"/>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1" name="Conector angular 33">
            <a:extLst>
              <a:ext uri="{FF2B5EF4-FFF2-40B4-BE49-F238E27FC236}">
                <a16:creationId xmlns:a16="http://schemas.microsoft.com/office/drawing/2014/main" id="{6E696748-5A0F-C410-F309-8289E49AA83F}"/>
              </a:ext>
            </a:extLst>
          </p:cNvPr>
          <p:cNvCxnSpPr>
            <a:cxnSpLocks/>
            <a:stCxn id="12" idx="2"/>
            <a:endCxn id="20" idx="0"/>
          </p:cNvCxnSpPr>
          <p:nvPr/>
        </p:nvCxnSpPr>
        <p:spPr>
          <a:xfrm rot="16200000" flipH="1">
            <a:off x="6035024" y="1707978"/>
            <a:ext cx="166405" cy="1938397"/>
          </a:xfrm>
          <a:prstGeom prst="bentConnector3">
            <a:avLst>
              <a:gd name="adj1" fmla="val 5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4" name="Conector recto 1043">
            <a:extLst>
              <a:ext uri="{FF2B5EF4-FFF2-40B4-BE49-F238E27FC236}">
                <a16:creationId xmlns:a16="http://schemas.microsoft.com/office/drawing/2014/main" id="{5FFE254A-8105-D072-2973-7710B46C04E3}"/>
              </a:ext>
            </a:extLst>
          </p:cNvPr>
          <p:cNvCxnSpPr>
            <a:cxnSpLocks/>
            <a:endCxn id="20" idx="2"/>
          </p:cNvCxnSpPr>
          <p:nvPr/>
        </p:nvCxnSpPr>
        <p:spPr>
          <a:xfrm flipH="1" flipV="1">
            <a:off x="7087425" y="3209925"/>
            <a:ext cx="7619" cy="15494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7" name="Conector recto 1046">
            <a:extLst>
              <a:ext uri="{FF2B5EF4-FFF2-40B4-BE49-F238E27FC236}">
                <a16:creationId xmlns:a16="http://schemas.microsoft.com/office/drawing/2014/main" id="{F33AF4EA-B3B8-B4BE-BE9E-FD2D0F843795}"/>
              </a:ext>
            </a:extLst>
          </p:cNvPr>
          <p:cNvCxnSpPr>
            <a:cxnSpLocks/>
            <a:stCxn id="29" idx="0"/>
            <a:endCxn id="25" idx="2"/>
          </p:cNvCxnSpPr>
          <p:nvPr/>
        </p:nvCxnSpPr>
        <p:spPr>
          <a:xfrm flipV="1">
            <a:off x="11016428" y="2593975"/>
            <a:ext cx="0" cy="140592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ounded Rectangle 33">
            <a:extLst>
              <a:ext uri="{FF2B5EF4-FFF2-40B4-BE49-F238E27FC236}">
                <a16:creationId xmlns:a16="http://schemas.microsoft.com/office/drawing/2014/main" id="{45073DCD-9873-B44D-58C2-AD3E23F33179}"/>
              </a:ext>
            </a:extLst>
          </p:cNvPr>
          <p:cNvSpPr/>
          <p:nvPr/>
        </p:nvSpPr>
        <p:spPr>
          <a:xfrm>
            <a:off x="385762" y="276038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sp>
        <p:nvSpPr>
          <p:cNvPr id="1025" name="Rounded Rectangle 33">
            <a:extLst>
              <a:ext uri="{FF2B5EF4-FFF2-40B4-BE49-F238E27FC236}">
                <a16:creationId xmlns:a16="http://schemas.microsoft.com/office/drawing/2014/main" id="{1ECD0475-4BE1-FC60-007F-D6CF6F023D7C}"/>
              </a:ext>
            </a:extLst>
          </p:cNvPr>
          <p:cNvSpPr/>
          <p:nvPr/>
        </p:nvSpPr>
        <p:spPr>
          <a:xfrm>
            <a:off x="385762" y="2144430"/>
            <a:ext cx="1608195" cy="449545"/>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marR="0" lvl="0" indent="0" algn="ctr" defTabSz="108763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xxxx</a:t>
            </a:r>
          </a:p>
        </p:txBody>
      </p:sp>
      <p:cxnSp>
        <p:nvCxnSpPr>
          <p:cNvPr id="1050" name="Conector angular 33">
            <a:extLst>
              <a:ext uri="{FF2B5EF4-FFF2-40B4-BE49-F238E27FC236}">
                <a16:creationId xmlns:a16="http://schemas.microsoft.com/office/drawing/2014/main" id="{575684A9-3307-AD18-85A8-DF7387F11FF9}"/>
              </a:ext>
            </a:extLst>
          </p:cNvPr>
          <p:cNvCxnSpPr>
            <a:cxnSpLocks/>
            <a:stCxn id="27" idx="1"/>
            <a:endCxn id="24" idx="1"/>
          </p:cNvCxnSpPr>
          <p:nvPr/>
        </p:nvCxnSpPr>
        <p:spPr>
          <a:xfrm rot="10800000">
            <a:off x="8229344" y="2369203"/>
            <a:ext cx="12700" cy="247523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3" name="Conector angular 33">
            <a:extLst>
              <a:ext uri="{FF2B5EF4-FFF2-40B4-BE49-F238E27FC236}">
                <a16:creationId xmlns:a16="http://schemas.microsoft.com/office/drawing/2014/main" id="{0C201DA6-1D9D-BBCF-A5BD-47F18AF16B81}"/>
              </a:ext>
            </a:extLst>
          </p:cNvPr>
          <p:cNvCxnSpPr>
            <a:cxnSpLocks/>
            <a:stCxn id="28" idx="1"/>
            <a:endCxn id="24" idx="1"/>
          </p:cNvCxnSpPr>
          <p:nvPr/>
        </p:nvCxnSpPr>
        <p:spPr>
          <a:xfrm rot="10800000">
            <a:off x="8229344" y="2369203"/>
            <a:ext cx="12700" cy="309499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6" name="Conector recto 1055">
            <a:extLst>
              <a:ext uri="{FF2B5EF4-FFF2-40B4-BE49-F238E27FC236}">
                <a16:creationId xmlns:a16="http://schemas.microsoft.com/office/drawing/2014/main" id="{89100E5C-7A72-B4BF-5350-2A1127058883}"/>
              </a:ext>
            </a:extLst>
          </p:cNvPr>
          <p:cNvCxnSpPr>
            <a:cxnSpLocks/>
            <a:stCxn id="22" idx="0"/>
            <a:endCxn id="23" idx="2"/>
          </p:cNvCxnSpPr>
          <p:nvPr/>
        </p:nvCxnSpPr>
        <p:spPr>
          <a:xfrm flipV="1">
            <a:off x="7087425" y="197802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Conector recto 1058">
            <a:extLst>
              <a:ext uri="{FF2B5EF4-FFF2-40B4-BE49-F238E27FC236}">
                <a16:creationId xmlns:a16="http://schemas.microsoft.com/office/drawing/2014/main" id="{25193D0E-A57D-575C-A130-BF0C8AF801A1}"/>
              </a:ext>
            </a:extLst>
          </p:cNvPr>
          <p:cNvCxnSpPr>
            <a:cxnSpLocks/>
            <a:stCxn id="13" idx="0"/>
            <a:endCxn id="12" idx="2"/>
          </p:cNvCxnSpPr>
          <p:nvPr/>
        </p:nvCxnSpPr>
        <p:spPr>
          <a:xfrm flipV="1">
            <a:off x="5149028" y="2593975"/>
            <a:ext cx="0" cy="16640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2" name="Conector angular 33">
            <a:extLst>
              <a:ext uri="{FF2B5EF4-FFF2-40B4-BE49-F238E27FC236}">
                <a16:creationId xmlns:a16="http://schemas.microsoft.com/office/drawing/2014/main" id="{1E51E505-0F00-6D28-1CC2-1B8C82F31CA1}"/>
              </a:ext>
            </a:extLst>
          </p:cNvPr>
          <p:cNvCxnSpPr>
            <a:cxnSpLocks/>
            <a:stCxn id="17" idx="1"/>
            <a:endCxn id="14" idx="1"/>
          </p:cNvCxnSpPr>
          <p:nvPr/>
        </p:nvCxnSpPr>
        <p:spPr>
          <a:xfrm rot="10800000">
            <a:off x="2357380" y="2985153"/>
            <a:ext cx="12700" cy="309880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9" name="Conector angular 33">
            <a:extLst>
              <a:ext uri="{FF2B5EF4-FFF2-40B4-BE49-F238E27FC236}">
                <a16:creationId xmlns:a16="http://schemas.microsoft.com/office/drawing/2014/main" id="{1241CC64-8539-0BED-2CE4-0E988864A01A}"/>
              </a:ext>
            </a:extLst>
          </p:cNvPr>
          <p:cNvCxnSpPr>
            <a:cxnSpLocks/>
            <a:stCxn id="18" idx="1"/>
            <a:endCxn id="15" idx="1"/>
          </p:cNvCxnSpPr>
          <p:nvPr/>
        </p:nvCxnSpPr>
        <p:spPr>
          <a:xfrm rot="10800000">
            <a:off x="2357380" y="360491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4" name="Conector angular 33">
            <a:extLst>
              <a:ext uri="{FF2B5EF4-FFF2-40B4-BE49-F238E27FC236}">
                <a16:creationId xmlns:a16="http://schemas.microsoft.com/office/drawing/2014/main" id="{341C1AE9-854E-359A-6A24-1D7137F291AD}"/>
              </a:ext>
            </a:extLst>
          </p:cNvPr>
          <p:cNvCxnSpPr>
            <a:cxnSpLocks/>
            <a:stCxn id="16" idx="1"/>
            <a:endCxn id="19" idx="1"/>
          </p:cNvCxnSpPr>
          <p:nvPr/>
        </p:nvCxnSpPr>
        <p:spPr>
          <a:xfrm rot="10800000">
            <a:off x="2357380" y="4844433"/>
            <a:ext cx="12700" cy="619760"/>
          </a:xfrm>
          <a:prstGeom prst="bentConnector3">
            <a:avLst>
              <a:gd name="adj1" fmla="val 1800000"/>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6" name="Conector angular 33">
            <a:extLst>
              <a:ext uri="{FF2B5EF4-FFF2-40B4-BE49-F238E27FC236}">
                <a16:creationId xmlns:a16="http://schemas.microsoft.com/office/drawing/2014/main" id="{D9FFE1B5-47C6-E5D1-FFA8-458056974ECD}"/>
              </a:ext>
            </a:extLst>
          </p:cNvPr>
          <p:cNvCxnSpPr>
            <a:cxnSpLocks/>
            <a:stCxn id="30" idx="3"/>
            <a:endCxn id="12" idx="1"/>
          </p:cNvCxnSpPr>
          <p:nvPr/>
        </p:nvCxnSpPr>
        <p:spPr>
          <a:xfrm flipV="1">
            <a:off x="1993957" y="2369203"/>
            <a:ext cx="2350973" cy="1235710"/>
          </a:xfrm>
          <a:prstGeom prst="bentConnector3">
            <a:avLst>
              <a:gd name="adj1" fmla="val 3543"/>
            </a:avLst>
          </a:prstGeom>
          <a:ln w="31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773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p:txBody>
          <a:bodyPr vert="horz"/>
          <a:lstStyle/>
          <a:p>
            <a:pPr>
              <a:lnSpc>
                <a:spcPct val="150000"/>
              </a:lnSpc>
            </a:pPr>
            <a:r>
              <a:rPr lang="en-US" dirty="0"/>
              <a:t>Text-based slides</a:t>
            </a:r>
            <a:br>
              <a:rPr lang="en-US" dirty="0"/>
            </a:br>
            <a:r>
              <a:rPr lang="en-US" dirty="0"/>
              <a:t>Structural slides</a:t>
            </a:r>
            <a:br>
              <a:rPr lang="en-US" dirty="0"/>
            </a:br>
            <a:r>
              <a:rPr lang="en-US" dirty="0"/>
              <a:t>Bar charts</a:t>
            </a:r>
            <a:br>
              <a:rPr lang="en-US" dirty="0"/>
            </a:br>
            <a:r>
              <a:rPr lang="en-US" dirty="0"/>
              <a:t>Column charts</a:t>
            </a:r>
            <a:br>
              <a:rPr lang="en-US" dirty="0"/>
            </a:br>
            <a:r>
              <a:rPr lang="en-US" dirty="0"/>
              <a:t>Line charts</a:t>
            </a:r>
            <a:br>
              <a:rPr lang="en-US" dirty="0"/>
            </a:br>
            <a:r>
              <a:rPr lang="en-US" dirty="0"/>
              <a:t>Pie charts</a:t>
            </a:r>
            <a:br>
              <a:rPr lang="en-US" dirty="0"/>
            </a:br>
            <a:r>
              <a:rPr lang="en-US" dirty="0"/>
              <a:t>Area charts</a:t>
            </a:r>
            <a:br>
              <a:rPr lang="en-US" dirty="0"/>
            </a:br>
            <a:r>
              <a:rPr lang="en-US" dirty="0"/>
              <a:t>Scatter charts</a:t>
            </a:r>
            <a:br>
              <a:rPr lang="en-US" dirty="0"/>
            </a:br>
            <a:r>
              <a:rPr lang="en-US" dirty="0"/>
              <a:t>Workplan / process charts</a:t>
            </a:r>
            <a:br>
              <a:rPr lang="en-US" dirty="0"/>
            </a:br>
            <a:r>
              <a:rPr lang="en-US" dirty="0"/>
              <a:t>Organization / relationships</a:t>
            </a:r>
            <a:br>
              <a:rPr lang="en-US" dirty="0"/>
            </a:br>
            <a:r>
              <a:rPr lang="en-US" dirty="0"/>
              <a:t>Additional charts</a:t>
            </a:r>
            <a:br>
              <a:rPr lang="en-US" dirty="0"/>
            </a:br>
            <a:br>
              <a:rPr lang="en-US" dirty="0"/>
            </a:br>
            <a:r>
              <a:rPr lang="en-US" dirty="0"/>
              <a:t> </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2" name="Rectangle 1">
            <a:extLst>
              <a:ext uri="{FF2B5EF4-FFF2-40B4-BE49-F238E27FC236}">
                <a16:creationId xmlns:a16="http://schemas.microsoft.com/office/drawing/2014/main" id="{889EBBD7-2960-1E09-EA43-14570D4C912E}"/>
              </a:ext>
            </a:extLst>
          </p:cNvPr>
          <p:cNvSpPr/>
          <p:nvPr/>
        </p:nvSpPr>
        <p:spPr>
          <a:xfrm>
            <a:off x="256939" y="5885033"/>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36778349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7CAEC3-3616-4B78-D88B-D390CC113875}"/>
              </a:ext>
            </a:extLst>
          </p:cNvPr>
          <p:cNvGraphicFramePr>
            <a:graphicFrameLocks noChangeAspect="1"/>
          </p:cNvGraphicFramePr>
          <p:nvPr>
            <p:custDataLst>
              <p:tags r:id="rId1"/>
            </p:custDataLst>
            <p:extLst>
              <p:ext uri="{D42A27DB-BD31-4B8C-83A1-F6EECF244321}">
                <p14:modId xmlns:p14="http://schemas.microsoft.com/office/powerpoint/2010/main" val="622107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27CAEC3-3616-4B78-D88B-D390CC11387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F2426EA8-D548-8BE0-4E76-CD50FB7C5365}"/>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A5B13DA5-69C9-8E17-8546-E71D8FD6291F}"/>
              </a:ext>
            </a:extLst>
          </p:cNvPr>
          <p:cNvSpPr>
            <a:spLocks noGrp="1"/>
          </p:cNvSpPr>
          <p:nvPr>
            <p:ph type="title"/>
          </p:nvPr>
        </p:nvSpPr>
        <p:spPr/>
        <p:txBody>
          <a:bodyPr vert="horz"/>
          <a:lstStyle/>
          <a:p>
            <a:r>
              <a:rPr lang="en-US" dirty="0"/>
              <a:t>Template - Grouped column bar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1">
            <a:extLst>
              <a:ext uri="{FF2B5EF4-FFF2-40B4-BE49-F238E27FC236}">
                <a16:creationId xmlns:a16="http://schemas.microsoft.com/office/drawing/2014/main" id="{29D9C1C9-6835-C06C-64D4-4B87A0B18E90}"/>
              </a:ext>
            </a:extLst>
          </p:cNvPr>
          <p:cNvGraphicFramePr/>
          <p:nvPr>
            <p:extLst>
              <p:ext uri="{D42A27DB-BD31-4B8C-83A1-F6EECF244321}">
                <p14:modId xmlns:p14="http://schemas.microsoft.com/office/powerpoint/2010/main" val="1926629935"/>
              </p:ext>
            </p:extLst>
          </p:nvPr>
        </p:nvGraphicFramePr>
        <p:xfrm>
          <a:off x="544010" y="1943738"/>
          <a:ext cx="7685590" cy="4111963"/>
        </p:xfrm>
        <a:graphic>
          <a:graphicData uri="http://schemas.openxmlformats.org/drawingml/2006/chart">
            <c:chart xmlns:c="http://schemas.openxmlformats.org/drawingml/2006/chart" xmlns:r="http://schemas.openxmlformats.org/officeDocument/2006/relationships" r:id="rId6"/>
          </a:graphicData>
        </a:graphic>
      </p:graphicFrame>
      <p:sp>
        <p:nvSpPr>
          <p:cNvPr id="10" name="Rectangle 89">
            <a:extLst>
              <a:ext uri="{FF2B5EF4-FFF2-40B4-BE49-F238E27FC236}">
                <a16:creationId xmlns:a16="http://schemas.microsoft.com/office/drawing/2014/main" id="{B44A1B74-3A8B-C280-2DFB-BA1379570CB1}"/>
              </a:ext>
            </a:extLst>
          </p:cNvPr>
          <p:cNvSpPr/>
          <p:nvPr/>
        </p:nvSpPr>
        <p:spPr>
          <a:xfrm>
            <a:off x="8692587" y="1520825"/>
            <a:ext cx="3127942" cy="4791075"/>
          </a:xfrm>
          <a:prstGeom prst="rect">
            <a:avLst/>
          </a:pr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4">
            <a:extLst>
              <a:ext uri="{FF2B5EF4-FFF2-40B4-BE49-F238E27FC236}">
                <a16:creationId xmlns:a16="http://schemas.microsoft.com/office/drawing/2014/main" id="{064BEA66-1C41-2E5F-F2FE-31AB96946EAF}"/>
              </a:ext>
            </a:extLst>
          </p:cNvPr>
          <p:cNvSpPr txBox="1"/>
          <p:nvPr/>
        </p:nvSpPr>
        <p:spPr>
          <a:xfrm>
            <a:off x="8869339" y="1872380"/>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TextBox 25">
            <a:extLst>
              <a:ext uri="{FF2B5EF4-FFF2-40B4-BE49-F238E27FC236}">
                <a16:creationId xmlns:a16="http://schemas.microsoft.com/office/drawing/2014/main" id="{C1B5DAF9-9C81-61DB-6491-6062949EE4FD}"/>
              </a:ext>
            </a:extLst>
          </p:cNvPr>
          <p:cNvSpPr txBox="1"/>
          <p:nvPr/>
        </p:nvSpPr>
        <p:spPr>
          <a:xfrm>
            <a:off x="8869338" y="2540877"/>
            <a:ext cx="2679490" cy="553998"/>
          </a:xfrm>
          <a:prstGeom prst="rect">
            <a:avLst/>
          </a:prstGeom>
          <a:noFill/>
        </p:spPr>
        <p:txBody>
          <a:bodyPr wrap="square" lIns="0" tIns="0" rIns="0" bIns="0" rtlCol="0">
            <a:spAutoFit/>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cxnSp>
        <p:nvCxnSpPr>
          <p:cNvPr id="13" name="Conector recto 12">
            <a:extLst>
              <a:ext uri="{FF2B5EF4-FFF2-40B4-BE49-F238E27FC236}">
                <a16:creationId xmlns:a16="http://schemas.microsoft.com/office/drawing/2014/main" id="{B5BCAFFA-3904-0551-C044-78F6E55A2567}"/>
              </a:ext>
            </a:extLst>
          </p:cNvPr>
          <p:cNvCxnSpPr>
            <a:cxnSpLocks/>
          </p:cNvCxnSpPr>
          <p:nvPr/>
        </p:nvCxnSpPr>
        <p:spPr>
          <a:xfrm>
            <a:off x="8859506" y="2401094"/>
            <a:ext cx="13397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24">
            <a:extLst>
              <a:ext uri="{FF2B5EF4-FFF2-40B4-BE49-F238E27FC236}">
                <a16:creationId xmlns:a16="http://schemas.microsoft.com/office/drawing/2014/main" id="{F0A911D9-BF26-61F4-1724-37721F991C72}"/>
              </a:ext>
            </a:extLst>
          </p:cNvPr>
          <p:cNvSpPr txBox="1"/>
          <p:nvPr/>
        </p:nvSpPr>
        <p:spPr>
          <a:xfrm>
            <a:off x="570271" y="1535975"/>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293E9B99-1649-4D6F-DB5A-34695F41F3C6}"/>
              </a:ext>
            </a:extLst>
          </p:cNvPr>
          <p:cNvCxnSpPr>
            <a:cxnSpLocks/>
          </p:cNvCxnSpPr>
          <p:nvPr/>
        </p:nvCxnSpPr>
        <p:spPr>
          <a:xfrm>
            <a:off x="560438" y="1878422"/>
            <a:ext cx="766916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7AF4D17C-0A43-0AED-EA0D-BE90E671F85A}"/>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725BF4E7-49D4-6FB8-33C7-BF50B1BC373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2493038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211888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Elipse 6">
            <a:extLst>
              <a:ext uri="{FF2B5EF4-FFF2-40B4-BE49-F238E27FC236}">
                <a16:creationId xmlns:a16="http://schemas.microsoft.com/office/drawing/2014/main" id="{D6E904DC-1369-D039-B9F9-1A9DFB774341}"/>
              </a:ext>
            </a:extLst>
          </p:cNvPr>
          <p:cNvSpPr/>
          <p:nvPr/>
        </p:nvSpPr>
        <p:spPr>
          <a:xfrm>
            <a:off x="4311416" y="1986671"/>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Elipse 7">
            <a:extLst>
              <a:ext uri="{FF2B5EF4-FFF2-40B4-BE49-F238E27FC236}">
                <a16:creationId xmlns:a16="http://schemas.microsoft.com/office/drawing/2014/main" id="{B3E34636-AD9F-07F0-2EA9-602921213614}"/>
              </a:ext>
            </a:extLst>
          </p:cNvPr>
          <p:cNvSpPr/>
          <p:nvPr/>
        </p:nvSpPr>
        <p:spPr>
          <a:xfrm>
            <a:off x="6475733" y="198667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Elipse 8">
            <a:extLst>
              <a:ext uri="{FF2B5EF4-FFF2-40B4-BE49-F238E27FC236}">
                <a16:creationId xmlns:a16="http://schemas.microsoft.com/office/drawing/2014/main" id="{000930B7-915D-C5B2-A010-40A6A986BF54}"/>
              </a:ext>
            </a:extLst>
          </p:cNvPr>
          <p:cNvSpPr/>
          <p:nvPr/>
        </p:nvSpPr>
        <p:spPr>
          <a:xfrm>
            <a:off x="4311415" y="4150990"/>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Elipse 9">
            <a:extLst>
              <a:ext uri="{FF2B5EF4-FFF2-40B4-BE49-F238E27FC236}">
                <a16:creationId xmlns:a16="http://schemas.microsoft.com/office/drawing/2014/main" id="{FA7F2C5B-0E37-C1C4-0B20-3694C5809D53}"/>
              </a:ext>
            </a:extLst>
          </p:cNvPr>
          <p:cNvSpPr/>
          <p:nvPr/>
        </p:nvSpPr>
        <p:spPr>
          <a:xfrm>
            <a:off x="6475733" y="4110439"/>
            <a:ext cx="1415845" cy="1415845"/>
          </a:xfrm>
          <a:prstGeom prst="ellipse">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C937991D-1D56-48AE-376C-BC277A42FFBD}"/>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1871FA06-F6F2-4A4B-B9B2-D60ABBD228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576616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extLst>
              <p:ext uri="{D42A27DB-BD31-4B8C-83A1-F6EECF244321}">
                <p14:modId xmlns:p14="http://schemas.microsoft.com/office/powerpoint/2010/main" val="19446910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A0D4829B-8C92-3FA2-DE43-5F53471000A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dirty="0"/>
              <a:t>Template - Circular proces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Rectangle 89">
            <a:extLst>
              <a:ext uri="{FF2B5EF4-FFF2-40B4-BE49-F238E27FC236}">
                <a16:creationId xmlns:a16="http://schemas.microsoft.com/office/drawing/2014/main" id="{41022785-DF0E-8BE7-A3FE-9033D0BFBD9D}"/>
              </a:ext>
            </a:extLst>
          </p:cNvPr>
          <p:cNvSpPr/>
          <p:nvPr/>
        </p:nvSpPr>
        <p:spPr>
          <a:xfrm>
            <a:off x="5019339" y="2694595"/>
            <a:ext cx="2164316" cy="216431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Rectángulo 6">
            <a:extLst>
              <a:ext uri="{FF2B5EF4-FFF2-40B4-BE49-F238E27FC236}">
                <a16:creationId xmlns:a16="http://schemas.microsoft.com/office/drawing/2014/main" id="{D6E904DC-1369-D039-B9F9-1A9DFB774341}"/>
              </a:ext>
            </a:extLst>
          </p:cNvPr>
          <p:cNvSpPr/>
          <p:nvPr/>
        </p:nvSpPr>
        <p:spPr>
          <a:xfrm>
            <a:off x="4311416" y="1986671"/>
            <a:ext cx="1415845" cy="1415845"/>
          </a:xfrm>
          <a:prstGeom prst="rect">
            <a:avLst/>
          </a:prstGeom>
          <a:solidFill>
            <a:schemeClr val="tx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Rectángulo 7">
            <a:extLst>
              <a:ext uri="{FF2B5EF4-FFF2-40B4-BE49-F238E27FC236}">
                <a16:creationId xmlns:a16="http://schemas.microsoft.com/office/drawing/2014/main" id="{B3E34636-AD9F-07F0-2EA9-602921213614}"/>
              </a:ext>
            </a:extLst>
          </p:cNvPr>
          <p:cNvSpPr/>
          <p:nvPr/>
        </p:nvSpPr>
        <p:spPr>
          <a:xfrm>
            <a:off x="6475733" y="1986670"/>
            <a:ext cx="1415845" cy="1415845"/>
          </a:xfrm>
          <a:prstGeom prst="rect">
            <a:avLst/>
          </a:prstGeom>
          <a:gradFill>
            <a:gsLst>
              <a:gs pos="0">
                <a:schemeClr val="tx2"/>
              </a:gs>
              <a:gs pos="99000">
                <a:schemeClr val="accent1"/>
              </a:gs>
            </a:gsLst>
            <a:lin ang="2700000" scaled="0"/>
          </a:gra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ángulo 8">
            <a:extLst>
              <a:ext uri="{FF2B5EF4-FFF2-40B4-BE49-F238E27FC236}">
                <a16:creationId xmlns:a16="http://schemas.microsoft.com/office/drawing/2014/main" id="{000930B7-915D-C5B2-A010-40A6A986BF54}"/>
              </a:ext>
            </a:extLst>
          </p:cNvPr>
          <p:cNvSpPr/>
          <p:nvPr/>
        </p:nvSpPr>
        <p:spPr>
          <a:xfrm>
            <a:off x="4311415" y="4150990"/>
            <a:ext cx="1415845" cy="1415845"/>
          </a:xfrm>
          <a:prstGeom prst="rect">
            <a:avLst/>
          </a:prstGeom>
          <a:solidFill>
            <a:schemeClr val="accent3"/>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ángulo 9">
            <a:extLst>
              <a:ext uri="{FF2B5EF4-FFF2-40B4-BE49-F238E27FC236}">
                <a16:creationId xmlns:a16="http://schemas.microsoft.com/office/drawing/2014/main" id="{FA7F2C5B-0E37-C1C4-0B20-3694C5809D53}"/>
              </a:ext>
            </a:extLst>
          </p:cNvPr>
          <p:cNvSpPr/>
          <p:nvPr/>
        </p:nvSpPr>
        <p:spPr>
          <a:xfrm>
            <a:off x="6475733" y="4110439"/>
            <a:ext cx="1415845" cy="1415845"/>
          </a:xfrm>
          <a:prstGeom prst="rect">
            <a:avLst/>
          </a:prstGeom>
          <a:solidFill>
            <a:schemeClr val="accent2"/>
          </a:solidFill>
          <a:effectLst/>
        </p:spPr>
        <p:txBody>
          <a:bodyPr lIns="216000" rIns="89988" bIns="180000" anchor="b"/>
          <a:lstStyle/>
          <a:p>
            <a:pPr defTabSz="228554"/>
            <a:endParaRPr lang="en-US" dirty="0" err="1">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5" name="Grupo 14">
            <a:extLst>
              <a:ext uri="{FF2B5EF4-FFF2-40B4-BE49-F238E27FC236}">
                <a16:creationId xmlns:a16="http://schemas.microsoft.com/office/drawing/2014/main" id="{D6A21A04-1378-71D6-ACA3-756369FAA680}"/>
              </a:ext>
            </a:extLst>
          </p:cNvPr>
          <p:cNvGrpSpPr/>
          <p:nvPr/>
        </p:nvGrpSpPr>
        <p:grpSpPr>
          <a:xfrm>
            <a:off x="8123597" y="2129079"/>
            <a:ext cx="2679490" cy="989106"/>
            <a:chOff x="8123597" y="1942268"/>
            <a:chExt cx="2679490" cy="989106"/>
          </a:xfrm>
        </p:grpSpPr>
        <p:sp>
          <p:nvSpPr>
            <p:cNvPr id="13" name="TextBox 24">
              <a:extLst>
                <a:ext uri="{FF2B5EF4-FFF2-40B4-BE49-F238E27FC236}">
                  <a16:creationId xmlns:a16="http://schemas.microsoft.com/office/drawing/2014/main" id="{D720FE4B-A8E2-E166-2C79-8D2354D48CC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4" name="TextBox 25">
              <a:extLst>
                <a:ext uri="{FF2B5EF4-FFF2-40B4-BE49-F238E27FC236}">
                  <a16:creationId xmlns:a16="http://schemas.microsoft.com/office/drawing/2014/main" id="{7656AA2E-60EB-4ED3-BEBB-DC449E56BA38}"/>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6" name="Grupo 15">
            <a:extLst>
              <a:ext uri="{FF2B5EF4-FFF2-40B4-BE49-F238E27FC236}">
                <a16:creationId xmlns:a16="http://schemas.microsoft.com/office/drawing/2014/main" id="{4E592884-1A7F-40C0-B571-A0C05731329B}"/>
              </a:ext>
            </a:extLst>
          </p:cNvPr>
          <p:cNvGrpSpPr/>
          <p:nvPr/>
        </p:nvGrpSpPr>
        <p:grpSpPr>
          <a:xfrm>
            <a:off x="8123597" y="4150990"/>
            <a:ext cx="2679490" cy="989106"/>
            <a:chOff x="8123597" y="1942268"/>
            <a:chExt cx="2679490" cy="989106"/>
          </a:xfrm>
        </p:grpSpPr>
        <p:sp>
          <p:nvSpPr>
            <p:cNvPr id="17" name="TextBox 24">
              <a:extLst>
                <a:ext uri="{FF2B5EF4-FFF2-40B4-BE49-F238E27FC236}">
                  <a16:creationId xmlns:a16="http://schemas.microsoft.com/office/drawing/2014/main" id="{B1ACD3E2-7953-84D9-B934-CB3244D6D7B5}"/>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TextBox 25">
              <a:extLst>
                <a:ext uri="{FF2B5EF4-FFF2-40B4-BE49-F238E27FC236}">
                  <a16:creationId xmlns:a16="http://schemas.microsoft.com/office/drawing/2014/main" id="{C0C417A1-0024-0A24-8885-989954597836}"/>
                </a:ext>
              </a:extLst>
            </p:cNvPr>
            <p:cNvSpPr txBox="1"/>
            <p:nvPr/>
          </p:nvSpPr>
          <p:spPr>
            <a:xfrm>
              <a:off x="8123597" y="2377376"/>
              <a:ext cx="2679490" cy="553998"/>
            </a:xfrm>
            <a:prstGeom prst="rect">
              <a:avLst/>
            </a:prstGeom>
            <a:noFill/>
          </p:spPr>
          <p:txBody>
            <a:bodyPr wrap="square" lIns="0" tIns="0" rIns="0" bIns="0" rtlCol="0">
              <a:spAutoFit/>
            </a:bodyPr>
            <a:lstStyle/>
            <a:p>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9" name="Grupo 18">
            <a:extLst>
              <a:ext uri="{FF2B5EF4-FFF2-40B4-BE49-F238E27FC236}">
                <a16:creationId xmlns:a16="http://schemas.microsoft.com/office/drawing/2014/main" id="{D32D5CDD-51D2-D98D-98CD-0C4F442EF115}"/>
              </a:ext>
            </a:extLst>
          </p:cNvPr>
          <p:cNvGrpSpPr/>
          <p:nvPr/>
        </p:nvGrpSpPr>
        <p:grpSpPr>
          <a:xfrm>
            <a:off x="1399906" y="4150990"/>
            <a:ext cx="2679490" cy="1081439"/>
            <a:chOff x="8123597" y="1942268"/>
            <a:chExt cx="2679490" cy="1081439"/>
          </a:xfrm>
        </p:grpSpPr>
        <p:sp>
          <p:nvSpPr>
            <p:cNvPr id="20" name="TextBox 24">
              <a:extLst>
                <a:ext uri="{FF2B5EF4-FFF2-40B4-BE49-F238E27FC236}">
                  <a16:creationId xmlns:a16="http://schemas.microsoft.com/office/drawing/2014/main" id="{4E8BB330-02F7-8F80-D652-AC1BD2A4282B}"/>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F062B836-6800-2B6F-5094-A1D2C1D46C39}"/>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2" name="Grupo 21">
            <a:extLst>
              <a:ext uri="{FF2B5EF4-FFF2-40B4-BE49-F238E27FC236}">
                <a16:creationId xmlns:a16="http://schemas.microsoft.com/office/drawing/2014/main" id="{F2E758D4-EA48-8B97-6DEB-5D7EE7B2C87A}"/>
              </a:ext>
            </a:extLst>
          </p:cNvPr>
          <p:cNvGrpSpPr/>
          <p:nvPr/>
        </p:nvGrpSpPr>
        <p:grpSpPr>
          <a:xfrm>
            <a:off x="1399906" y="2153872"/>
            <a:ext cx="2679490" cy="989106"/>
            <a:chOff x="8123597" y="1942268"/>
            <a:chExt cx="2679490" cy="989106"/>
          </a:xfrm>
        </p:grpSpPr>
        <p:sp>
          <p:nvSpPr>
            <p:cNvPr id="23" name="TextBox 24">
              <a:extLst>
                <a:ext uri="{FF2B5EF4-FFF2-40B4-BE49-F238E27FC236}">
                  <a16:creationId xmlns:a16="http://schemas.microsoft.com/office/drawing/2014/main" id="{32A005E2-F78E-710B-E4B2-30058A2212AC}"/>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4" name="TextBox 25">
              <a:extLst>
                <a:ext uri="{FF2B5EF4-FFF2-40B4-BE49-F238E27FC236}">
                  <a16:creationId xmlns:a16="http://schemas.microsoft.com/office/drawing/2014/main" id="{1E1450EA-EEF5-FC61-05F2-E82019700019}"/>
                </a:ext>
              </a:extLst>
            </p:cNvPr>
            <p:cNvSpPr txBox="1"/>
            <p:nvPr/>
          </p:nvSpPr>
          <p:spPr>
            <a:xfrm>
              <a:off x="8123597" y="2377376"/>
              <a:ext cx="2679490" cy="553998"/>
            </a:xfrm>
            <a:prstGeom prst="rect">
              <a:avLst/>
            </a:prstGeom>
            <a:noFill/>
          </p:spPr>
          <p:txBody>
            <a:bodyPr wrap="square" lIns="0" tIns="0" rIns="0" bIns="0" rtlCol="0">
              <a:spAutoFit/>
            </a:bodyPr>
            <a:lstStyle/>
            <a:p>
              <a:pPr algn="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2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8" name="Grupo 42">
            <a:extLst>
              <a:ext uri="{FF2B5EF4-FFF2-40B4-BE49-F238E27FC236}">
                <a16:creationId xmlns:a16="http://schemas.microsoft.com/office/drawing/2014/main" id="{EAC50760-ECF1-A5A6-0219-1138BD393EF7}"/>
              </a:ext>
            </a:extLst>
          </p:cNvPr>
          <p:cNvGrpSpPr/>
          <p:nvPr/>
        </p:nvGrpSpPr>
        <p:grpSpPr>
          <a:xfrm>
            <a:off x="5954805" y="2224103"/>
            <a:ext cx="293384" cy="346931"/>
            <a:chOff x="3657318" y="2960019"/>
            <a:chExt cx="428407" cy="506598"/>
          </a:xfrm>
        </p:grpSpPr>
        <p:grpSp>
          <p:nvGrpSpPr>
            <p:cNvPr id="29" name="Grupo 43">
              <a:extLst>
                <a:ext uri="{FF2B5EF4-FFF2-40B4-BE49-F238E27FC236}">
                  <a16:creationId xmlns:a16="http://schemas.microsoft.com/office/drawing/2014/main" id="{DF772D5A-4538-0BFC-72AD-05BD556944EB}"/>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B198E558-DF1C-C615-1396-6AA6029B6DE3}"/>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6F3BE98D-9386-255E-12E4-493FA1FEFC6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26EC4FD9-0206-9B84-E50E-5F25A8BF2A3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o 42">
            <a:extLst>
              <a:ext uri="{FF2B5EF4-FFF2-40B4-BE49-F238E27FC236}">
                <a16:creationId xmlns:a16="http://schemas.microsoft.com/office/drawing/2014/main" id="{2728E3E8-A929-F528-E1C9-7669A052EF9A}"/>
              </a:ext>
            </a:extLst>
          </p:cNvPr>
          <p:cNvGrpSpPr/>
          <p:nvPr/>
        </p:nvGrpSpPr>
        <p:grpSpPr>
          <a:xfrm rot="5400000">
            <a:off x="7389689" y="3575571"/>
            <a:ext cx="293384" cy="346931"/>
            <a:chOff x="3657318" y="2960019"/>
            <a:chExt cx="428407" cy="506598"/>
          </a:xfrm>
        </p:grpSpPr>
        <p:grpSp>
          <p:nvGrpSpPr>
            <p:cNvPr id="34" name="Grupo 43">
              <a:extLst>
                <a:ext uri="{FF2B5EF4-FFF2-40B4-BE49-F238E27FC236}">
                  <a16:creationId xmlns:a16="http://schemas.microsoft.com/office/drawing/2014/main" id="{BECE3CFA-7B6A-A58A-8716-527BFA6A85F1}"/>
                </a:ext>
              </a:extLst>
            </p:cNvPr>
            <p:cNvGrpSpPr/>
            <p:nvPr/>
          </p:nvGrpSpPr>
          <p:grpSpPr>
            <a:xfrm>
              <a:off x="3828604" y="2960019"/>
              <a:ext cx="257121" cy="506598"/>
              <a:chOff x="2468880" y="3319199"/>
              <a:chExt cx="257121" cy="506598"/>
            </a:xfrm>
          </p:grpSpPr>
          <p:cxnSp>
            <p:nvCxnSpPr>
              <p:cNvPr id="36" name="Conector recto 45">
                <a:extLst>
                  <a:ext uri="{FF2B5EF4-FFF2-40B4-BE49-F238E27FC236}">
                    <a16:creationId xmlns:a16="http://schemas.microsoft.com/office/drawing/2014/main" id="{FA5308D1-2E36-6B95-396E-A03E8666794D}"/>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ector recto 46">
                <a:extLst>
                  <a:ext uri="{FF2B5EF4-FFF2-40B4-BE49-F238E27FC236}">
                    <a16:creationId xmlns:a16="http://schemas.microsoft.com/office/drawing/2014/main" id="{3C361247-081F-18A2-7157-C3F94F245419}"/>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Conector recto 44">
              <a:extLst>
                <a:ext uri="{FF2B5EF4-FFF2-40B4-BE49-F238E27FC236}">
                  <a16:creationId xmlns:a16="http://schemas.microsoft.com/office/drawing/2014/main" id="{3CF6049C-55C5-44B8-9A69-778B50667CB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o 42">
            <a:extLst>
              <a:ext uri="{FF2B5EF4-FFF2-40B4-BE49-F238E27FC236}">
                <a16:creationId xmlns:a16="http://schemas.microsoft.com/office/drawing/2014/main" id="{CEE4D417-FE7B-3DA9-76BF-008B4B0DD64E}"/>
              </a:ext>
            </a:extLst>
          </p:cNvPr>
          <p:cNvGrpSpPr/>
          <p:nvPr/>
        </p:nvGrpSpPr>
        <p:grpSpPr>
          <a:xfrm rot="16200000" flipV="1">
            <a:off x="4518685" y="3634222"/>
            <a:ext cx="293384" cy="346931"/>
            <a:chOff x="3657318" y="2960019"/>
            <a:chExt cx="428407" cy="506598"/>
          </a:xfrm>
        </p:grpSpPr>
        <p:grpSp>
          <p:nvGrpSpPr>
            <p:cNvPr id="39" name="Grupo 43">
              <a:extLst>
                <a:ext uri="{FF2B5EF4-FFF2-40B4-BE49-F238E27FC236}">
                  <a16:creationId xmlns:a16="http://schemas.microsoft.com/office/drawing/2014/main" id="{DC8C8F6D-1DAA-D7E9-7482-851BC25C7DBD}"/>
                </a:ext>
              </a:extLst>
            </p:cNvPr>
            <p:cNvGrpSpPr/>
            <p:nvPr/>
          </p:nvGrpSpPr>
          <p:grpSpPr>
            <a:xfrm>
              <a:off x="3828604" y="2960019"/>
              <a:ext cx="257121" cy="506598"/>
              <a:chOff x="2468880" y="3319199"/>
              <a:chExt cx="257121" cy="506598"/>
            </a:xfrm>
          </p:grpSpPr>
          <p:cxnSp>
            <p:nvCxnSpPr>
              <p:cNvPr id="41" name="Conector recto 45">
                <a:extLst>
                  <a:ext uri="{FF2B5EF4-FFF2-40B4-BE49-F238E27FC236}">
                    <a16:creationId xmlns:a16="http://schemas.microsoft.com/office/drawing/2014/main" id="{6CDD3705-8913-310D-F5A0-534F737A9F62}"/>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ector recto 46">
                <a:extLst>
                  <a:ext uri="{FF2B5EF4-FFF2-40B4-BE49-F238E27FC236}">
                    <a16:creationId xmlns:a16="http://schemas.microsoft.com/office/drawing/2014/main" id="{4CD99913-EDAB-3D0E-A11B-D6C41503D1C4}"/>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Conector recto 44">
              <a:extLst>
                <a:ext uri="{FF2B5EF4-FFF2-40B4-BE49-F238E27FC236}">
                  <a16:creationId xmlns:a16="http://schemas.microsoft.com/office/drawing/2014/main" id="{54524E90-1381-9930-EC28-65F7C5EDE86C}"/>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upo 42">
            <a:extLst>
              <a:ext uri="{FF2B5EF4-FFF2-40B4-BE49-F238E27FC236}">
                <a16:creationId xmlns:a16="http://schemas.microsoft.com/office/drawing/2014/main" id="{70CA818F-6C55-3F83-C646-ADB7F3BB6FA9}"/>
              </a:ext>
            </a:extLst>
          </p:cNvPr>
          <p:cNvGrpSpPr/>
          <p:nvPr/>
        </p:nvGrpSpPr>
        <p:grpSpPr>
          <a:xfrm flipH="1">
            <a:off x="5919648" y="5131313"/>
            <a:ext cx="293384" cy="346931"/>
            <a:chOff x="3657318" y="2960019"/>
            <a:chExt cx="428407" cy="506598"/>
          </a:xfrm>
        </p:grpSpPr>
        <p:grpSp>
          <p:nvGrpSpPr>
            <p:cNvPr id="44" name="Grupo 43">
              <a:extLst>
                <a:ext uri="{FF2B5EF4-FFF2-40B4-BE49-F238E27FC236}">
                  <a16:creationId xmlns:a16="http://schemas.microsoft.com/office/drawing/2014/main" id="{63084CD0-4DD4-6B23-4C25-6C77DC8CB868}"/>
                </a:ext>
              </a:extLst>
            </p:cNvPr>
            <p:cNvGrpSpPr/>
            <p:nvPr/>
          </p:nvGrpSpPr>
          <p:grpSpPr>
            <a:xfrm>
              <a:off x="3828604" y="2960019"/>
              <a:ext cx="257121" cy="506598"/>
              <a:chOff x="2468880" y="3319199"/>
              <a:chExt cx="257121" cy="506598"/>
            </a:xfrm>
          </p:grpSpPr>
          <p:cxnSp>
            <p:nvCxnSpPr>
              <p:cNvPr id="46" name="Conector recto 45">
                <a:extLst>
                  <a:ext uri="{FF2B5EF4-FFF2-40B4-BE49-F238E27FC236}">
                    <a16:creationId xmlns:a16="http://schemas.microsoft.com/office/drawing/2014/main" id="{355247FC-4EC5-F4B7-D271-A531EAA80607}"/>
                  </a:ext>
                </a:extLst>
              </p:cNvPr>
              <p:cNvCxnSpPr/>
              <p:nvPr/>
            </p:nvCxnSpPr>
            <p:spPr>
              <a:xfrm>
                <a:off x="2468880" y="3319199"/>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ector recto 46">
                <a:extLst>
                  <a:ext uri="{FF2B5EF4-FFF2-40B4-BE49-F238E27FC236}">
                    <a16:creationId xmlns:a16="http://schemas.microsoft.com/office/drawing/2014/main" id="{426BD83D-9154-DA9E-FA4E-C86662A6639F}"/>
                  </a:ext>
                </a:extLst>
              </p:cNvPr>
              <p:cNvCxnSpPr>
                <a:cxnSpLocks/>
              </p:cNvCxnSpPr>
              <p:nvPr/>
            </p:nvCxnSpPr>
            <p:spPr>
              <a:xfrm flipH="1">
                <a:off x="2468880" y="3568676"/>
                <a:ext cx="257121" cy="257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 name="Conector recto 44">
              <a:extLst>
                <a:ext uri="{FF2B5EF4-FFF2-40B4-BE49-F238E27FC236}">
                  <a16:creationId xmlns:a16="http://schemas.microsoft.com/office/drawing/2014/main" id="{5D8CC7B8-412E-F14F-7086-1D46C060A76B}"/>
                </a:ext>
              </a:extLst>
            </p:cNvPr>
            <p:cNvCxnSpPr>
              <a:cxnSpLocks/>
            </p:cNvCxnSpPr>
            <p:nvPr/>
          </p:nvCxnSpPr>
          <p:spPr>
            <a:xfrm>
              <a:off x="3657318" y="3213306"/>
              <a:ext cx="4148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extBox 24">
            <a:extLst>
              <a:ext uri="{FF2B5EF4-FFF2-40B4-BE49-F238E27FC236}">
                <a16:creationId xmlns:a16="http://schemas.microsoft.com/office/drawing/2014/main" id="{A4FFD342-268D-EFE8-DF73-2D20FE49CE9F}"/>
              </a:ext>
            </a:extLst>
          </p:cNvPr>
          <p:cNvSpPr txBox="1"/>
          <p:nvPr/>
        </p:nvSpPr>
        <p:spPr>
          <a:xfrm>
            <a:off x="5016730" y="3592087"/>
            <a:ext cx="2164313"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5" name="Footer Placeholder 4">
            <a:extLst>
              <a:ext uri="{FF2B5EF4-FFF2-40B4-BE49-F238E27FC236}">
                <a16:creationId xmlns:a16="http://schemas.microsoft.com/office/drawing/2014/main" id="{C8C3AA45-DCFB-6DEF-010F-953B0B67609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1457069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extLst>
              <p:ext uri="{D42A27DB-BD31-4B8C-83A1-F6EECF244321}">
                <p14:modId xmlns:p14="http://schemas.microsoft.com/office/powerpoint/2010/main" val="238554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570271"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9" name="Rectangle 89">
            <a:extLst>
              <a:ext uri="{FF2B5EF4-FFF2-40B4-BE49-F238E27FC236}">
                <a16:creationId xmlns:a16="http://schemas.microsoft.com/office/drawing/2014/main" id="{0ECCBAAC-6E26-65EC-968A-810CBB9ACB1C}"/>
              </a:ext>
            </a:extLst>
          </p:cNvPr>
          <p:cNvSpPr/>
          <p:nvPr/>
        </p:nvSpPr>
        <p:spPr>
          <a:xfrm>
            <a:off x="2454755" y="1896534"/>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Rectangle 8">
            <a:extLst>
              <a:ext uri="{FF2B5EF4-FFF2-40B4-BE49-F238E27FC236}">
                <a16:creationId xmlns:a16="http://schemas.microsoft.com/office/drawing/2014/main" id="{8E74036C-1AAE-B8FF-F3F3-2DBC4F8248EE}"/>
              </a:ext>
            </a:extLst>
          </p:cNvPr>
          <p:cNvSpPr/>
          <p:nvPr/>
        </p:nvSpPr>
        <p:spPr>
          <a:xfrm>
            <a:off x="384174"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570271"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Rectangle 89">
            <a:extLst>
              <a:ext uri="{FF2B5EF4-FFF2-40B4-BE49-F238E27FC236}">
                <a16:creationId xmlns:a16="http://schemas.microsoft.com/office/drawing/2014/main" id="{BCBF67E6-E5F9-0DB9-2FD3-157A72E7479F}"/>
              </a:ext>
            </a:extLst>
          </p:cNvPr>
          <p:cNvSpPr/>
          <p:nvPr/>
        </p:nvSpPr>
        <p:spPr>
          <a:xfrm>
            <a:off x="2454755" y="2802462"/>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384174"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570271"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5" name="Rectangle 89">
            <a:extLst>
              <a:ext uri="{FF2B5EF4-FFF2-40B4-BE49-F238E27FC236}">
                <a16:creationId xmlns:a16="http://schemas.microsoft.com/office/drawing/2014/main" id="{643F7EB3-4069-470F-086D-6E98C31D04EB}"/>
              </a:ext>
            </a:extLst>
          </p:cNvPr>
          <p:cNvSpPr/>
          <p:nvPr/>
        </p:nvSpPr>
        <p:spPr>
          <a:xfrm>
            <a:off x="2454755" y="3708390"/>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384174"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570271"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8" name="Rectangle 89">
            <a:extLst>
              <a:ext uri="{FF2B5EF4-FFF2-40B4-BE49-F238E27FC236}">
                <a16:creationId xmlns:a16="http://schemas.microsoft.com/office/drawing/2014/main" id="{2CFC5DFA-34A9-7DE4-EB59-996283F23FCC}"/>
              </a:ext>
            </a:extLst>
          </p:cNvPr>
          <p:cNvSpPr/>
          <p:nvPr/>
        </p:nvSpPr>
        <p:spPr>
          <a:xfrm>
            <a:off x="2454755" y="4616117"/>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384174"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570271"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r>
              <a:rPr lang="en-US" sz="1400"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Rectangle 89">
            <a:extLst>
              <a:ext uri="{FF2B5EF4-FFF2-40B4-BE49-F238E27FC236}">
                <a16:creationId xmlns:a16="http://schemas.microsoft.com/office/drawing/2014/main" id="{FD58A3F3-EE67-C852-9E00-C4D98D6BBD4B}"/>
              </a:ext>
            </a:extLst>
          </p:cNvPr>
          <p:cNvSpPr/>
          <p:nvPr/>
        </p:nvSpPr>
        <p:spPr>
          <a:xfrm>
            <a:off x="2454755" y="5525643"/>
            <a:ext cx="9365769"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 Sed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erspiciat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nd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mni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ste</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atus</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error si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volup</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te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ccus </a:t>
            </a:r>
            <a:r>
              <a:rPr lang="en-US" sz="1200" dirty="0" err="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tiu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dolor</a:t>
            </a:r>
          </a:p>
        </p:txBody>
      </p:sp>
      <p:sp>
        <p:nvSpPr>
          <p:cNvPr id="23" name="Rectangle 8">
            <a:extLst>
              <a:ext uri="{FF2B5EF4-FFF2-40B4-BE49-F238E27FC236}">
                <a16:creationId xmlns:a16="http://schemas.microsoft.com/office/drawing/2014/main" id="{37FC1529-36B9-5AC4-6D7C-EA7FEDF3BDAF}"/>
              </a:ext>
            </a:extLst>
          </p:cNvPr>
          <p:cNvSpPr/>
          <p:nvPr/>
        </p:nvSpPr>
        <p:spPr>
          <a:xfrm>
            <a:off x="384174"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defTabSz="914263"/>
            <a:endParaRPr lang="en-GB" sz="1000" b="1" dirty="0" err="1">
              <a:solidFill>
                <a:srgbClr val="FFFFFF"/>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560438" y="1732070"/>
            <a:ext cx="17468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454755" y="1398252"/>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444922" y="1740699"/>
            <a:ext cx="937560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7495BD-F381-031A-543C-6D2BA217F68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26169336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05140-2B4C-DFDB-782F-1D3D4DCE325E}"/>
              </a:ext>
            </a:extLst>
          </p:cNvPr>
          <p:cNvGraphicFramePr>
            <a:graphicFrameLocks noChangeAspect="1"/>
          </p:cNvGraphicFramePr>
          <p:nvPr>
            <p:custDataLst>
              <p:tags r:id="rId1"/>
            </p:custDataLst>
            <p:extLst>
              <p:ext uri="{D42A27DB-BD31-4B8C-83A1-F6EECF244321}">
                <p14:modId xmlns:p14="http://schemas.microsoft.com/office/powerpoint/2010/main" val="396525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8F05140-2B4C-DFDB-782F-1D3D4DCE325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A69708D-737F-CA2F-29B4-6C734339BEBF}"/>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35DAAD5F-096D-2472-3A5F-A080CB64B94C}"/>
              </a:ext>
            </a:extLst>
          </p:cNvPr>
          <p:cNvSpPr>
            <a:spLocks noGrp="1"/>
          </p:cNvSpPr>
          <p:nvPr>
            <p:ph type="title"/>
          </p:nvPr>
        </p:nvSpPr>
        <p:spPr/>
        <p:txBody>
          <a:bodyPr vert="horz"/>
          <a:lstStyle/>
          <a:p>
            <a:r>
              <a:rPr lang="en-US" dirty="0"/>
              <a:t>Template - Description slid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127">
            <a:extLst>
              <a:ext uri="{FF2B5EF4-FFF2-40B4-BE49-F238E27FC236}">
                <a16:creationId xmlns:a16="http://schemas.microsoft.com/office/drawing/2014/main" id="{F4C5F133-3FA0-1718-CCB2-B0CBC9F7CCF6}"/>
              </a:ext>
            </a:extLst>
          </p:cNvPr>
          <p:cNvSpPr txBox="1"/>
          <p:nvPr/>
        </p:nvSpPr>
        <p:spPr>
          <a:xfrm>
            <a:off x="795545" y="554011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TextBox 54">
            <a:extLst>
              <a:ext uri="{FF2B5EF4-FFF2-40B4-BE49-F238E27FC236}">
                <a16:creationId xmlns:a16="http://schemas.microsoft.com/office/drawing/2014/main" id="{58B361DE-31E5-794C-154E-AEB2F60076E2}"/>
              </a:ext>
            </a:extLst>
          </p:cNvPr>
          <p:cNvSpPr txBox="1"/>
          <p:nvPr/>
        </p:nvSpPr>
        <p:spPr>
          <a:xfrm>
            <a:off x="4831963" y="5839918"/>
            <a:ext cx="6618507"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TextBox 53">
            <a:extLst>
              <a:ext uri="{FF2B5EF4-FFF2-40B4-BE49-F238E27FC236}">
                <a16:creationId xmlns:a16="http://schemas.microsoft.com/office/drawing/2014/main" id="{44D30F00-F7B0-9EFC-5D85-A9623699C549}"/>
              </a:ext>
            </a:extLst>
          </p:cNvPr>
          <p:cNvSpPr txBox="1"/>
          <p:nvPr/>
        </p:nvSpPr>
        <p:spPr>
          <a:xfrm>
            <a:off x="1203830" y="5763951"/>
            <a:ext cx="2757619"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Rectangle 80">
            <a:extLst>
              <a:ext uri="{FF2B5EF4-FFF2-40B4-BE49-F238E27FC236}">
                <a16:creationId xmlns:a16="http://schemas.microsoft.com/office/drawing/2014/main" id="{E298F2A5-712F-7703-8009-29190DA57701}"/>
              </a:ext>
            </a:extLst>
          </p:cNvPr>
          <p:cNvSpPr/>
          <p:nvPr/>
        </p:nvSpPr>
        <p:spPr>
          <a:xfrm>
            <a:off x="536903" y="571302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Rectangle 81">
            <a:extLst>
              <a:ext uri="{FF2B5EF4-FFF2-40B4-BE49-F238E27FC236}">
                <a16:creationId xmlns:a16="http://schemas.microsoft.com/office/drawing/2014/main" id="{DA37C026-6084-7F39-FBCB-ECABAB8D2F39}"/>
              </a:ext>
            </a:extLst>
          </p:cNvPr>
          <p:cNvSpPr/>
          <p:nvPr/>
        </p:nvSpPr>
        <p:spPr>
          <a:xfrm>
            <a:off x="380012" y="553614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5</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Box 127">
            <a:extLst>
              <a:ext uri="{FF2B5EF4-FFF2-40B4-BE49-F238E27FC236}">
                <a16:creationId xmlns:a16="http://schemas.microsoft.com/office/drawing/2014/main" id="{4D80778B-E0C1-D965-145E-9CE7D9EE4715}"/>
              </a:ext>
            </a:extLst>
          </p:cNvPr>
          <p:cNvSpPr txBox="1"/>
          <p:nvPr/>
        </p:nvSpPr>
        <p:spPr>
          <a:xfrm>
            <a:off x="795545" y="1968946"/>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TextBox 53">
            <a:extLst>
              <a:ext uri="{FF2B5EF4-FFF2-40B4-BE49-F238E27FC236}">
                <a16:creationId xmlns:a16="http://schemas.microsoft.com/office/drawing/2014/main" id="{1AE642F4-8936-2326-25D2-2573BA99F551}"/>
              </a:ext>
            </a:extLst>
          </p:cNvPr>
          <p:cNvSpPr txBox="1"/>
          <p:nvPr/>
        </p:nvSpPr>
        <p:spPr>
          <a:xfrm>
            <a:off x="1203830" y="2188037"/>
            <a:ext cx="2617292" cy="322506"/>
          </a:xfrm>
          <a:prstGeom prst="rect">
            <a:avLst/>
          </a:prstGeom>
          <a:solidFill>
            <a:schemeClr val="bg1"/>
          </a:solidFill>
          <a:ln>
            <a:noFill/>
          </a:ln>
        </p:spPr>
        <p:txBody>
          <a:bodyPr wrap="square" lIns="0" tIns="108000" rIns="108000" bIns="72000" anchor="ctr">
            <a:noAutofit/>
          </a:bodyPr>
          <a:lstStyle/>
          <a:p>
            <a:pPr marR="0" lvl="0" indent="0" fontAlgn="auto">
              <a:lnSpc>
                <a:spcPct val="100000"/>
              </a:lnSpc>
              <a:spcBef>
                <a:spcPts val="0"/>
              </a:spcBef>
              <a:spcAft>
                <a:spcPts val="0"/>
              </a:spcAft>
              <a:buClrTx/>
              <a:buSzTx/>
              <a:buFontTx/>
              <a:buNone/>
              <a:tabLst/>
              <a:defRPr/>
            </a:pPr>
            <a:r>
              <a:rPr lang="en-GB" sz="12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sz="12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TextBox 54">
            <a:extLst>
              <a:ext uri="{FF2B5EF4-FFF2-40B4-BE49-F238E27FC236}">
                <a16:creationId xmlns:a16="http://schemas.microsoft.com/office/drawing/2014/main" id="{6AED9F42-E532-6CC6-B6C8-DF1EEA68AC96}"/>
              </a:ext>
            </a:extLst>
          </p:cNvPr>
          <p:cNvSpPr txBox="1"/>
          <p:nvPr/>
        </p:nvSpPr>
        <p:spPr>
          <a:xfrm>
            <a:off x="4821698" y="2283022"/>
            <a:ext cx="6523790"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Rectangle 2">
            <a:extLst>
              <a:ext uri="{FF2B5EF4-FFF2-40B4-BE49-F238E27FC236}">
                <a16:creationId xmlns:a16="http://schemas.microsoft.com/office/drawing/2014/main" id="{0157288E-B09D-0B3F-357B-D3C15BB0A1C9}"/>
              </a:ext>
            </a:extLst>
          </p:cNvPr>
          <p:cNvSpPr/>
          <p:nvPr/>
        </p:nvSpPr>
        <p:spPr>
          <a:xfrm>
            <a:off x="526571" y="2141145"/>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Rectangle 55">
            <a:extLst>
              <a:ext uri="{FF2B5EF4-FFF2-40B4-BE49-F238E27FC236}">
                <a16:creationId xmlns:a16="http://schemas.microsoft.com/office/drawing/2014/main" id="{51435BB2-A154-7A7A-61F9-22F914626F6B}"/>
              </a:ext>
            </a:extLst>
          </p:cNvPr>
          <p:cNvSpPr/>
          <p:nvPr/>
        </p:nvSpPr>
        <p:spPr>
          <a:xfrm>
            <a:off x="369680" y="1964267"/>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1" name="Grupo 42">
            <a:extLst>
              <a:ext uri="{FF2B5EF4-FFF2-40B4-BE49-F238E27FC236}">
                <a16:creationId xmlns:a16="http://schemas.microsoft.com/office/drawing/2014/main" id="{E1E26842-4702-6662-4C93-2A76D97A6D01}"/>
              </a:ext>
            </a:extLst>
          </p:cNvPr>
          <p:cNvGrpSpPr/>
          <p:nvPr/>
        </p:nvGrpSpPr>
        <p:grpSpPr>
          <a:xfrm rot="10800000" flipH="1">
            <a:off x="4260312" y="2220945"/>
            <a:ext cx="261754" cy="280370"/>
            <a:chOff x="3657318" y="2960019"/>
            <a:chExt cx="428407" cy="506598"/>
          </a:xfrm>
        </p:grpSpPr>
        <p:grpSp>
          <p:nvGrpSpPr>
            <p:cNvPr id="52" name="Grupo 43">
              <a:extLst>
                <a:ext uri="{FF2B5EF4-FFF2-40B4-BE49-F238E27FC236}">
                  <a16:creationId xmlns:a16="http://schemas.microsoft.com/office/drawing/2014/main" id="{8642B8DA-CBB2-EA67-28E8-B2D5719F19C2}"/>
                </a:ext>
              </a:extLst>
            </p:cNvPr>
            <p:cNvGrpSpPr/>
            <p:nvPr/>
          </p:nvGrpSpPr>
          <p:grpSpPr>
            <a:xfrm>
              <a:off x="3828604" y="2960019"/>
              <a:ext cx="257121" cy="506598"/>
              <a:chOff x="2468880" y="3319199"/>
              <a:chExt cx="257121" cy="506598"/>
            </a:xfrm>
          </p:grpSpPr>
          <p:cxnSp>
            <p:nvCxnSpPr>
              <p:cNvPr id="54" name="Conector recto 45">
                <a:extLst>
                  <a:ext uri="{FF2B5EF4-FFF2-40B4-BE49-F238E27FC236}">
                    <a16:creationId xmlns:a16="http://schemas.microsoft.com/office/drawing/2014/main" id="{CC6E4D88-B40C-B897-6EA7-D228142E0E62}"/>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ector recto 46">
                <a:extLst>
                  <a:ext uri="{FF2B5EF4-FFF2-40B4-BE49-F238E27FC236}">
                    <a16:creationId xmlns:a16="http://schemas.microsoft.com/office/drawing/2014/main" id="{25B12FED-B70F-BC37-4AF3-57538EBDFE08}"/>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3" name="Conector recto 44">
              <a:extLst>
                <a:ext uri="{FF2B5EF4-FFF2-40B4-BE49-F238E27FC236}">
                  <a16:creationId xmlns:a16="http://schemas.microsoft.com/office/drawing/2014/main" id="{FB8A55DF-8512-6E05-5DAD-7AC77CA8EB6F}"/>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 name="TextBox 127">
            <a:extLst>
              <a:ext uri="{FF2B5EF4-FFF2-40B4-BE49-F238E27FC236}">
                <a16:creationId xmlns:a16="http://schemas.microsoft.com/office/drawing/2014/main" id="{06CD2015-F3BF-29A5-F7DD-7F1D2D16A78E}"/>
              </a:ext>
            </a:extLst>
          </p:cNvPr>
          <p:cNvSpPr txBox="1"/>
          <p:nvPr/>
        </p:nvSpPr>
        <p:spPr>
          <a:xfrm>
            <a:off x="795545" y="2861810"/>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Box 53">
            <a:extLst>
              <a:ext uri="{FF2B5EF4-FFF2-40B4-BE49-F238E27FC236}">
                <a16:creationId xmlns:a16="http://schemas.microsoft.com/office/drawing/2014/main" id="{4DE0FCDE-6424-FD63-D33E-0B84271393BD}"/>
              </a:ext>
            </a:extLst>
          </p:cNvPr>
          <p:cNvSpPr txBox="1"/>
          <p:nvPr/>
        </p:nvSpPr>
        <p:spPr>
          <a:xfrm>
            <a:off x="1203830" y="3092184"/>
            <a:ext cx="2962873" cy="304501"/>
          </a:xfrm>
          <a:prstGeom prst="rect">
            <a:avLst/>
          </a:prstGeom>
          <a:solidFill>
            <a:schemeClr val="bg1"/>
          </a:solidFill>
          <a:ln>
            <a:noFill/>
          </a:ln>
        </p:spPr>
        <p:txBody>
          <a:bodyPr wrap="square" lIns="0" tIns="108000" rIns="108000" bIns="72000" anchor="ctr">
            <a:noAutofit/>
          </a:bodyPr>
          <a:lstStyle>
            <a:defPPr>
              <a:defRPr lang="en-US"/>
            </a:defPPr>
            <a:lvl1pPr marR="0" lvl="0" indent="0" fontAlgn="auto">
              <a:lnSpc>
                <a:spcPct val="100000"/>
              </a:lnSpc>
              <a:spcBef>
                <a:spcPts val="0"/>
              </a:spcBef>
              <a:spcAft>
                <a:spcPts val="0"/>
              </a:spcAft>
              <a:buClrTx/>
              <a:buSzTx/>
              <a:buFontTx/>
              <a:buNone/>
              <a:tabLst/>
              <a:defRPr sz="1200">
                <a:solidFill>
                  <a:schemeClr val="accent2"/>
                </a:solidFill>
                <a:latin typeface="Franklin Gothic Medium" panose="020B0603020102020204" pitchFamily="34" charset="0"/>
                <a:cs typeface="Poppins SemiBold" panose="02000000000000000000" pitchFamily="2" charset="0"/>
              </a:defRPr>
            </a:lvl1pPr>
          </a:lstStyle>
          <a:p>
            <a:r>
              <a:rPr lang="en-GB" b="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GB"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Rectangle 71">
            <a:extLst>
              <a:ext uri="{FF2B5EF4-FFF2-40B4-BE49-F238E27FC236}">
                <a16:creationId xmlns:a16="http://schemas.microsoft.com/office/drawing/2014/main" id="{15753948-2C85-1334-8273-E4DD8B243E11}"/>
              </a:ext>
            </a:extLst>
          </p:cNvPr>
          <p:cNvSpPr/>
          <p:nvPr/>
        </p:nvSpPr>
        <p:spPr>
          <a:xfrm>
            <a:off x="534600" y="3035239"/>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Rectangle 72">
            <a:extLst>
              <a:ext uri="{FF2B5EF4-FFF2-40B4-BE49-F238E27FC236}">
                <a16:creationId xmlns:a16="http://schemas.microsoft.com/office/drawing/2014/main" id="{5A3523F6-C060-E9B4-F209-DBC96B053C51}"/>
              </a:ext>
            </a:extLst>
          </p:cNvPr>
          <p:cNvSpPr/>
          <p:nvPr/>
        </p:nvSpPr>
        <p:spPr>
          <a:xfrm>
            <a:off x="377709" y="2858360"/>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4" name="TextBox 54">
            <a:extLst>
              <a:ext uri="{FF2B5EF4-FFF2-40B4-BE49-F238E27FC236}">
                <a16:creationId xmlns:a16="http://schemas.microsoft.com/office/drawing/2014/main" id="{FC694D92-1B84-05AA-20AB-B0026A1C3D4E}"/>
              </a:ext>
            </a:extLst>
          </p:cNvPr>
          <p:cNvSpPr txBox="1"/>
          <p:nvPr/>
        </p:nvSpPr>
        <p:spPr>
          <a:xfrm>
            <a:off x="4821698" y="3178166"/>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56" name="Grupo 42">
            <a:extLst>
              <a:ext uri="{FF2B5EF4-FFF2-40B4-BE49-F238E27FC236}">
                <a16:creationId xmlns:a16="http://schemas.microsoft.com/office/drawing/2014/main" id="{F3B77E5D-AD3A-F731-3AFA-34D78070163F}"/>
              </a:ext>
            </a:extLst>
          </p:cNvPr>
          <p:cNvGrpSpPr/>
          <p:nvPr/>
        </p:nvGrpSpPr>
        <p:grpSpPr>
          <a:xfrm rot="10800000" flipH="1">
            <a:off x="4260312" y="3112719"/>
            <a:ext cx="261754" cy="280370"/>
            <a:chOff x="3657318" y="2960019"/>
            <a:chExt cx="428407" cy="506598"/>
          </a:xfrm>
        </p:grpSpPr>
        <p:grpSp>
          <p:nvGrpSpPr>
            <p:cNvPr id="57" name="Grupo 43">
              <a:extLst>
                <a:ext uri="{FF2B5EF4-FFF2-40B4-BE49-F238E27FC236}">
                  <a16:creationId xmlns:a16="http://schemas.microsoft.com/office/drawing/2014/main" id="{75715A81-FEF6-67B9-663A-63CDE900ED50}"/>
                </a:ext>
              </a:extLst>
            </p:cNvPr>
            <p:cNvGrpSpPr/>
            <p:nvPr/>
          </p:nvGrpSpPr>
          <p:grpSpPr>
            <a:xfrm>
              <a:off x="3828604" y="2960019"/>
              <a:ext cx="257121" cy="506598"/>
              <a:chOff x="2468880" y="3319199"/>
              <a:chExt cx="257121" cy="506598"/>
            </a:xfrm>
          </p:grpSpPr>
          <p:cxnSp>
            <p:nvCxnSpPr>
              <p:cNvPr id="59" name="Conector recto 45">
                <a:extLst>
                  <a:ext uri="{FF2B5EF4-FFF2-40B4-BE49-F238E27FC236}">
                    <a16:creationId xmlns:a16="http://schemas.microsoft.com/office/drawing/2014/main" id="{86C25853-62B9-131F-69A3-5D214395465F}"/>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ector recto 46">
                <a:extLst>
                  <a:ext uri="{FF2B5EF4-FFF2-40B4-BE49-F238E27FC236}">
                    <a16:creationId xmlns:a16="http://schemas.microsoft.com/office/drawing/2014/main" id="{02E3D6FB-1DB1-6F8A-3EB8-0692AD5BF15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8" name="Conector recto 44">
              <a:extLst>
                <a:ext uri="{FF2B5EF4-FFF2-40B4-BE49-F238E27FC236}">
                  <a16:creationId xmlns:a16="http://schemas.microsoft.com/office/drawing/2014/main" id="{9ED97EDA-D68F-F4AE-39D9-9BCDD0A45558}"/>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TextBox 127">
            <a:extLst>
              <a:ext uri="{FF2B5EF4-FFF2-40B4-BE49-F238E27FC236}">
                <a16:creationId xmlns:a16="http://schemas.microsoft.com/office/drawing/2014/main" id="{9997D038-B041-4689-8000-BCC8DAACCF72}"/>
              </a:ext>
            </a:extLst>
          </p:cNvPr>
          <p:cNvSpPr txBox="1"/>
          <p:nvPr/>
        </p:nvSpPr>
        <p:spPr>
          <a:xfrm>
            <a:off x="795545" y="3754768"/>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TextBox 53">
            <a:extLst>
              <a:ext uri="{FF2B5EF4-FFF2-40B4-BE49-F238E27FC236}">
                <a16:creationId xmlns:a16="http://schemas.microsoft.com/office/drawing/2014/main" id="{B43915DD-5038-2D08-1957-84763585DD61}"/>
              </a:ext>
            </a:extLst>
          </p:cNvPr>
          <p:cNvSpPr txBox="1"/>
          <p:nvPr/>
        </p:nvSpPr>
        <p:spPr>
          <a:xfrm>
            <a:off x="1203830" y="3983989"/>
            <a:ext cx="3024438"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Rectangle 74">
            <a:extLst>
              <a:ext uri="{FF2B5EF4-FFF2-40B4-BE49-F238E27FC236}">
                <a16:creationId xmlns:a16="http://schemas.microsoft.com/office/drawing/2014/main" id="{64785726-6485-7274-E159-1E4DADDFC60B}"/>
              </a:ext>
            </a:extLst>
          </p:cNvPr>
          <p:cNvSpPr/>
          <p:nvPr/>
        </p:nvSpPr>
        <p:spPr>
          <a:xfrm>
            <a:off x="541645" y="3928103"/>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Rectangle 75">
            <a:extLst>
              <a:ext uri="{FF2B5EF4-FFF2-40B4-BE49-F238E27FC236}">
                <a16:creationId xmlns:a16="http://schemas.microsoft.com/office/drawing/2014/main" id="{65A6ED33-F8B9-EC3C-4A0A-5D4AB459B808}"/>
              </a:ext>
            </a:extLst>
          </p:cNvPr>
          <p:cNvSpPr/>
          <p:nvPr/>
        </p:nvSpPr>
        <p:spPr>
          <a:xfrm>
            <a:off x="384754" y="3751224"/>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TextBox 54">
            <a:extLst>
              <a:ext uri="{FF2B5EF4-FFF2-40B4-BE49-F238E27FC236}">
                <a16:creationId xmlns:a16="http://schemas.microsoft.com/office/drawing/2014/main" id="{13A470E0-AF3A-AC6E-19FC-76B86A1A3E46}"/>
              </a:ext>
            </a:extLst>
          </p:cNvPr>
          <p:cNvSpPr txBox="1"/>
          <p:nvPr/>
        </p:nvSpPr>
        <p:spPr>
          <a:xfrm>
            <a:off x="4821698" y="4069971"/>
            <a:ext cx="6559244"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1" name="Grupo 42">
            <a:extLst>
              <a:ext uri="{FF2B5EF4-FFF2-40B4-BE49-F238E27FC236}">
                <a16:creationId xmlns:a16="http://schemas.microsoft.com/office/drawing/2014/main" id="{89A72311-71CA-3B90-185D-942EFCF8C647}"/>
              </a:ext>
            </a:extLst>
          </p:cNvPr>
          <p:cNvGrpSpPr/>
          <p:nvPr/>
        </p:nvGrpSpPr>
        <p:grpSpPr>
          <a:xfrm rot="10800000" flipH="1">
            <a:off x="4260312" y="4004588"/>
            <a:ext cx="261754" cy="280370"/>
            <a:chOff x="3657318" y="2960019"/>
            <a:chExt cx="428407" cy="506598"/>
          </a:xfrm>
        </p:grpSpPr>
        <p:grpSp>
          <p:nvGrpSpPr>
            <p:cNvPr id="62" name="Grupo 43">
              <a:extLst>
                <a:ext uri="{FF2B5EF4-FFF2-40B4-BE49-F238E27FC236}">
                  <a16:creationId xmlns:a16="http://schemas.microsoft.com/office/drawing/2014/main" id="{F168540A-2DE4-B581-5121-F8BE83E02E9C}"/>
                </a:ext>
              </a:extLst>
            </p:cNvPr>
            <p:cNvGrpSpPr/>
            <p:nvPr/>
          </p:nvGrpSpPr>
          <p:grpSpPr>
            <a:xfrm>
              <a:off x="3828604" y="2960019"/>
              <a:ext cx="257121" cy="506598"/>
              <a:chOff x="2468880" y="3319199"/>
              <a:chExt cx="257121" cy="506598"/>
            </a:xfrm>
          </p:grpSpPr>
          <p:cxnSp>
            <p:nvCxnSpPr>
              <p:cNvPr id="64" name="Conector recto 45">
                <a:extLst>
                  <a:ext uri="{FF2B5EF4-FFF2-40B4-BE49-F238E27FC236}">
                    <a16:creationId xmlns:a16="http://schemas.microsoft.com/office/drawing/2014/main" id="{6583039A-6CB7-36EB-1F89-8D9B452AE52D}"/>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ector recto 46">
                <a:extLst>
                  <a:ext uri="{FF2B5EF4-FFF2-40B4-BE49-F238E27FC236}">
                    <a16:creationId xmlns:a16="http://schemas.microsoft.com/office/drawing/2014/main" id="{9B6FF801-DAF7-9267-C9DF-1821DD26376E}"/>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Conector recto 44">
              <a:extLst>
                <a:ext uri="{FF2B5EF4-FFF2-40B4-BE49-F238E27FC236}">
                  <a16:creationId xmlns:a16="http://schemas.microsoft.com/office/drawing/2014/main" id="{203DFAAB-15A3-ABF4-C111-9E329A44284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extBox 127">
            <a:extLst>
              <a:ext uri="{FF2B5EF4-FFF2-40B4-BE49-F238E27FC236}">
                <a16:creationId xmlns:a16="http://schemas.microsoft.com/office/drawing/2014/main" id="{5A979EB2-6D4C-51E9-7C7F-50B9F354B021}"/>
              </a:ext>
            </a:extLst>
          </p:cNvPr>
          <p:cNvSpPr txBox="1"/>
          <p:nvPr/>
        </p:nvSpPr>
        <p:spPr>
          <a:xfrm>
            <a:off x="795545" y="4650705"/>
            <a:ext cx="11024979" cy="776427"/>
          </a:xfrm>
          <a:prstGeom prst="rect">
            <a:avLst/>
          </a:prstGeom>
          <a:noFill/>
          <a:ln w="3175">
            <a:solidFill>
              <a:schemeClr val="tx1"/>
            </a:solidFill>
          </a:ln>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TextBox 53">
            <a:extLst>
              <a:ext uri="{FF2B5EF4-FFF2-40B4-BE49-F238E27FC236}">
                <a16:creationId xmlns:a16="http://schemas.microsoft.com/office/drawing/2014/main" id="{12B7456C-5DA7-251A-C7D5-19ACF69496AF}"/>
              </a:ext>
            </a:extLst>
          </p:cNvPr>
          <p:cNvSpPr txBox="1"/>
          <p:nvPr/>
        </p:nvSpPr>
        <p:spPr>
          <a:xfrm>
            <a:off x="1203830" y="4879879"/>
            <a:ext cx="2956221" cy="304501"/>
          </a:xfrm>
          <a:prstGeom prst="rect">
            <a:avLst/>
          </a:prstGeom>
          <a:solidFill>
            <a:schemeClr val="bg1"/>
          </a:solidFill>
          <a:ln>
            <a:noFill/>
          </a:ln>
        </p:spPr>
        <p:txBody>
          <a:bodyPr wrap="square" lIns="0" tIns="108000" rIns="108000" bIns="7200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kumimoji="0" lang="en-US" sz="1200" b="1" i="0" u="none" strike="noStrike" kern="1200" cap="none" spc="0" normalizeH="0" baseline="0" noProof="0" dirty="0">
              <a:ln>
                <a:noFill/>
              </a:ln>
              <a:solidFill>
                <a:schemeClr val="accent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77">
            <a:extLst>
              <a:ext uri="{FF2B5EF4-FFF2-40B4-BE49-F238E27FC236}">
                <a16:creationId xmlns:a16="http://schemas.microsoft.com/office/drawing/2014/main" id="{65986945-2067-01A9-F636-5211C0104CE0}"/>
              </a:ext>
            </a:extLst>
          </p:cNvPr>
          <p:cNvSpPr/>
          <p:nvPr/>
        </p:nvSpPr>
        <p:spPr>
          <a:xfrm>
            <a:off x="532494" y="4821060"/>
            <a:ext cx="520368" cy="425748"/>
          </a:xfrm>
          <a:prstGeom prst="rect">
            <a:avLst/>
          </a:prstGeom>
          <a:gradFill>
            <a:gsLst>
              <a:gs pos="0">
                <a:schemeClr val="tx2"/>
              </a:gs>
              <a:gs pos="99000">
                <a:schemeClr val="accent1"/>
              </a:gs>
            </a:gsLst>
            <a:lin ang="2700000" scaled="0"/>
          </a:gradFill>
          <a:effectLst/>
        </p:spPr>
        <p:txBody>
          <a:bodyPr lIns="360000" tIns="36000" rIns="89988" bIns="36000" anchor="ctr"/>
          <a:lstStyle/>
          <a:p>
            <a:pPr defTabSz="228554"/>
            <a:endParaRPr lang="en-GB"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78">
            <a:extLst>
              <a:ext uri="{FF2B5EF4-FFF2-40B4-BE49-F238E27FC236}">
                <a16:creationId xmlns:a16="http://schemas.microsoft.com/office/drawing/2014/main" id="{4313BE18-6038-9B8B-7472-A579B0F2A46C}"/>
              </a:ext>
            </a:extLst>
          </p:cNvPr>
          <p:cNvSpPr/>
          <p:nvPr/>
        </p:nvSpPr>
        <p:spPr>
          <a:xfrm>
            <a:off x="375603" y="4644181"/>
            <a:ext cx="239329" cy="22175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endPar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TextBox 54">
            <a:extLst>
              <a:ext uri="{FF2B5EF4-FFF2-40B4-BE49-F238E27FC236}">
                <a16:creationId xmlns:a16="http://schemas.microsoft.com/office/drawing/2014/main" id="{EE7CFA92-9BE5-63A2-6A99-495B76B496DF}"/>
              </a:ext>
            </a:extLst>
          </p:cNvPr>
          <p:cNvSpPr txBox="1"/>
          <p:nvPr/>
        </p:nvSpPr>
        <p:spPr>
          <a:xfrm>
            <a:off x="4827428" y="4965861"/>
            <a:ext cx="6623042" cy="153330"/>
          </a:xfrm>
          <a:prstGeom prst="rect">
            <a:avLst/>
          </a:prstGeom>
          <a:noFill/>
          <a:ln w="6350">
            <a:noFill/>
            <a:prstDash val="dash"/>
          </a:ln>
        </p:spPr>
        <p:txBody>
          <a:bodyPr wrap="square" lIns="0" tIns="0" rIns="0" bIns="0" rtlCol="0" anchor="ctr">
            <a:noAutofit/>
          </a:bodyPr>
          <a:lstStyle/>
          <a:p>
            <a:r>
              <a:rPr lang="en-US" sz="11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d ut perspiciatis unde omnis iste natus error sit volup tatem accus antium dolor</a:t>
            </a:r>
            <a:endParaRPr lang="en-US" sz="1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66" name="Grupo 42">
            <a:extLst>
              <a:ext uri="{FF2B5EF4-FFF2-40B4-BE49-F238E27FC236}">
                <a16:creationId xmlns:a16="http://schemas.microsoft.com/office/drawing/2014/main" id="{0108B9B9-C03E-AC87-916D-9E0EFCCCF72B}"/>
              </a:ext>
            </a:extLst>
          </p:cNvPr>
          <p:cNvGrpSpPr/>
          <p:nvPr/>
        </p:nvGrpSpPr>
        <p:grpSpPr>
          <a:xfrm rot="10800000" flipH="1">
            <a:off x="4260312" y="4899434"/>
            <a:ext cx="261754" cy="280370"/>
            <a:chOff x="3657318" y="2960019"/>
            <a:chExt cx="428407" cy="506598"/>
          </a:xfrm>
        </p:grpSpPr>
        <p:grpSp>
          <p:nvGrpSpPr>
            <p:cNvPr id="67" name="Grupo 43">
              <a:extLst>
                <a:ext uri="{FF2B5EF4-FFF2-40B4-BE49-F238E27FC236}">
                  <a16:creationId xmlns:a16="http://schemas.microsoft.com/office/drawing/2014/main" id="{7C52AB68-452E-C870-02BA-8CCC4E7D20F2}"/>
                </a:ext>
              </a:extLst>
            </p:cNvPr>
            <p:cNvGrpSpPr/>
            <p:nvPr/>
          </p:nvGrpSpPr>
          <p:grpSpPr>
            <a:xfrm>
              <a:off x="3828604" y="2960019"/>
              <a:ext cx="257121" cy="506598"/>
              <a:chOff x="2468880" y="3319199"/>
              <a:chExt cx="257121" cy="506598"/>
            </a:xfrm>
          </p:grpSpPr>
          <p:cxnSp>
            <p:nvCxnSpPr>
              <p:cNvPr id="69" name="Conector recto 45">
                <a:extLst>
                  <a:ext uri="{FF2B5EF4-FFF2-40B4-BE49-F238E27FC236}">
                    <a16:creationId xmlns:a16="http://schemas.microsoft.com/office/drawing/2014/main" id="{A4957C08-3B27-73D1-B244-E8FA710A4CE7}"/>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Conector recto 46">
                <a:extLst>
                  <a:ext uri="{FF2B5EF4-FFF2-40B4-BE49-F238E27FC236}">
                    <a16:creationId xmlns:a16="http://schemas.microsoft.com/office/drawing/2014/main" id="{2166B261-935C-5BC9-9294-230CEE68355D}"/>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 name="Conector recto 44">
              <a:extLst>
                <a:ext uri="{FF2B5EF4-FFF2-40B4-BE49-F238E27FC236}">
                  <a16:creationId xmlns:a16="http://schemas.microsoft.com/office/drawing/2014/main" id="{151311A3-333E-21A1-C0FD-F5A799432233}"/>
                </a:ext>
              </a:extLst>
            </p:cNvPr>
            <p:cNvCxnSpPr>
              <a:cxnSpLocks/>
            </p:cNvCxnSpPr>
            <p:nvPr/>
          </p:nvCxnSpPr>
          <p:spPr>
            <a:xfrm>
              <a:off x="3657318" y="3213306"/>
              <a:ext cx="41481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upo 43">
            <a:extLst>
              <a:ext uri="{FF2B5EF4-FFF2-40B4-BE49-F238E27FC236}">
                <a16:creationId xmlns:a16="http://schemas.microsoft.com/office/drawing/2014/main" id="{A6FAD745-08ED-FDB3-AC8C-35EFBAE7CA90}"/>
              </a:ext>
            </a:extLst>
          </p:cNvPr>
          <p:cNvGrpSpPr/>
          <p:nvPr/>
        </p:nvGrpSpPr>
        <p:grpSpPr>
          <a:xfrm rot="10800000" flipH="1">
            <a:off x="4364967" y="5787756"/>
            <a:ext cx="157099" cy="280370"/>
            <a:chOff x="2468880" y="3319199"/>
            <a:chExt cx="257121" cy="506598"/>
          </a:xfrm>
        </p:grpSpPr>
        <p:cxnSp>
          <p:nvCxnSpPr>
            <p:cNvPr id="74" name="Conector recto 45">
              <a:extLst>
                <a:ext uri="{FF2B5EF4-FFF2-40B4-BE49-F238E27FC236}">
                  <a16:creationId xmlns:a16="http://schemas.microsoft.com/office/drawing/2014/main" id="{876933E7-CC21-3A21-233F-AA67D558E858}"/>
                </a:ext>
              </a:extLst>
            </p:cNvPr>
            <p:cNvCxnSpPr/>
            <p:nvPr/>
          </p:nvCxnSpPr>
          <p:spPr>
            <a:xfrm>
              <a:off x="2468880" y="3319199"/>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Conector recto 46">
              <a:extLst>
                <a:ext uri="{FF2B5EF4-FFF2-40B4-BE49-F238E27FC236}">
                  <a16:creationId xmlns:a16="http://schemas.microsoft.com/office/drawing/2014/main" id="{89FCC356-9533-8002-FF4E-DB8DB223B240}"/>
                </a:ext>
              </a:extLst>
            </p:cNvPr>
            <p:cNvCxnSpPr>
              <a:cxnSpLocks/>
            </p:cNvCxnSpPr>
            <p:nvPr/>
          </p:nvCxnSpPr>
          <p:spPr>
            <a:xfrm flipH="1">
              <a:off x="2468880" y="3568676"/>
              <a:ext cx="257121" cy="2571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 name="Conector recto 44">
            <a:extLst>
              <a:ext uri="{FF2B5EF4-FFF2-40B4-BE49-F238E27FC236}">
                <a16:creationId xmlns:a16="http://schemas.microsoft.com/office/drawing/2014/main" id="{F0B78446-ADA9-AB56-CD53-0054B518BC96}"/>
              </a:ext>
            </a:extLst>
          </p:cNvPr>
          <p:cNvCxnSpPr>
            <a:cxnSpLocks/>
          </p:cNvCxnSpPr>
          <p:nvPr/>
        </p:nvCxnSpPr>
        <p:spPr>
          <a:xfrm rot="10800000" flipH="1">
            <a:off x="4260312" y="5927947"/>
            <a:ext cx="25344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24">
            <a:extLst>
              <a:ext uri="{FF2B5EF4-FFF2-40B4-BE49-F238E27FC236}">
                <a16:creationId xmlns:a16="http://schemas.microsoft.com/office/drawing/2014/main" id="{C0940F2B-D06A-3775-922B-5C7CDFF47D72}"/>
              </a:ext>
            </a:extLst>
          </p:cNvPr>
          <p:cNvSpPr txBox="1"/>
          <p:nvPr/>
        </p:nvSpPr>
        <p:spPr>
          <a:xfrm>
            <a:off x="570271" y="1389623"/>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9" name="Conector recto 9">
            <a:extLst>
              <a:ext uri="{FF2B5EF4-FFF2-40B4-BE49-F238E27FC236}">
                <a16:creationId xmlns:a16="http://schemas.microsoft.com/office/drawing/2014/main" id="{9C4FD6F0-638E-7493-D2E4-968903D00C3E}"/>
              </a:ext>
            </a:extLst>
          </p:cNvPr>
          <p:cNvCxnSpPr>
            <a:cxnSpLocks/>
          </p:cNvCxnSpPr>
          <p:nvPr/>
        </p:nvCxnSpPr>
        <p:spPr>
          <a:xfrm>
            <a:off x="560438" y="1732070"/>
            <a:ext cx="348662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24">
            <a:extLst>
              <a:ext uri="{FF2B5EF4-FFF2-40B4-BE49-F238E27FC236}">
                <a16:creationId xmlns:a16="http://schemas.microsoft.com/office/drawing/2014/main" id="{7B10FB18-DE69-93A8-3998-8FD233725CCA}"/>
              </a:ext>
            </a:extLst>
          </p:cNvPr>
          <p:cNvSpPr txBox="1"/>
          <p:nvPr/>
        </p:nvSpPr>
        <p:spPr>
          <a:xfrm>
            <a:off x="4260309" y="1398252"/>
            <a:ext cx="7560215"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2" name="Conector recto 9">
            <a:extLst>
              <a:ext uri="{FF2B5EF4-FFF2-40B4-BE49-F238E27FC236}">
                <a16:creationId xmlns:a16="http://schemas.microsoft.com/office/drawing/2014/main" id="{B876B9DB-CA3C-3329-835A-223637118B9B}"/>
              </a:ext>
            </a:extLst>
          </p:cNvPr>
          <p:cNvCxnSpPr>
            <a:cxnSpLocks/>
          </p:cNvCxnSpPr>
          <p:nvPr/>
        </p:nvCxnSpPr>
        <p:spPr>
          <a:xfrm>
            <a:off x="4260311" y="1740699"/>
            <a:ext cx="756021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7B45AC4F-0E38-E905-F9EE-133DEE38353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41663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49FCF0B-6264-34AD-F8F6-122D410D78A2}"/>
              </a:ext>
            </a:extLst>
          </p:cNvPr>
          <p:cNvGraphicFramePr>
            <a:graphicFrameLocks noChangeAspect="1"/>
          </p:cNvGraphicFramePr>
          <p:nvPr>
            <p:custDataLst>
              <p:tags r:id="rId1"/>
            </p:custDataLst>
            <p:extLst>
              <p:ext uri="{D42A27DB-BD31-4B8C-83A1-F6EECF244321}">
                <p14:modId xmlns:p14="http://schemas.microsoft.com/office/powerpoint/2010/main" val="404399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149FCF0B-6264-34AD-F8F6-122D410D7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834EFFB-43CC-0236-E4E5-1EF335E53E41}"/>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8B5E2020-9F98-1EC3-D7D3-89D1D3F63944}"/>
              </a:ext>
            </a:extLst>
          </p:cNvPr>
          <p:cNvSpPr>
            <a:spLocks noGrp="1"/>
          </p:cNvSpPr>
          <p:nvPr>
            <p:ph type="title"/>
          </p:nvPr>
        </p:nvSpPr>
        <p:spPr/>
        <p:txBody>
          <a:bodyPr vert="horz"/>
          <a:lstStyle/>
          <a:p>
            <a:r>
              <a:rPr lang="en-US" dirty="0"/>
              <a:t>Template - Wheel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Freeform 5">
            <a:extLst>
              <a:ext uri="{FF2B5EF4-FFF2-40B4-BE49-F238E27FC236}">
                <a16:creationId xmlns:a16="http://schemas.microsoft.com/office/drawing/2014/main" id="{634A159A-561F-7F41-3AE0-2AEC08D45EFC}"/>
              </a:ext>
            </a:extLst>
          </p:cNvPr>
          <p:cNvSpPr>
            <a:spLocks/>
          </p:cNvSpPr>
          <p:nvPr/>
        </p:nvSpPr>
        <p:spPr bwMode="auto">
          <a:xfrm>
            <a:off x="6095999" y="1546718"/>
            <a:ext cx="2383236" cy="2704180"/>
          </a:xfrm>
          <a:custGeom>
            <a:avLst/>
            <a:gdLst>
              <a:gd name="T0" fmla="*/ 2546 w 3154"/>
              <a:gd name="T1" fmla="*/ 3154 h 3580"/>
              <a:gd name="T2" fmla="*/ 3154 w 3154"/>
              <a:gd name="T3" fmla="*/ 3154 h 3580"/>
              <a:gd name="T4" fmla="*/ 2379 w 3154"/>
              <a:gd name="T5" fmla="*/ 1084 h 3580"/>
              <a:gd name="T6" fmla="*/ 2410 w 3154"/>
              <a:gd name="T7" fmla="*/ 1013 h 3580"/>
              <a:gd name="T8" fmla="*/ 2600 w 3154"/>
              <a:gd name="T9" fmla="*/ 929 h 3580"/>
              <a:gd name="T10" fmla="*/ 2600 w 3154"/>
              <a:gd name="T11" fmla="*/ 666 h 3580"/>
              <a:gd name="T12" fmla="*/ 2337 w 3154"/>
              <a:gd name="T13" fmla="*/ 666 h 3580"/>
              <a:gd name="T14" fmla="*/ 2253 w 3154"/>
              <a:gd name="T15" fmla="*/ 856 h 3580"/>
              <a:gd name="T16" fmla="*/ 2191 w 3154"/>
              <a:gd name="T17" fmla="*/ 886 h 3580"/>
              <a:gd name="T18" fmla="*/ 0 w 3154"/>
              <a:gd name="T19" fmla="*/ 0 h 3580"/>
              <a:gd name="T20" fmla="*/ 0 w 3154"/>
              <a:gd name="T21" fmla="*/ 541 h 3580"/>
              <a:gd name="T22" fmla="*/ 70 w 3154"/>
              <a:gd name="T23" fmla="*/ 568 h 3580"/>
              <a:gd name="T24" fmla="*/ 264 w 3154"/>
              <a:gd name="T25" fmla="*/ 493 h 3580"/>
              <a:gd name="T26" fmla="*/ 450 w 3154"/>
              <a:gd name="T27" fmla="*/ 679 h 3580"/>
              <a:gd name="T28" fmla="*/ 264 w 3154"/>
              <a:gd name="T29" fmla="*/ 865 h 3580"/>
              <a:gd name="T30" fmla="*/ 70 w 3154"/>
              <a:gd name="T31" fmla="*/ 789 h 3580"/>
              <a:gd name="T32" fmla="*/ 0 w 3154"/>
              <a:gd name="T33" fmla="*/ 816 h 3580"/>
              <a:gd name="T34" fmla="*/ 0 w 3154"/>
              <a:gd name="T35" fmla="*/ 1375 h 3580"/>
              <a:gd name="T36" fmla="*/ 1779 w 3154"/>
              <a:gd name="T37" fmla="*/ 3154 h 3580"/>
              <a:gd name="T38" fmla="*/ 2303 w 3154"/>
              <a:gd name="T39" fmla="*/ 3154 h 3580"/>
              <a:gd name="T40" fmla="*/ 2314 w 3154"/>
              <a:gd name="T41" fmla="*/ 3200 h 3580"/>
              <a:gd name="T42" fmla="*/ 2239 w 3154"/>
              <a:gd name="T43" fmla="*/ 3394 h 3580"/>
              <a:gd name="T44" fmla="*/ 2425 w 3154"/>
              <a:gd name="T45" fmla="*/ 3580 h 3580"/>
              <a:gd name="T46" fmla="*/ 2611 w 3154"/>
              <a:gd name="T47" fmla="*/ 3394 h 3580"/>
              <a:gd name="T48" fmla="*/ 2535 w 3154"/>
              <a:gd name="T49" fmla="*/ 3200 h 3580"/>
              <a:gd name="T50" fmla="*/ 2546 w 3154"/>
              <a:gd name="T51" fmla="*/ 3154 h 3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54" h="3580">
                <a:moveTo>
                  <a:pt x="2546" y="3154"/>
                </a:moveTo>
                <a:cubicBezTo>
                  <a:pt x="3154" y="3154"/>
                  <a:pt x="3154" y="3154"/>
                  <a:pt x="3154" y="3154"/>
                </a:cubicBezTo>
                <a:cubicBezTo>
                  <a:pt x="3154" y="2362"/>
                  <a:pt x="2861" y="1638"/>
                  <a:pt x="2379" y="1084"/>
                </a:cubicBezTo>
                <a:cubicBezTo>
                  <a:pt x="2380" y="1058"/>
                  <a:pt x="2390" y="1033"/>
                  <a:pt x="2410" y="1013"/>
                </a:cubicBezTo>
                <a:cubicBezTo>
                  <a:pt x="2453" y="970"/>
                  <a:pt x="2531" y="998"/>
                  <a:pt x="2600" y="929"/>
                </a:cubicBezTo>
                <a:cubicBezTo>
                  <a:pt x="2673" y="856"/>
                  <a:pt x="2673" y="739"/>
                  <a:pt x="2600" y="666"/>
                </a:cubicBezTo>
                <a:cubicBezTo>
                  <a:pt x="2527" y="593"/>
                  <a:pt x="2409" y="593"/>
                  <a:pt x="2337" y="666"/>
                </a:cubicBezTo>
                <a:cubicBezTo>
                  <a:pt x="2261" y="742"/>
                  <a:pt x="2306" y="804"/>
                  <a:pt x="2253" y="856"/>
                </a:cubicBezTo>
                <a:cubicBezTo>
                  <a:pt x="2236" y="874"/>
                  <a:pt x="2214" y="884"/>
                  <a:pt x="2191" y="886"/>
                </a:cubicBezTo>
                <a:cubicBezTo>
                  <a:pt x="1624" y="338"/>
                  <a:pt x="851" y="0"/>
                  <a:pt x="0" y="0"/>
                </a:cubicBezTo>
                <a:cubicBezTo>
                  <a:pt x="0" y="541"/>
                  <a:pt x="0" y="541"/>
                  <a:pt x="0" y="541"/>
                </a:cubicBezTo>
                <a:cubicBezTo>
                  <a:pt x="19" y="558"/>
                  <a:pt x="43" y="568"/>
                  <a:pt x="70" y="568"/>
                </a:cubicBezTo>
                <a:cubicBezTo>
                  <a:pt x="144" y="568"/>
                  <a:pt x="156" y="493"/>
                  <a:pt x="264" y="493"/>
                </a:cubicBezTo>
                <a:cubicBezTo>
                  <a:pt x="366" y="493"/>
                  <a:pt x="450" y="576"/>
                  <a:pt x="450" y="679"/>
                </a:cubicBezTo>
                <a:cubicBezTo>
                  <a:pt x="450" y="781"/>
                  <a:pt x="366" y="865"/>
                  <a:pt x="264" y="865"/>
                </a:cubicBezTo>
                <a:cubicBezTo>
                  <a:pt x="166" y="865"/>
                  <a:pt x="131" y="789"/>
                  <a:pt x="70" y="789"/>
                </a:cubicBezTo>
                <a:cubicBezTo>
                  <a:pt x="43" y="789"/>
                  <a:pt x="19" y="800"/>
                  <a:pt x="0" y="816"/>
                </a:cubicBezTo>
                <a:cubicBezTo>
                  <a:pt x="0" y="1375"/>
                  <a:pt x="0" y="1375"/>
                  <a:pt x="0" y="1375"/>
                </a:cubicBezTo>
                <a:cubicBezTo>
                  <a:pt x="983" y="1375"/>
                  <a:pt x="1779" y="2171"/>
                  <a:pt x="1779" y="3154"/>
                </a:cubicBezTo>
                <a:cubicBezTo>
                  <a:pt x="2303" y="3154"/>
                  <a:pt x="2303" y="3154"/>
                  <a:pt x="2303" y="3154"/>
                </a:cubicBezTo>
                <a:cubicBezTo>
                  <a:pt x="2310" y="3168"/>
                  <a:pt x="2314" y="3183"/>
                  <a:pt x="2314" y="3200"/>
                </a:cubicBezTo>
                <a:cubicBezTo>
                  <a:pt x="2314" y="3261"/>
                  <a:pt x="2239" y="3296"/>
                  <a:pt x="2239" y="3394"/>
                </a:cubicBezTo>
                <a:cubicBezTo>
                  <a:pt x="2239" y="3496"/>
                  <a:pt x="2322" y="3580"/>
                  <a:pt x="2425" y="3580"/>
                </a:cubicBezTo>
                <a:cubicBezTo>
                  <a:pt x="2528" y="3580"/>
                  <a:pt x="2611" y="3496"/>
                  <a:pt x="2611" y="3394"/>
                </a:cubicBezTo>
                <a:cubicBezTo>
                  <a:pt x="2611" y="3286"/>
                  <a:pt x="2535" y="3274"/>
                  <a:pt x="2535" y="3200"/>
                </a:cubicBezTo>
                <a:cubicBezTo>
                  <a:pt x="2535" y="3183"/>
                  <a:pt x="2539" y="3168"/>
                  <a:pt x="2546" y="3154"/>
                </a:cubicBezTo>
                <a:close/>
              </a:path>
            </a:pathLst>
          </a:custGeom>
          <a:solidFill>
            <a:schemeClr val="accent1"/>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Freeform 6">
            <a:extLst>
              <a:ext uri="{FF2B5EF4-FFF2-40B4-BE49-F238E27FC236}">
                <a16:creationId xmlns:a16="http://schemas.microsoft.com/office/drawing/2014/main" id="{3B1D854B-62B7-64C9-AD5D-542A581549BD}"/>
              </a:ext>
            </a:extLst>
          </p:cNvPr>
          <p:cNvSpPr>
            <a:spLocks/>
          </p:cNvSpPr>
          <p:nvPr/>
        </p:nvSpPr>
        <p:spPr bwMode="auto">
          <a:xfrm>
            <a:off x="5758299" y="3929954"/>
            <a:ext cx="2720936" cy="2381946"/>
          </a:xfrm>
          <a:custGeom>
            <a:avLst/>
            <a:gdLst>
              <a:gd name="T0" fmla="*/ 2857 w 3601"/>
              <a:gd name="T1" fmla="*/ 2137 h 3153"/>
              <a:gd name="T2" fmla="*/ 2826 w 3601"/>
              <a:gd name="T3" fmla="*/ 2070 h 3153"/>
              <a:gd name="T4" fmla="*/ 3601 w 3601"/>
              <a:gd name="T5" fmla="*/ 0 h 3153"/>
              <a:gd name="T6" fmla="*/ 2993 w 3601"/>
              <a:gd name="T7" fmla="*/ 0 h 3153"/>
              <a:gd name="T8" fmla="*/ 2982 w 3601"/>
              <a:gd name="T9" fmla="*/ 46 h 3153"/>
              <a:gd name="T10" fmla="*/ 3058 w 3601"/>
              <a:gd name="T11" fmla="*/ 240 h 3153"/>
              <a:gd name="T12" fmla="*/ 2872 w 3601"/>
              <a:gd name="T13" fmla="*/ 426 h 3153"/>
              <a:gd name="T14" fmla="*/ 2686 w 3601"/>
              <a:gd name="T15" fmla="*/ 240 h 3153"/>
              <a:gd name="T16" fmla="*/ 2761 w 3601"/>
              <a:gd name="T17" fmla="*/ 46 h 3153"/>
              <a:gd name="T18" fmla="*/ 2750 w 3601"/>
              <a:gd name="T19" fmla="*/ 0 h 3153"/>
              <a:gd name="T20" fmla="*/ 2226 w 3601"/>
              <a:gd name="T21" fmla="*/ 0 h 3153"/>
              <a:gd name="T22" fmla="*/ 447 w 3601"/>
              <a:gd name="T23" fmla="*/ 1779 h 3153"/>
              <a:gd name="T24" fmla="*/ 447 w 3601"/>
              <a:gd name="T25" fmla="*/ 2298 h 3153"/>
              <a:gd name="T26" fmla="*/ 380 w 3601"/>
              <a:gd name="T27" fmla="*/ 2322 h 3153"/>
              <a:gd name="T28" fmla="*/ 186 w 3601"/>
              <a:gd name="T29" fmla="*/ 2246 h 3153"/>
              <a:gd name="T30" fmla="*/ 0 w 3601"/>
              <a:gd name="T31" fmla="*/ 2432 h 3153"/>
              <a:gd name="T32" fmla="*/ 186 w 3601"/>
              <a:gd name="T33" fmla="*/ 2618 h 3153"/>
              <a:gd name="T34" fmla="*/ 380 w 3601"/>
              <a:gd name="T35" fmla="*/ 2543 h 3153"/>
              <a:gd name="T36" fmla="*/ 447 w 3601"/>
              <a:gd name="T37" fmla="*/ 2567 h 3153"/>
              <a:gd name="T38" fmla="*/ 447 w 3601"/>
              <a:gd name="T39" fmla="*/ 3153 h 3153"/>
              <a:gd name="T40" fmla="*/ 2642 w 3601"/>
              <a:gd name="T41" fmla="*/ 2264 h 3153"/>
              <a:gd name="T42" fmla="*/ 2700 w 3601"/>
              <a:gd name="T43" fmla="*/ 2293 h 3153"/>
              <a:gd name="T44" fmla="*/ 2784 w 3601"/>
              <a:gd name="T45" fmla="*/ 2483 h 3153"/>
              <a:gd name="T46" fmla="*/ 3047 w 3601"/>
              <a:gd name="T47" fmla="*/ 2483 h 3153"/>
              <a:gd name="T48" fmla="*/ 3047 w 3601"/>
              <a:gd name="T49" fmla="*/ 2220 h 3153"/>
              <a:gd name="T50" fmla="*/ 2857 w 3601"/>
              <a:gd name="T51" fmla="*/ 2137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1" h="3153">
                <a:moveTo>
                  <a:pt x="2857" y="2137"/>
                </a:moveTo>
                <a:cubicBezTo>
                  <a:pt x="2838" y="2118"/>
                  <a:pt x="2828" y="2094"/>
                  <a:pt x="2826" y="2070"/>
                </a:cubicBezTo>
                <a:cubicBezTo>
                  <a:pt x="3308" y="1516"/>
                  <a:pt x="3601" y="792"/>
                  <a:pt x="3601" y="0"/>
                </a:cubicBezTo>
                <a:cubicBezTo>
                  <a:pt x="2993" y="0"/>
                  <a:pt x="2993" y="0"/>
                  <a:pt x="2993" y="0"/>
                </a:cubicBezTo>
                <a:cubicBezTo>
                  <a:pt x="2986" y="14"/>
                  <a:pt x="2982" y="29"/>
                  <a:pt x="2982" y="46"/>
                </a:cubicBezTo>
                <a:cubicBezTo>
                  <a:pt x="2982" y="120"/>
                  <a:pt x="3058" y="132"/>
                  <a:pt x="3058" y="240"/>
                </a:cubicBezTo>
                <a:cubicBezTo>
                  <a:pt x="3058" y="342"/>
                  <a:pt x="2975" y="426"/>
                  <a:pt x="2872" y="426"/>
                </a:cubicBezTo>
                <a:cubicBezTo>
                  <a:pt x="2769" y="426"/>
                  <a:pt x="2686" y="342"/>
                  <a:pt x="2686" y="240"/>
                </a:cubicBezTo>
                <a:cubicBezTo>
                  <a:pt x="2686" y="142"/>
                  <a:pt x="2761" y="107"/>
                  <a:pt x="2761" y="46"/>
                </a:cubicBezTo>
                <a:cubicBezTo>
                  <a:pt x="2761" y="29"/>
                  <a:pt x="2757" y="14"/>
                  <a:pt x="2750" y="0"/>
                </a:cubicBezTo>
                <a:cubicBezTo>
                  <a:pt x="2226" y="0"/>
                  <a:pt x="2226" y="0"/>
                  <a:pt x="2226" y="0"/>
                </a:cubicBezTo>
                <a:cubicBezTo>
                  <a:pt x="2226" y="983"/>
                  <a:pt x="1430" y="1779"/>
                  <a:pt x="447" y="1779"/>
                </a:cubicBezTo>
                <a:cubicBezTo>
                  <a:pt x="447" y="2298"/>
                  <a:pt x="447" y="2298"/>
                  <a:pt x="447" y="2298"/>
                </a:cubicBezTo>
                <a:cubicBezTo>
                  <a:pt x="429" y="2313"/>
                  <a:pt x="406" y="2322"/>
                  <a:pt x="380" y="2322"/>
                </a:cubicBezTo>
                <a:cubicBezTo>
                  <a:pt x="306" y="2322"/>
                  <a:pt x="294" y="2246"/>
                  <a:pt x="186" y="2246"/>
                </a:cubicBezTo>
                <a:cubicBezTo>
                  <a:pt x="84" y="2246"/>
                  <a:pt x="0" y="2330"/>
                  <a:pt x="0" y="2432"/>
                </a:cubicBezTo>
                <a:cubicBezTo>
                  <a:pt x="0" y="2535"/>
                  <a:pt x="84" y="2618"/>
                  <a:pt x="186" y="2618"/>
                </a:cubicBezTo>
                <a:cubicBezTo>
                  <a:pt x="284" y="2618"/>
                  <a:pt x="319" y="2543"/>
                  <a:pt x="380" y="2543"/>
                </a:cubicBezTo>
                <a:cubicBezTo>
                  <a:pt x="406" y="2543"/>
                  <a:pt x="429" y="2552"/>
                  <a:pt x="447" y="2567"/>
                </a:cubicBezTo>
                <a:cubicBezTo>
                  <a:pt x="447" y="3153"/>
                  <a:pt x="447" y="3153"/>
                  <a:pt x="447" y="3153"/>
                </a:cubicBezTo>
                <a:cubicBezTo>
                  <a:pt x="1300" y="3153"/>
                  <a:pt x="2075" y="2814"/>
                  <a:pt x="2642" y="2264"/>
                </a:cubicBezTo>
                <a:cubicBezTo>
                  <a:pt x="2663" y="2267"/>
                  <a:pt x="2684" y="2277"/>
                  <a:pt x="2700" y="2293"/>
                </a:cubicBezTo>
                <a:cubicBezTo>
                  <a:pt x="2753" y="2346"/>
                  <a:pt x="2708" y="2407"/>
                  <a:pt x="2784" y="2483"/>
                </a:cubicBezTo>
                <a:cubicBezTo>
                  <a:pt x="2856" y="2556"/>
                  <a:pt x="2974" y="2556"/>
                  <a:pt x="3047" y="2483"/>
                </a:cubicBezTo>
                <a:cubicBezTo>
                  <a:pt x="3120" y="2411"/>
                  <a:pt x="3120" y="2293"/>
                  <a:pt x="3047" y="2220"/>
                </a:cubicBezTo>
                <a:cubicBezTo>
                  <a:pt x="2978" y="2151"/>
                  <a:pt x="2900" y="2179"/>
                  <a:pt x="2857" y="2137"/>
                </a:cubicBezTo>
                <a:close/>
              </a:path>
            </a:pathLst>
          </a:custGeom>
          <a:solidFill>
            <a:schemeClr val="accent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Freeform 7">
            <a:extLst>
              <a:ext uri="{FF2B5EF4-FFF2-40B4-BE49-F238E27FC236}">
                <a16:creationId xmlns:a16="http://schemas.microsoft.com/office/drawing/2014/main" id="{55DAFB92-89FA-FAC2-349A-20074D4F02D7}"/>
              </a:ext>
            </a:extLst>
          </p:cNvPr>
          <p:cNvSpPr>
            <a:spLocks/>
          </p:cNvSpPr>
          <p:nvPr/>
        </p:nvSpPr>
        <p:spPr bwMode="auto">
          <a:xfrm>
            <a:off x="3712764" y="3598698"/>
            <a:ext cx="2383236" cy="2713202"/>
          </a:xfrm>
          <a:custGeom>
            <a:avLst/>
            <a:gdLst>
              <a:gd name="T0" fmla="*/ 2893 w 3154"/>
              <a:gd name="T1" fmla="*/ 2684 h 3591"/>
              <a:gd name="T2" fmla="*/ 3087 w 3154"/>
              <a:gd name="T3" fmla="*/ 2760 h 3591"/>
              <a:gd name="T4" fmla="*/ 3154 w 3154"/>
              <a:gd name="T5" fmla="*/ 2736 h 3591"/>
              <a:gd name="T6" fmla="*/ 3154 w 3154"/>
              <a:gd name="T7" fmla="*/ 2217 h 3591"/>
              <a:gd name="T8" fmla="*/ 3154 w 3154"/>
              <a:gd name="T9" fmla="*/ 2217 h 3591"/>
              <a:gd name="T10" fmla="*/ 1375 w 3154"/>
              <a:gd name="T11" fmla="*/ 438 h 3591"/>
              <a:gd name="T12" fmla="*/ 841 w 3154"/>
              <a:gd name="T13" fmla="*/ 438 h 3591"/>
              <a:gd name="T14" fmla="*/ 824 w 3154"/>
              <a:gd name="T15" fmla="*/ 380 h 3591"/>
              <a:gd name="T16" fmla="*/ 899 w 3154"/>
              <a:gd name="T17" fmla="*/ 186 h 3591"/>
              <a:gd name="T18" fmla="*/ 713 w 3154"/>
              <a:gd name="T19" fmla="*/ 0 h 3591"/>
              <a:gd name="T20" fmla="*/ 527 w 3154"/>
              <a:gd name="T21" fmla="*/ 186 h 3591"/>
              <a:gd name="T22" fmla="*/ 602 w 3154"/>
              <a:gd name="T23" fmla="*/ 380 h 3591"/>
              <a:gd name="T24" fmla="*/ 585 w 3154"/>
              <a:gd name="T25" fmla="*/ 438 h 3591"/>
              <a:gd name="T26" fmla="*/ 0 w 3154"/>
              <a:gd name="T27" fmla="*/ 438 h 3591"/>
              <a:gd name="T28" fmla="*/ 789 w 3154"/>
              <a:gd name="T29" fmla="*/ 2524 h 3591"/>
              <a:gd name="T30" fmla="*/ 761 w 3154"/>
              <a:gd name="T31" fmla="*/ 2575 h 3591"/>
              <a:gd name="T32" fmla="*/ 571 w 3154"/>
              <a:gd name="T33" fmla="*/ 2658 h 3591"/>
              <a:gd name="T34" fmla="*/ 571 w 3154"/>
              <a:gd name="T35" fmla="*/ 2921 h 3591"/>
              <a:gd name="T36" fmla="*/ 834 w 3154"/>
              <a:gd name="T37" fmla="*/ 2921 h 3591"/>
              <a:gd name="T38" fmla="*/ 917 w 3154"/>
              <a:gd name="T39" fmla="*/ 2731 h 3591"/>
              <a:gd name="T40" fmla="*/ 962 w 3154"/>
              <a:gd name="T41" fmla="*/ 2705 h 3591"/>
              <a:gd name="T42" fmla="*/ 3154 w 3154"/>
              <a:gd name="T43" fmla="*/ 3591 h 3591"/>
              <a:gd name="T44" fmla="*/ 3154 w 3154"/>
              <a:gd name="T45" fmla="*/ 3005 h 3591"/>
              <a:gd name="T46" fmla="*/ 3087 w 3154"/>
              <a:gd name="T47" fmla="*/ 2981 h 3591"/>
              <a:gd name="T48" fmla="*/ 2893 w 3154"/>
              <a:gd name="T49" fmla="*/ 3056 h 3591"/>
              <a:gd name="T50" fmla="*/ 2707 w 3154"/>
              <a:gd name="T51" fmla="*/ 2870 h 3591"/>
              <a:gd name="T52" fmla="*/ 2893 w 3154"/>
              <a:gd name="T53" fmla="*/ 2684 h 3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54" h="3591">
                <a:moveTo>
                  <a:pt x="2893" y="2684"/>
                </a:moveTo>
                <a:cubicBezTo>
                  <a:pt x="3001" y="2684"/>
                  <a:pt x="3013" y="2760"/>
                  <a:pt x="3087" y="2760"/>
                </a:cubicBezTo>
                <a:cubicBezTo>
                  <a:pt x="3113" y="2760"/>
                  <a:pt x="3136" y="2751"/>
                  <a:pt x="3154" y="2736"/>
                </a:cubicBezTo>
                <a:cubicBezTo>
                  <a:pt x="3154" y="2217"/>
                  <a:pt x="3154" y="2217"/>
                  <a:pt x="3154" y="2217"/>
                </a:cubicBezTo>
                <a:cubicBezTo>
                  <a:pt x="3154" y="2217"/>
                  <a:pt x="3154" y="2217"/>
                  <a:pt x="3154" y="2217"/>
                </a:cubicBezTo>
                <a:cubicBezTo>
                  <a:pt x="2171" y="2217"/>
                  <a:pt x="1375" y="1421"/>
                  <a:pt x="1375" y="438"/>
                </a:cubicBezTo>
                <a:cubicBezTo>
                  <a:pt x="841" y="438"/>
                  <a:pt x="841" y="438"/>
                  <a:pt x="841" y="438"/>
                </a:cubicBezTo>
                <a:cubicBezTo>
                  <a:pt x="830" y="421"/>
                  <a:pt x="824" y="401"/>
                  <a:pt x="824" y="380"/>
                </a:cubicBezTo>
                <a:cubicBezTo>
                  <a:pt x="824" y="306"/>
                  <a:pt x="899" y="294"/>
                  <a:pt x="899" y="186"/>
                </a:cubicBezTo>
                <a:cubicBezTo>
                  <a:pt x="899" y="83"/>
                  <a:pt x="816" y="0"/>
                  <a:pt x="713" y="0"/>
                </a:cubicBezTo>
                <a:cubicBezTo>
                  <a:pt x="610" y="0"/>
                  <a:pt x="527" y="83"/>
                  <a:pt x="527" y="186"/>
                </a:cubicBezTo>
                <a:cubicBezTo>
                  <a:pt x="527" y="284"/>
                  <a:pt x="602" y="319"/>
                  <a:pt x="602" y="380"/>
                </a:cubicBezTo>
                <a:cubicBezTo>
                  <a:pt x="602" y="401"/>
                  <a:pt x="596" y="421"/>
                  <a:pt x="585" y="438"/>
                </a:cubicBezTo>
                <a:cubicBezTo>
                  <a:pt x="0" y="438"/>
                  <a:pt x="0" y="438"/>
                  <a:pt x="0" y="438"/>
                </a:cubicBezTo>
                <a:cubicBezTo>
                  <a:pt x="0" y="1238"/>
                  <a:pt x="298" y="1968"/>
                  <a:pt x="789" y="2524"/>
                </a:cubicBezTo>
                <a:cubicBezTo>
                  <a:pt x="785" y="2542"/>
                  <a:pt x="775" y="2560"/>
                  <a:pt x="761" y="2575"/>
                </a:cubicBezTo>
                <a:cubicBezTo>
                  <a:pt x="718" y="2617"/>
                  <a:pt x="640" y="2589"/>
                  <a:pt x="571" y="2658"/>
                </a:cubicBezTo>
                <a:cubicBezTo>
                  <a:pt x="498" y="2731"/>
                  <a:pt x="498" y="2849"/>
                  <a:pt x="571" y="2921"/>
                </a:cubicBezTo>
                <a:cubicBezTo>
                  <a:pt x="643" y="2994"/>
                  <a:pt x="761" y="2994"/>
                  <a:pt x="834" y="2921"/>
                </a:cubicBezTo>
                <a:cubicBezTo>
                  <a:pt x="910" y="2845"/>
                  <a:pt x="865" y="2784"/>
                  <a:pt x="917" y="2731"/>
                </a:cubicBezTo>
                <a:cubicBezTo>
                  <a:pt x="930" y="2718"/>
                  <a:pt x="946" y="2709"/>
                  <a:pt x="962" y="2705"/>
                </a:cubicBezTo>
                <a:cubicBezTo>
                  <a:pt x="1529" y="3254"/>
                  <a:pt x="2302" y="3591"/>
                  <a:pt x="3154" y="3591"/>
                </a:cubicBezTo>
                <a:cubicBezTo>
                  <a:pt x="3154" y="3005"/>
                  <a:pt x="3154" y="3005"/>
                  <a:pt x="3154" y="3005"/>
                </a:cubicBezTo>
                <a:cubicBezTo>
                  <a:pt x="3136" y="2990"/>
                  <a:pt x="3113" y="2981"/>
                  <a:pt x="3087" y="2981"/>
                </a:cubicBezTo>
                <a:cubicBezTo>
                  <a:pt x="3026" y="2981"/>
                  <a:pt x="2991" y="3056"/>
                  <a:pt x="2893" y="3056"/>
                </a:cubicBezTo>
                <a:cubicBezTo>
                  <a:pt x="2791" y="3056"/>
                  <a:pt x="2707" y="2973"/>
                  <a:pt x="2707" y="2870"/>
                </a:cubicBezTo>
                <a:cubicBezTo>
                  <a:pt x="2707" y="2768"/>
                  <a:pt x="2791" y="2684"/>
                  <a:pt x="2893" y="2684"/>
                </a:cubicBezTo>
                <a:close/>
              </a:path>
            </a:pathLst>
          </a:custGeom>
          <a:solidFill>
            <a:schemeClr val="accent3"/>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Freeform 8">
            <a:extLst>
              <a:ext uri="{FF2B5EF4-FFF2-40B4-BE49-F238E27FC236}">
                <a16:creationId xmlns:a16="http://schemas.microsoft.com/office/drawing/2014/main" id="{55C04874-1742-DBD1-1970-0960AD585E9C}"/>
              </a:ext>
            </a:extLst>
          </p:cNvPr>
          <p:cNvSpPr>
            <a:spLocks/>
          </p:cNvSpPr>
          <p:nvPr/>
        </p:nvSpPr>
        <p:spPr bwMode="auto">
          <a:xfrm>
            <a:off x="3712764" y="1546718"/>
            <a:ext cx="2723514" cy="2383236"/>
          </a:xfrm>
          <a:custGeom>
            <a:avLst/>
            <a:gdLst>
              <a:gd name="T0" fmla="*/ 3154 w 3604"/>
              <a:gd name="T1" fmla="*/ 1375 h 3154"/>
              <a:gd name="T2" fmla="*/ 3154 w 3604"/>
              <a:gd name="T3" fmla="*/ 1375 h 3154"/>
              <a:gd name="T4" fmla="*/ 3154 w 3604"/>
              <a:gd name="T5" fmla="*/ 816 h 3154"/>
              <a:gd name="T6" fmla="*/ 3224 w 3604"/>
              <a:gd name="T7" fmla="*/ 789 h 3154"/>
              <a:gd name="T8" fmla="*/ 3418 w 3604"/>
              <a:gd name="T9" fmla="*/ 865 h 3154"/>
              <a:gd name="T10" fmla="*/ 3604 w 3604"/>
              <a:gd name="T11" fmla="*/ 679 h 3154"/>
              <a:gd name="T12" fmla="*/ 3418 w 3604"/>
              <a:gd name="T13" fmla="*/ 493 h 3154"/>
              <a:gd name="T14" fmla="*/ 3224 w 3604"/>
              <a:gd name="T15" fmla="*/ 568 h 3154"/>
              <a:gd name="T16" fmla="*/ 3154 w 3604"/>
              <a:gd name="T17" fmla="*/ 541 h 3154"/>
              <a:gd name="T18" fmla="*/ 3154 w 3604"/>
              <a:gd name="T19" fmla="*/ 0 h 3154"/>
              <a:gd name="T20" fmla="*/ 965 w 3604"/>
              <a:gd name="T21" fmla="*/ 884 h 3154"/>
              <a:gd name="T22" fmla="*/ 917 w 3604"/>
              <a:gd name="T23" fmla="*/ 856 h 3154"/>
              <a:gd name="T24" fmla="*/ 834 w 3604"/>
              <a:gd name="T25" fmla="*/ 666 h 3154"/>
              <a:gd name="T26" fmla="*/ 571 w 3604"/>
              <a:gd name="T27" fmla="*/ 666 h 3154"/>
              <a:gd name="T28" fmla="*/ 571 w 3604"/>
              <a:gd name="T29" fmla="*/ 929 h 3154"/>
              <a:gd name="T30" fmla="*/ 761 w 3604"/>
              <a:gd name="T31" fmla="*/ 1013 h 3154"/>
              <a:gd name="T32" fmla="*/ 790 w 3604"/>
              <a:gd name="T33" fmla="*/ 1067 h 3154"/>
              <a:gd name="T34" fmla="*/ 0 w 3604"/>
              <a:gd name="T35" fmla="*/ 3154 h 3154"/>
              <a:gd name="T36" fmla="*/ 585 w 3604"/>
              <a:gd name="T37" fmla="*/ 3154 h 3154"/>
              <a:gd name="T38" fmla="*/ 602 w 3604"/>
              <a:gd name="T39" fmla="*/ 3096 h 3154"/>
              <a:gd name="T40" fmla="*/ 527 w 3604"/>
              <a:gd name="T41" fmla="*/ 2902 h 3154"/>
              <a:gd name="T42" fmla="*/ 713 w 3604"/>
              <a:gd name="T43" fmla="*/ 2716 h 3154"/>
              <a:gd name="T44" fmla="*/ 899 w 3604"/>
              <a:gd name="T45" fmla="*/ 2902 h 3154"/>
              <a:gd name="T46" fmla="*/ 824 w 3604"/>
              <a:gd name="T47" fmla="*/ 3096 h 3154"/>
              <a:gd name="T48" fmla="*/ 841 w 3604"/>
              <a:gd name="T49" fmla="*/ 3154 h 3154"/>
              <a:gd name="T50" fmla="*/ 1375 w 3604"/>
              <a:gd name="T51" fmla="*/ 3154 h 3154"/>
              <a:gd name="T52" fmla="*/ 3154 w 3604"/>
              <a:gd name="T53" fmla="*/ 1375 h 3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04" h="3154">
                <a:moveTo>
                  <a:pt x="3154" y="1375"/>
                </a:moveTo>
                <a:cubicBezTo>
                  <a:pt x="3154" y="1375"/>
                  <a:pt x="3154" y="1375"/>
                  <a:pt x="3154" y="1375"/>
                </a:cubicBezTo>
                <a:cubicBezTo>
                  <a:pt x="3154" y="816"/>
                  <a:pt x="3154" y="816"/>
                  <a:pt x="3154" y="816"/>
                </a:cubicBezTo>
                <a:cubicBezTo>
                  <a:pt x="3173" y="800"/>
                  <a:pt x="3197" y="789"/>
                  <a:pt x="3224" y="789"/>
                </a:cubicBezTo>
                <a:cubicBezTo>
                  <a:pt x="3285" y="789"/>
                  <a:pt x="3320" y="865"/>
                  <a:pt x="3418" y="865"/>
                </a:cubicBezTo>
                <a:cubicBezTo>
                  <a:pt x="3520" y="865"/>
                  <a:pt x="3604" y="781"/>
                  <a:pt x="3604" y="679"/>
                </a:cubicBezTo>
                <a:cubicBezTo>
                  <a:pt x="3604" y="576"/>
                  <a:pt x="3520" y="493"/>
                  <a:pt x="3418" y="493"/>
                </a:cubicBezTo>
                <a:cubicBezTo>
                  <a:pt x="3310" y="493"/>
                  <a:pt x="3298" y="568"/>
                  <a:pt x="3224" y="568"/>
                </a:cubicBezTo>
                <a:cubicBezTo>
                  <a:pt x="3197" y="568"/>
                  <a:pt x="3173" y="558"/>
                  <a:pt x="3154" y="541"/>
                </a:cubicBezTo>
                <a:cubicBezTo>
                  <a:pt x="3154" y="0"/>
                  <a:pt x="3154" y="0"/>
                  <a:pt x="3154" y="0"/>
                </a:cubicBezTo>
                <a:cubicBezTo>
                  <a:pt x="2304" y="0"/>
                  <a:pt x="1532" y="337"/>
                  <a:pt x="965" y="884"/>
                </a:cubicBezTo>
                <a:cubicBezTo>
                  <a:pt x="948" y="879"/>
                  <a:pt x="931" y="870"/>
                  <a:pt x="917" y="856"/>
                </a:cubicBezTo>
                <a:cubicBezTo>
                  <a:pt x="865" y="804"/>
                  <a:pt x="910" y="742"/>
                  <a:pt x="834" y="666"/>
                </a:cubicBezTo>
                <a:cubicBezTo>
                  <a:pt x="761" y="593"/>
                  <a:pt x="643" y="593"/>
                  <a:pt x="571" y="666"/>
                </a:cubicBezTo>
                <a:cubicBezTo>
                  <a:pt x="498" y="739"/>
                  <a:pt x="498" y="856"/>
                  <a:pt x="571" y="929"/>
                </a:cubicBezTo>
                <a:cubicBezTo>
                  <a:pt x="640" y="998"/>
                  <a:pt x="718" y="970"/>
                  <a:pt x="761" y="1013"/>
                </a:cubicBezTo>
                <a:cubicBezTo>
                  <a:pt x="776" y="1028"/>
                  <a:pt x="786" y="1047"/>
                  <a:pt x="790" y="1067"/>
                </a:cubicBezTo>
                <a:cubicBezTo>
                  <a:pt x="299" y="1623"/>
                  <a:pt x="0" y="2354"/>
                  <a:pt x="0" y="3154"/>
                </a:cubicBezTo>
                <a:cubicBezTo>
                  <a:pt x="585" y="3154"/>
                  <a:pt x="585" y="3154"/>
                  <a:pt x="585" y="3154"/>
                </a:cubicBezTo>
                <a:cubicBezTo>
                  <a:pt x="596" y="3137"/>
                  <a:pt x="602" y="3117"/>
                  <a:pt x="602" y="3096"/>
                </a:cubicBezTo>
                <a:cubicBezTo>
                  <a:pt x="602" y="3035"/>
                  <a:pt x="527" y="3000"/>
                  <a:pt x="527" y="2902"/>
                </a:cubicBezTo>
                <a:cubicBezTo>
                  <a:pt x="527" y="2799"/>
                  <a:pt x="610" y="2716"/>
                  <a:pt x="713" y="2716"/>
                </a:cubicBezTo>
                <a:cubicBezTo>
                  <a:pt x="816" y="2716"/>
                  <a:pt x="899" y="2799"/>
                  <a:pt x="899" y="2902"/>
                </a:cubicBezTo>
                <a:cubicBezTo>
                  <a:pt x="899" y="3010"/>
                  <a:pt x="824" y="3022"/>
                  <a:pt x="824" y="3096"/>
                </a:cubicBezTo>
                <a:cubicBezTo>
                  <a:pt x="824" y="3117"/>
                  <a:pt x="830" y="3137"/>
                  <a:pt x="841" y="3154"/>
                </a:cubicBezTo>
                <a:cubicBezTo>
                  <a:pt x="1375" y="3154"/>
                  <a:pt x="1375" y="3154"/>
                  <a:pt x="1375" y="3154"/>
                </a:cubicBezTo>
                <a:cubicBezTo>
                  <a:pt x="1375" y="2171"/>
                  <a:pt x="2171" y="1375"/>
                  <a:pt x="3154" y="1375"/>
                </a:cubicBezTo>
                <a:close/>
              </a:path>
            </a:pathLst>
          </a:custGeom>
          <a:solidFill>
            <a:schemeClr val="tx2"/>
          </a:solidFill>
          <a:effectLst/>
        </p:spPr>
        <p:txBody>
          <a:bodyPr lIns="360000" tIns="36000" rIns="89988" bIns="36000" anchor="ctr"/>
          <a:lstStyle/>
          <a:p>
            <a:pPr defTabSz="228554"/>
            <a:endPar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Freeform 17">
            <a:extLst>
              <a:ext uri="{FF2B5EF4-FFF2-40B4-BE49-F238E27FC236}">
                <a16:creationId xmlns:a16="http://schemas.microsoft.com/office/drawing/2014/main" id="{0ED8546A-BFF7-A0C6-E60D-1954CC923AF4}"/>
              </a:ext>
            </a:extLst>
          </p:cNvPr>
          <p:cNvSpPr>
            <a:spLocks noEditPoints="1"/>
          </p:cNvSpPr>
          <p:nvPr/>
        </p:nvSpPr>
        <p:spPr bwMode="auto">
          <a:xfrm>
            <a:off x="6891552" y="5105421"/>
            <a:ext cx="568288" cy="570368"/>
          </a:xfrm>
          <a:custGeom>
            <a:avLst/>
            <a:gdLst>
              <a:gd name="T0" fmla="*/ 289 w 353"/>
              <a:gd name="T1" fmla="*/ 0 h 354"/>
              <a:gd name="T2" fmla="*/ 243 w 353"/>
              <a:gd name="T3" fmla="*/ 19 h 354"/>
              <a:gd name="T4" fmla="*/ 27 w 353"/>
              <a:gd name="T5" fmla="*/ 236 h 354"/>
              <a:gd name="T6" fmla="*/ 0 w 353"/>
              <a:gd name="T7" fmla="*/ 354 h 354"/>
              <a:gd name="T8" fmla="*/ 118 w 353"/>
              <a:gd name="T9" fmla="*/ 327 h 354"/>
              <a:gd name="T10" fmla="*/ 334 w 353"/>
              <a:gd name="T11" fmla="*/ 110 h 354"/>
              <a:gd name="T12" fmla="*/ 353 w 353"/>
              <a:gd name="T13" fmla="*/ 65 h 354"/>
              <a:gd name="T14" fmla="*/ 289 w 353"/>
              <a:gd name="T15" fmla="*/ 0 h 354"/>
              <a:gd name="T16" fmla="*/ 104 w 353"/>
              <a:gd name="T17" fmla="*/ 312 h 354"/>
              <a:gd name="T18" fmla="*/ 48 w 353"/>
              <a:gd name="T19" fmla="*/ 325 h 354"/>
              <a:gd name="T20" fmla="*/ 48 w 353"/>
              <a:gd name="T21" fmla="*/ 305 h 354"/>
              <a:gd name="T22" fmla="*/ 29 w 353"/>
              <a:gd name="T23" fmla="*/ 305 h 354"/>
              <a:gd name="T24" fmla="*/ 42 w 353"/>
              <a:gd name="T25" fmla="*/ 249 h 354"/>
              <a:gd name="T26" fmla="*/ 104 w 353"/>
              <a:gd name="T27" fmla="*/ 249 h 354"/>
              <a:gd name="T28" fmla="*/ 104 w 353"/>
              <a:gd name="T29" fmla="*/ 312 h 354"/>
              <a:gd name="T30" fmla="*/ 120 w 353"/>
              <a:gd name="T31" fmla="*/ 301 h 354"/>
              <a:gd name="T32" fmla="*/ 120 w 353"/>
              <a:gd name="T33" fmla="*/ 241 h 354"/>
              <a:gd name="T34" fmla="*/ 112 w 353"/>
              <a:gd name="T35" fmla="*/ 233 h 354"/>
              <a:gd name="T36" fmla="*/ 52 w 353"/>
              <a:gd name="T37" fmla="*/ 233 h 354"/>
              <a:gd name="T38" fmla="*/ 225 w 353"/>
              <a:gd name="T39" fmla="*/ 60 h 354"/>
              <a:gd name="T40" fmla="*/ 293 w 353"/>
              <a:gd name="T41" fmla="*/ 128 h 354"/>
              <a:gd name="T42" fmla="*/ 120 w 353"/>
              <a:gd name="T43" fmla="*/ 301 h 354"/>
              <a:gd name="T44" fmla="*/ 323 w 353"/>
              <a:gd name="T45" fmla="*/ 99 h 354"/>
              <a:gd name="T46" fmla="*/ 305 w 353"/>
              <a:gd name="T47" fmla="*/ 117 h 354"/>
              <a:gd name="T48" fmla="*/ 236 w 353"/>
              <a:gd name="T49" fmla="*/ 49 h 354"/>
              <a:gd name="T50" fmla="*/ 255 w 353"/>
              <a:gd name="T51" fmla="*/ 31 h 354"/>
              <a:gd name="T52" fmla="*/ 289 w 353"/>
              <a:gd name="T53" fmla="*/ 16 h 354"/>
              <a:gd name="T54" fmla="*/ 337 w 353"/>
              <a:gd name="T55" fmla="*/ 65 h 354"/>
              <a:gd name="T56" fmla="*/ 323 w 353"/>
              <a:gd name="T57" fmla="*/ 9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3" h="354">
                <a:moveTo>
                  <a:pt x="289" y="0"/>
                </a:moveTo>
                <a:cubicBezTo>
                  <a:pt x="271" y="0"/>
                  <a:pt x="255" y="8"/>
                  <a:pt x="243" y="19"/>
                </a:cubicBezTo>
                <a:cubicBezTo>
                  <a:pt x="27" y="236"/>
                  <a:pt x="27" y="236"/>
                  <a:pt x="27" y="236"/>
                </a:cubicBezTo>
                <a:cubicBezTo>
                  <a:pt x="0" y="354"/>
                  <a:pt x="0" y="354"/>
                  <a:pt x="0" y="354"/>
                </a:cubicBezTo>
                <a:cubicBezTo>
                  <a:pt x="118" y="327"/>
                  <a:pt x="118" y="327"/>
                  <a:pt x="118" y="327"/>
                </a:cubicBezTo>
                <a:cubicBezTo>
                  <a:pt x="334" y="110"/>
                  <a:pt x="334" y="110"/>
                  <a:pt x="334" y="110"/>
                </a:cubicBezTo>
                <a:cubicBezTo>
                  <a:pt x="346" y="98"/>
                  <a:pt x="353" y="82"/>
                  <a:pt x="353" y="65"/>
                </a:cubicBezTo>
                <a:cubicBezTo>
                  <a:pt x="353" y="29"/>
                  <a:pt x="324" y="0"/>
                  <a:pt x="289" y="0"/>
                </a:cubicBezTo>
                <a:moveTo>
                  <a:pt x="104" y="312"/>
                </a:moveTo>
                <a:cubicBezTo>
                  <a:pt x="48" y="325"/>
                  <a:pt x="48" y="325"/>
                  <a:pt x="48" y="325"/>
                </a:cubicBezTo>
                <a:cubicBezTo>
                  <a:pt x="48" y="305"/>
                  <a:pt x="48" y="305"/>
                  <a:pt x="48" y="305"/>
                </a:cubicBezTo>
                <a:cubicBezTo>
                  <a:pt x="29" y="305"/>
                  <a:pt x="29" y="305"/>
                  <a:pt x="29" y="305"/>
                </a:cubicBezTo>
                <a:cubicBezTo>
                  <a:pt x="42" y="249"/>
                  <a:pt x="42" y="249"/>
                  <a:pt x="42" y="249"/>
                </a:cubicBezTo>
                <a:cubicBezTo>
                  <a:pt x="104" y="249"/>
                  <a:pt x="104" y="249"/>
                  <a:pt x="104" y="249"/>
                </a:cubicBezTo>
                <a:lnTo>
                  <a:pt x="104" y="312"/>
                </a:lnTo>
                <a:close/>
                <a:moveTo>
                  <a:pt x="120" y="301"/>
                </a:moveTo>
                <a:cubicBezTo>
                  <a:pt x="120" y="241"/>
                  <a:pt x="120" y="241"/>
                  <a:pt x="120" y="241"/>
                </a:cubicBezTo>
                <a:cubicBezTo>
                  <a:pt x="120" y="237"/>
                  <a:pt x="117" y="233"/>
                  <a:pt x="112" y="233"/>
                </a:cubicBezTo>
                <a:cubicBezTo>
                  <a:pt x="52" y="233"/>
                  <a:pt x="52" y="233"/>
                  <a:pt x="52" y="233"/>
                </a:cubicBezTo>
                <a:cubicBezTo>
                  <a:pt x="225" y="60"/>
                  <a:pt x="225" y="60"/>
                  <a:pt x="225" y="60"/>
                </a:cubicBezTo>
                <a:cubicBezTo>
                  <a:pt x="293" y="128"/>
                  <a:pt x="293" y="128"/>
                  <a:pt x="293" y="128"/>
                </a:cubicBezTo>
                <a:lnTo>
                  <a:pt x="120" y="301"/>
                </a:lnTo>
                <a:close/>
                <a:moveTo>
                  <a:pt x="323" y="99"/>
                </a:moveTo>
                <a:cubicBezTo>
                  <a:pt x="305" y="117"/>
                  <a:pt x="305" y="117"/>
                  <a:pt x="305" y="117"/>
                </a:cubicBezTo>
                <a:cubicBezTo>
                  <a:pt x="236" y="49"/>
                  <a:pt x="236" y="49"/>
                  <a:pt x="236" y="49"/>
                </a:cubicBezTo>
                <a:cubicBezTo>
                  <a:pt x="255" y="31"/>
                  <a:pt x="255" y="31"/>
                  <a:pt x="255" y="31"/>
                </a:cubicBezTo>
                <a:cubicBezTo>
                  <a:pt x="255" y="31"/>
                  <a:pt x="268" y="16"/>
                  <a:pt x="289" y="16"/>
                </a:cubicBezTo>
                <a:cubicBezTo>
                  <a:pt x="315" y="16"/>
                  <a:pt x="337" y="38"/>
                  <a:pt x="337" y="65"/>
                </a:cubicBezTo>
                <a:cubicBezTo>
                  <a:pt x="337" y="78"/>
                  <a:pt x="332" y="90"/>
                  <a:pt x="323" y="9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80">
            <a:extLst>
              <a:ext uri="{FF2B5EF4-FFF2-40B4-BE49-F238E27FC236}">
                <a16:creationId xmlns:a16="http://schemas.microsoft.com/office/drawing/2014/main" id="{394D887F-6985-7939-D1FB-A62783BBB464}"/>
              </a:ext>
            </a:extLst>
          </p:cNvPr>
          <p:cNvSpPr>
            <a:spLocks noEditPoints="1"/>
          </p:cNvSpPr>
          <p:nvPr/>
        </p:nvSpPr>
        <p:spPr bwMode="auto">
          <a:xfrm>
            <a:off x="4424926" y="2401241"/>
            <a:ext cx="566205" cy="566205"/>
          </a:xfrm>
          <a:custGeom>
            <a:avLst/>
            <a:gdLst>
              <a:gd name="T0" fmla="*/ 77 w 353"/>
              <a:gd name="T1" fmla="*/ 238 h 353"/>
              <a:gd name="T2" fmla="*/ 86 w 353"/>
              <a:gd name="T3" fmla="*/ 230 h 353"/>
              <a:gd name="T4" fmla="*/ 88 w 353"/>
              <a:gd name="T5" fmla="*/ 225 h 353"/>
              <a:gd name="T6" fmla="*/ 80 w 353"/>
              <a:gd name="T7" fmla="*/ 217 h 353"/>
              <a:gd name="T8" fmla="*/ 74 w 353"/>
              <a:gd name="T9" fmla="*/ 219 h 353"/>
              <a:gd name="T10" fmla="*/ 66 w 353"/>
              <a:gd name="T11" fmla="*/ 227 h 353"/>
              <a:gd name="T12" fmla="*/ 64 w 353"/>
              <a:gd name="T13" fmla="*/ 233 h 353"/>
              <a:gd name="T14" fmla="*/ 72 w 353"/>
              <a:gd name="T15" fmla="*/ 241 h 353"/>
              <a:gd name="T16" fmla="*/ 77 w 353"/>
              <a:gd name="T17" fmla="*/ 238 h 353"/>
              <a:gd name="T18" fmla="*/ 128 w 353"/>
              <a:gd name="T19" fmla="*/ 233 h 353"/>
              <a:gd name="T20" fmla="*/ 120 w 353"/>
              <a:gd name="T21" fmla="*/ 225 h 353"/>
              <a:gd name="T22" fmla="*/ 114 w 353"/>
              <a:gd name="T23" fmla="*/ 227 h 353"/>
              <a:gd name="T24" fmla="*/ 34 w 353"/>
              <a:gd name="T25" fmla="*/ 307 h 353"/>
              <a:gd name="T26" fmla="*/ 32 w 353"/>
              <a:gd name="T27" fmla="*/ 313 h 353"/>
              <a:gd name="T28" fmla="*/ 40 w 353"/>
              <a:gd name="T29" fmla="*/ 321 h 353"/>
              <a:gd name="T30" fmla="*/ 45 w 353"/>
              <a:gd name="T31" fmla="*/ 319 h 353"/>
              <a:gd name="T32" fmla="*/ 126 w 353"/>
              <a:gd name="T33" fmla="*/ 238 h 353"/>
              <a:gd name="T34" fmla="*/ 128 w 353"/>
              <a:gd name="T35" fmla="*/ 233 h 353"/>
              <a:gd name="T36" fmla="*/ 128 w 353"/>
              <a:gd name="T37" fmla="*/ 265 h 353"/>
              <a:gd name="T38" fmla="*/ 122 w 353"/>
              <a:gd name="T39" fmla="*/ 267 h 353"/>
              <a:gd name="T40" fmla="*/ 98 w 353"/>
              <a:gd name="T41" fmla="*/ 291 h 353"/>
              <a:gd name="T42" fmla="*/ 96 w 353"/>
              <a:gd name="T43" fmla="*/ 297 h 353"/>
              <a:gd name="T44" fmla="*/ 104 w 353"/>
              <a:gd name="T45" fmla="*/ 305 h 353"/>
              <a:gd name="T46" fmla="*/ 110 w 353"/>
              <a:gd name="T47" fmla="*/ 302 h 353"/>
              <a:gd name="T48" fmla="*/ 134 w 353"/>
              <a:gd name="T49" fmla="*/ 278 h 353"/>
              <a:gd name="T50" fmla="*/ 136 w 353"/>
              <a:gd name="T51" fmla="*/ 273 h 353"/>
              <a:gd name="T52" fmla="*/ 128 w 353"/>
              <a:gd name="T53" fmla="*/ 265 h 353"/>
              <a:gd name="T54" fmla="*/ 353 w 353"/>
              <a:gd name="T55" fmla="*/ 8 h 353"/>
              <a:gd name="T56" fmla="*/ 345 w 353"/>
              <a:gd name="T57" fmla="*/ 0 h 353"/>
              <a:gd name="T58" fmla="*/ 341 w 353"/>
              <a:gd name="T59" fmla="*/ 1 h 353"/>
              <a:gd name="T60" fmla="*/ 341 w 353"/>
              <a:gd name="T61" fmla="*/ 1 h 353"/>
              <a:gd name="T62" fmla="*/ 4 w 353"/>
              <a:gd name="T63" fmla="*/ 145 h 353"/>
              <a:gd name="T64" fmla="*/ 4 w 353"/>
              <a:gd name="T65" fmla="*/ 145 h 353"/>
              <a:gd name="T66" fmla="*/ 4 w 353"/>
              <a:gd name="T67" fmla="*/ 145 h 353"/>
              <a:gd name="T68" fmla="*/ 4 w 353"/>
              <a:gd name="T69" fmla="*/ 145 h 353"/>
              <a:gd name="T70" fmla="*/ 0 w 353"/>
              <a:gd name="T71" fmla="*/ 152 h 353"/>
              <a:gd name="T72" fmla="*/ 5 w 353"/>
              <a:gd name="T73" fmla="*/ 160 h 353"/>
              <a:gd name="T74" fmla="*/ 5 w 353"/>
              <a:gd name="T75" fmla="*/ 160 h 353"/>
              <a:gd name="T76" fmla="*/ 138 w 353"/>
              <a:gd name="T77" fmla="*/ 215 h 353"/>
              <a:gd name="T78" fmla="*/ 193 w 353"/>
              <a:gd name="T79" fmla="*/ 347 h 353"/>
              <a:gd name="T80" fmla="*/ 193 w 353"/>
              <a:gd name="T81" fmla="*/ 347 h 353"/>
              <a:gd name="T82" fmla="*/ 200 w 353"/>
              <a:gd name="T83" fmla="*/ 353 h 353"/>
              <a:gd name="T84" fmla="*/ 207 w 353"/>
              <a:gd name="T85" fmla="*/ 348 h 353"/>
              <a:gd name="T86" fmla="*/ 208 w 353"/>
              <a:gd name="T87" fmla="*/ 348 h 353"/>
              <a:gd name="T88" fmla="*/ 208 w 353"/>
              <a:gd name="T89" fmla="*/ 348 h 353"/>
              <a:gd name="T90" fmla="*/ 208 w 353"/>
              <a:gd name="T91" fmla="*/ 348 h 353"/>
              <a:gd name="T92" fmla="*/ 352 w 353"/>
              <a:gd name="T93" fmla="*/ 11 h 353"/>
              <a:gd name="T94" fmla="*/ 352 w 353"/>
              <a:gd name="T95" fmla="*/ 11 h 353"/>
              <a:gd name="T96" fmla="*/ 353 w 353"/>
              <a:gd name="T97" fmla="*/ 8 h 353"/>
              <a:gd name="T98" fmla="*/ 28 w 353"/>
              <a:gd name="T99" fmla="*/ 152 h 353"/>
              <a:gd name="T100" fmla="*/ 310 w 353"/>
              <a:gd name="T101" fmla="*/ 32 h 353"/>
              <a:gd name="T102" fmla="*/ 142 w 353"/>
              <a:gd name="T103" fmla="*/ 199 h 353"/>
              <a:gd name="T104" fmla="*/ 28 w 353"/>
              <a:gd name="T105" fmla="*/ 152 h 353"/>
              <a:gd name="T106" fmla="*/ 200 w 353"/>
              <a:gd name="T107" fmla="*/ 324 h 353"/>
              <a:gd name="T108" fmla="*/ 153 w 353"/>
              <a:gd name="T109" fmla="*/ 210 h 353"/>
              <a:gd name="T110" fmla="*/ 321 w 353"/>
              <a:gd name="T111" fmla="*/ 43 h 353"/>
              <a:gd name="T112" fmla="*/ 200 w 353"/>
              <a:gd name="T113" fmla="*/ 32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353">
                <a:moveTo>
                  <a:pt x="77" y="238"/>
                </a:moveTo>
                <a:cubicBezTo>
                  <a:pt x="86" y="230"/>
                  <a:pt x="86" y="230"/>
                  <a:pt x="86" y="230"/>
                </a:cubicBezTo>
                <a:cubicBezTo>
                  <a:pt x="87" y="229"/>
                  <a:pt x="88" y="227"/>
                  <a:pt x="88" y="225"/>
                </a:cubicBezTo>
                <a:cubicBezTo>
                  <a:pt x="88" y="220"/>
                  <a:pt x="84" y="217"/>
                  <a:pt x="80" y="217"/>
                </a:cubicBezTo>
                <a:cubicBezTo>
                  <a:pt x="78" y="217"/>
                  <a:pt x="76" y="217"/>
                  <a:pt x="74" y="219"/>
                </a:cubicBezTo>
                <a:cubicBezTo>
                  <a:pt x="66" y="227"/>
                  <a:pt x="66" y="227"/>
                  <a:pt x="66" y="227"/>
                </a:cubicBezTo>
                <a:cubicBezTo>
                  <a:pt x="65" y="228"/>
                  <a:pt x="64" y="230"/>
                  <a:pt x="64" y="233"/>
                </a:cubicBezTo>
                <a:cubicBezTo>
                  <a:pt x="64" y="237"/>
                  <a:pt x="67" y="241"/>
                  <a:pt x="72" y="241"/>
                </a:cubicBezTo>
                <a:cubicBezTo>
                  <a:pt x="74" y="241"/>
                  <a:pt x="76" y="240"/>
                  <a:pt x="77" y="238"/>
                </a:cubicBezTo>
                <a:moveTo>
                  <a:pt x="128" y="233"/>
                </a:moveTo>
                <a:cubicBezTo>
                  <a:pt x="128" y="228"/>
                  <a:pt x="124" y="225"/>
                  <a:pt x="120" y="225"/>
                </a:cubicBezTo>
                <a:cubicBezTo>
                  <a:pt x="118" y="225"/>
                  <a:pt x="116" y="225"/>
                  <a:pt x="114" y="227"/>
                </a:cubicBezTo>
                <a:cubicBezTo>
                  <a:pt x="34" y="307"/>
                  <a:pt x="34" y="307"/>
                  <a:pt x="34" y="307"/>
                </a:cubicBezTo>
                <a:cubicBezTo>
                  <a:pt x="33" y="309"/>
                  <a:pt x="32" y="311"/>
                  <a:pt x="32" y="313"/>
                </a:cubicBezTo>
                <a:cubicBezTo>
                  <a:pt x="32" y="317"/>
                  <a:pt x="35" y="321"/>
                  <a:pt x="40" y="321"/>
                </a:cubicBezTo>
                <a:cubicBezTo>
                  <a:pt x="42" y="321"/>
                  <a:pt x="44" y="320"/>
                  <a:pt x="45" y="319"/>
                </a:cubicBezTo>
                <a:cubicBezTo>
                  <a:pt x="126" y="238"/>
                  <a:pt x="126" y="238"/>
                  <a:pt x="126" y="238"/>
                </a:cubicBezTo>
                <a:cubicBezTo>
                  <a:pt x="127" y="237"/>
                  <a:pt x="128" y="235"/>
                  <a:pt x="128" y="233"/>
                </a:cubicBezTo>
                <a:moveTo>
                  <a:pt x="128" y="265"/>
                </a:moveTo>
                <a:cubicBezTo>
                  <a:pt x="126" y="265"/>
                  <a:pt x="124" y="266"/>
                  <a:pt x="122" y="267"/>
                </a:cubicBezTo>
                <a:cubicBezTo>
                  <a:pt x="98" y="291"/>
                  <a:pt x="98" y="291"/>
                  <a:pt x="98" y="291"/>
                </a:cubicBezTo>
                <a:cubicBezTo>
                  <a:pt x="97" y="293"/>
                  <a:pt x="96" y="295"/>
                  <a:pt x="96" y="297"/>
                </a:cubicBezTo>
                <a:cubicBezTo>
                  <a:pt x="96" y="301"/>
                  <a:pt x="99" y="305"/>
                  <a:pt x="104" y="305"/>
                </a:cubicBezTo>
                <a:cubicBezTo>
                  <a:pt x="106" y="305"/>
                  <a:pt x="108" y="304"/>
                  <a:pt x="110" y="302"/>
                </a:cubicBezTo>
                <a:cubicBezTo>
                  <a:pt x="134" y="278"/>
                  <a:pt x="134" y="278"/>
                  <a:pt x="134" y="278"/>
                </a:cubicBezTo>
                <a:cubicBezTo>
                  <a:pt x="135" y="277"/>
                  <a:pt x="136" y="275"/>
                  <a:pt x="136" y="273"/>
                </a:cubicBezTo>
                <a:cubicBezTo>
                  <a:pt x="136" y="268"/>
                  <a:pt x="132" y="265"/>
                  <a:pt x="128" y="265"/>
                </a:cubicBezTo>
                <a:moveTo>
                  <a:pt x="353" y="8"/>
                </a:moveTo>
                <a:cubicBezTo>
                  <a:pt x="353" y="3"/>
                  <a:pt x="349" y="0"/>
                  <a:pt x="345" y="0"/>
                </a:cubicBezTo>
                <a:cubicBezTo>
                  <a:pt x="344" y="0"/>
                  <a:pt x="342" y="0"/>
                  <a:pt x="341" y="1"/>
                </a:cubicBezTo>
                <a:cubicBezTo>
                  <a:pt x="341" y="1"/>
                  <a:pt x="341" y="1"/>
                  <a:pt x="341" y="1"/>
                </a:cubicBezTo>
                <a:cubicBezTo>
                  <a:pt x="4" y="145"/>
                  <a:pt x="4" y="145"/>
                  <a:pt x="4" y="145"/>
                </a:cubicBezTo>
                <a:cubicBezTo>
                  <a:pt x="4" y="145"/>
                  <a:pt x="4" y="145"/>
                  <a:pt x="4" y="145"/>
                </a:cubicBezTo>
                <a:cubicBezTo>
                  <a:pt x="4" y="145"/>
                  <a:pt x="4" y="145"/>
                  <a:pt x="4" y="145"/>
                </a:cubicBezTo>
                <a:cubicBezTo>
                  <a:pt x="4" y="145"/>
                  <a:pt x="4" y="145"/>
                  <a:pt x="4" y="145"/>
                </a:cubicBezTo>
                <a:cubicBezTo>
                  <a:pt x="1" y="146"/>
                  <a:pt x="0" y="149"/>
                  <a:pt x="0" y="152"/>
                </a:cubicBezTo>
                <a:cubicBezTo>
                  <a:pt x="0" y="156"/>
                  <a:pt x="2" y="159"/>
                  <a:pt x="5" y="160"/>
                </a:cubicBezTo>
                <a:cubicBezTo>
                  <a:pt x="5" y="160"/>
                  <a:pt x="5" y="160"/>
                  <a:pt x="5" y="160"/>
                </a:cubicBezTo>
                <a:cubicBezTo>
                  <a:pt x="138" y="215"/>
                  <a:pt x="138" y="215"/>
                  <a:pt x="138" y="215"/>
                </a:cubicBezTo>
                <a:cubicBezTo>
                  <a:pt x="193" y="347"/>
                  <a:pt x="193" y="347"/>
                  <a:pt x="193" y="347"/>
                </a:cubicBezTo>
                <a:cubicBezTo>
                  <a:pt x="193" y="347"/>
                  <a:pt x="193" y="347"/>
                  <a:pt x="193" y="347"/>
                </a:cubicBezTo>
                <a:cubicBezTo>
                  <a:pt x="194" y="351"/>
                  <a:pt x="197" y="353"/>
                  <a:pt x="200" y="353"/>
                </a:cubicBezTo>
                <a:cubicBezTo>
                  <a:pt x="203" y="353"/>
                  <a:pt x="206" y="351"/>
                  <a:pt x="207" y="348"/>
                </a:cubicBezTo>
                <a:cubicBezTo>
                  <a:pt x="208" y="348"/>
                  <a:pt x="208" y="348"/>
                  <a:pt x="208" y="348"/>
                </a:cubicBezTo>
                <a:cubicBezTo>
                  <a:pt x="208" y="348"/>
                  <a:pt x="208" y="348"/>
                  <a:pt x="208" y="348"/>
                </a:cubicBezTo>
                <a:cubicBezTo>
                  <a:pt x="208" y="348"/>
                  <a:pt x="208" y="348"/>
                  <a:pt x="208" y="348"/>
                </a:cubicBezTo>
                <a:cubicBezTo>
                  <a:pt x="352" y="11"/>
                  <a:pt x="352" y="11"/>
                  <a:pt x="352" y="11"/>
                </a:cubicBezTo>
                <a:cubicBezTo>
                  <a:pt x="352" y="11"/>
                  <a:pt x="352" y="11"/>
                  <a:pt x="352" y="11"/>
                </a:cubicBezTo>
                <a:cubicBezTo>
                  <a:pt x="352" y="10"/>
                  <a:pt x="353" y="9"/>
                  <a:pt x="353" y="8"/>
                </a:cubicBezTo>
                <a:moveTo>
                  <a:pt x="28" y="152"/>
                </a:moveTo>
                <a:cubicBezTo>
                  <a:pt x="310" y="32"/>
                  <a:pt x="310" y="32"/>
                  <a:pt x="310" y="32"/>
                </a:cubicBezTo>
                <a:cubicBezTo>
                  <a:pt x="142" y="199"/>
                  <a:pt x="142" y="199"/>
                  <a:pt x="142" y="199"/>
                </a:cubicBezTo>
                <a:lnTo>
                  <a:pt x="28" y="152"/>
                </a:lnTo>
                <a:close/>
                <a:moveTo>
                  <a:pt x="200" y="324"/>
                </a:moveTo>
                <a:cubicBezTo>
                  <a:pt x="153" y="210"/>
                  <a:pt x="153" y="210"/>
                  <a:pt x="153" y="210"/>
                </a:cubicBezTo>
                <a:cubicBezTo>
                  <a:pt x="321" y="43"/>
                  <a:pt x="321" y="43"/>
                  <a:pt x="321" y="43"/>
                </a:cubicBezTo>
                <a:lnTo>
                  <a:pt x="200" y="3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Freeform 85">
            <a:extLst>
              <a:ext uri="{FF2B5EF4-FFF2-40B4-BE49-F238E27FC236}">
                <a16:creationId xmlns:a16="http://schemas.microsoft.com/office/drawing/2014/main" id="{241F1799-6178-5A69-29AE-A29528FEF9CB}"/>
              </a:ext>
            </a:extLst>
          </p:cNvPr>
          <p:cNvSpPr>
            <a:spLocks noEditPoints="1"/>
          </p:cNvSpPr>
          <p:nvPr/>
        </p:nvSpPr>
        <p:spPr bwMode="auto">
          <a:xfrm>
            <a:off x="4508316" y="4837824"/>
            <a:ext cx="566205" cy="566205"/>
          </a:xfrm>
          <a:custGeom>
            <a:avLst/>
            <a:gdLst>
              <a:gd name="T0" fmla="*/ 177 w 353"/>
              <a:gd name="T1" fmla="*/ 273 h 353"/>
              <a:gd name="T2" fmla="*/ 177 w 353"/>
              <a:gd name="T3" fmla="*/ 96 h 353"/>
              <a:gd name="T4" fmla="*/ 177 w 353"/>
              <a:gd name="T5" fmla="*/ 144 h 353"/>
              <a:gd name="T6" fmla="*/ 177 w 353"/>
              <a:gd name="T7" fmla="*/ 96 h 353"/>
              <a:gd name="T8" fmla="*/ 103 w 353"/>
              <a:gd name="T9" fmla="*/ 145 h 353"/>
              <a:gd name="T10" fmla="*/ 169 w 353"/>
              <a:gd name="T11" fmla="*/ 207 h 353"/>
              <a:gd name="T12" fmla="*/ 177 w 353"/>
              <a:gd name="T13" fmla="*/ 160 h 353"/>
              <a:gd name="T14" fmla="*/ 161 w 353"/>
              <a:gd name="T15" fmla="*/ 176 h 353"/>
              <a:gd name="T16" fmla="*/ 185 w 353"/>
              <a:gd name="T17" fmla="*/ 207 h 353"/>
              <a:gd name="T18" fmla="*/ 251 w 353"/>
              <a:gd name="T19" fmla="*/ 145 h 353"/>
              <a:gd name="T20" fmla="*/ 325 w 353"/>
              <a:gd name="T21" fmla="*/ 137 h 353"/>
              <a:gd name="T22" fmla="*/ 318 w 353"/>
              <a:gd name="T23" fmla="*/ 68 h 353"/>
              <a:gd name="T24" fmla="*/ 268 w 353"/>
              <a:gd name="T25" fmla="*/ 35 h 353"/>
              <a:gd name="T26" fmla="*/ 212 w 353"/>
              <a:gd name="T27" fmla="*/ 12 h 353"/>
              <a:gd name="T28" fmla="*/ 142 w 353"/>
              <a:gd name="T29" fmla="*/ 12 h 353"/>
              <a:gd name="T30" fmla="*/ 85 w 353"/>
              <a:gd name="T31" fmla="*/ 35 h 353"/>
              <a:gd name="T32" fmla="*/ 35 w 353"/>
              <a:gd name="T33" fmla="*/ 68 h 353"/>
              <a:gd name="T34" fmla="*/ 29 w 353"/>
              <a:gd name="T35" fmla="*/ 137 h 353"/>
              <a:gd name="T36" fmla="*/ 0 w 353"/>
              <a:gd name="T37" fmla="*/ 200 h 353"/>
              <a:gd name="T38" fmla="*/ 44 w 353"/>
              <a:gd name="T39" fmla="*/ 253 h 353"/>
              <a:gd name="T40" fmla="*/ 69 w 353"/>
              <a:gd name="T41" fmla="*/ 318 h 353"/>
              <a:gd name="T42" fmla="*/ 100 w 353"/>
              <a:gd name="T43" fmla="*/ 309 h 353"/>
              <a:gd name="T44" fmla="*/ 153 w 353"/>
              <a:gd name="T45" fmla="*/ 353 h 353"/>
              <a:gd name="T46" fmla="*/ 216 w 353"/>
              <a:gd name="T47" fmla="*/ 324 h 353"/>
              <a:gd name="T48" fmla="*/ 278 w 353"/>
              <a:gd name="T49" fmla="*/ 321 h 353"/>
              <a:gd name="T50" fmla="*/ 318 w 353"/>
              <a:gd name="T51" fmla="*/ 268 h 353"/>
              <a:gd name="T52" fmla="*/ 342 w 353"/>
              <a:gd name="T53" fmla="*/ 212 h 353"/>
              <a:gd name="T54" fmla="*/ 342 w 353"/>
              <a:gd name="T55" fmla="*/ 141 h 353"/>
              <a:gd name="T56" fmla="*/ 321 w 353"/>
              <a:gd name="T57" fmla="*/ 200 h 353"/>
              <a:gd name="T58" fmla="*/ 296 w 353"/>
              <a:gd name="T59" fmla="*/ 261 h 353"/>
              <a:gd name="T60" fmla="*/ 276 w 353"/>
              <a:gd name="T61" fmla="*/ 304 h 353"/>
              <a:gd name="T62" fmla="*/ 245 w 353"/>
              <a:gd name="T63" fmla="*/ 295 h 353"/>
              <a:gd name="T64" fmla="*/ 197 w 353"/>
              <a:gd name="T65" fmla="*/ 337 h 353"/>
              <a:gd name="T66" fmla="*/ 153 w 353"/>
              <a:gd name="T67" fmla="*/ 320 h 353"/>
              <a:gd name="T68" fmla="*/ 100 w 353"/>
              <a:gd name="T69" fmla="*/ 293 h 353"/>
              <a:gd name="T70" fmla="*/ 77 w 353"/>
              <a:gd name="T71" fmla="*/ 304 h 353"/>
              <a:gd name="T72" fmla="*/ 58 w 353"/>
              <a:gd name="T73" fmla="*/ 245 h 353"/>
              <a:gd name="T74" fmla="*/ 16 w 353"/>
              <a:gd name="T75" fmla="*/ 196 h 353"/>
              <a:gd name="T76" fmla="*/ 33 w 353"/>
              <a:gd name="T77" fmla="*/ 152 h 353"/>
              <a:gd name="T78" fmla="*/ 58 w 353"/>
              <a:gd name="T79" fmla="*/ 92 h 353"/>
              <a:gd name="T80" fmla="*/ 77 w 353"/>
              <a:gd name="T81" fmla="*/ 49 h 353"/>
              <a:gd name="T82" fmla="*/ 108 w 353"/>
              <a:gd name="T83" fmla="*/ 58 h 353"/>
              <a:gd name="T84" fmla="*/ 157 w 353"/>
              <a:gd name="T85" fmla="*/ 16 h 353"/>
              <a:gd name="T86" fmla="*/ 201 w 353"/>
              <a:gd name="T87" fmla="*/ 33 h 353"/>
              <a:gd name="T88" fmla="*/ 253 w 353"/>
              <a:gd name="T89" fmla="*/ 60 h 353"/>
              <a:gd name="T90" fmla="*/ 304 w 353"/>
              <a:gd name="T91" fmla="*/ 77 h 353"/>
              <a:gd name="T92" fmla="*/ 295 w 353"/>
              <a:gd name="T93" fmla="*/ 108 h 353"/>
              <a:gd name="T94" fmla="*/ 337 w 353"/>
              <a:gd name="T95" fmla="*/ 15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3" h="353">
                <a:moveTo>
                  <a:pt x="177" y="80"/>
                </a:moveTo>
                <a:cubicBezTo>
                  <a:pt x="124" y="80"/>
                  <a:pt x="80" y="123"/>
                  <a:pt x="80" y="176"/>
                </a:cubicBezTo>
                <a:cubicBezTo>
                  <a:pt x="80" y="230"/>
                  <a:pt x="124" y="273"/>
                  <a:pt x="177" y="273"/>
                </a:cubicBezTo>
                <a:cubicBezTo>
                  <a:pt x="230" y="273"/>
                  <a:pt x="273" y="230"/>
                  <a:pt x="273" y="176"/>
                </a:cubicBezTo>
                <a:cubicBezTo>
                  <a:pt x="273" y="123"/>
                  <a:pt x="230" y="80"/>
                  <a:pt x="177" y="80"/>
                </a:cubicBezTo>
                <a:moveTo>
                  <a:pt x="177" y="96"/>
                </a:moveTo>
                <a:cubicBezTo>
                  <a:pt x="204" y="96"/>
                  <a:pt x="228" y="110"/>
                  <a:pt x="243" y="131"/>
                </a:cubicBezTo>
                <a:cubicBezTo>
                  <a:pt x="200" y="154"/>
                  <a:pt x="200" y="154"/>
                  <a:pt x="200" y="154"/>
                </a:cubicBezTo>
                <a:cubicBezTo>
                  <a:pt x="194" y="148"/>
                  <a:pt x="186" y="144"/>
                  <a:pt x="177" y="144"/>
                </a:cubicBezTo>
                <a:cubicBezTo>
                  <a:pt x="168" y="144"/>
                  <a:pt x="159" y="148"/>
                  <a:pt x="154" y="154"/>
                </a:cubicBezTo>
                <a:cubicBezTo>
                  <a:pt x="111" y="131"/>
                  <a:pt x="111" y="131"/>
                  <a:pt x="111" y="131"/>
                </a:cubicBezTo>
                <a:cubicBezTo>
                  <a:pt x="125" y="110"/>
                  <a:pt x="150" y="96"/>
                  <a:pt x="177" y="96"/>
                </a:cubicBezTo>
                <a:moveTo>
                  <a:pt x="169" y="256"/>
                </a:moveTo>
                <a:cubicBezTo>
                  <a:pt x="128" y="252"/>
                  <a:pt x="97" y="218"/>
                  <a:pt x="97" y="176"/>
                </a:cubicBezTo>
                <a:cubicBezTo>
                  <a:pt x="97" y="165"/>
                  <a:pt x="99" y="154"/>
                  <a:pt x="103" y="145"/>
                </a:cubicBezTo>
                <a:cubicBezTo>
                  <a:pt x="146" y="168"/>
                  <a:pt x="146" y="168"/>
                  <a:pt x="146" y="168"/>
                </a:cubicBezTo>
                <a:cubicBezTo>
                  <a:pt x="145" y="171"/>
                  <a:pt x="145" y="174"/>
                  <a:pt x="145" y="176"/>
                </a:cubicBezTo>
                <a:cubicBezTo>
                  <a:pt x="145" y="191"/>
                  <a:pt x="155" y="204"/>
                  <a:pt x="169" y="207"/>
                </a:cubicBezTo>
                <a:lnTo>
                  <a:pt x="169" y="256"/>
                </a:lnTo>
                <a:close/>
                <a:moveTo>
                  <a:pt x="161" y="176"/>
                </a:moveTo>
                <a:cubicBezTo>
                  <a:pt x="161" y="168"/>
                  <a:pt x="168" y="160"/>
                  <a:pt x="177" y="160"/>
                </a:cubicBezTo>
                <a:cubicBezTo>
                  <a:pt x="186" y="160"/>
                  <a:pt x="193" y="168"/>
                  <a:pt x="193" y="176"/>
                </a:cubicBezTo>
                <a:cubicBezTo>
                  <a:pt x="193" y="185"/>
                  <a:pt x="186" y="192"/>
                  <a:pt x="177" y="192"/>
                </a:cubicBezTo>
                <a:cubicBezTo>
                  <a:pt x="168" y="192"/>
                  <a:pt x="161" y="185"/>
                  <a:pt x="161" y="176"/>
                </a:cubicBezTo>
                <a:moveTo>
                  <a:pt x="257" y="176"/>
                </a:moveTo>
                <a:cubicBezTo>
                  <a:pt x="257" y="218"/>
                  <a:pt x="225" y="252"/>
                  <a:pt x="185" y="256"/>
                </a:cubicBezTo>
                <a:cubicBezTo>
                  <a:pt x="185" y="207"/>
                  <a:pt x="185" y="207"/>
                  <a:pt x="185" y="207"/>
                </a:cubicBezTo>
                <a:cubicBezTo>
                  <a:pt x="199" y="204"/>
                  <a:pt x="209" y="191"/>
                  <a:pt x="209" y="176"/>
                </a:cubicBezTo>
                <a:cubicBezTo>
                  <a:pt x="209" y="174"/>
                  <a:pt x="208" y="171"/>
                  <a:pt x="208" y="168"/>
                </a:cubicBezTo>
                <a:cubicBezTo>
                  <a:pt x="251" y="145"/>
                  <a:pt x="251" y="145"/>
                  <a:pt x="251" y="145"/>
                </a:cubicBezTo>
                <a:cubicBezTo>
                  <a:pt x="255" y="154"/>
                  <a:pt x="257" y="165"/>
                  <a:pt x="257" y="176"/>
                </a:cubicBezTo>
                <a:moveTo>
                  <a:pt x="342" y="141"/>
                </a:moveTo>
                <a:cubicBezTo>
                  <a:pt x="325" y="137"/>
                  <a:pt x="325" y="137"/>
                  <a:pt x="325" y="137"/>
                </a:cubicBezTo>
                <a:cubicBezTo>
                  <a:pt x="321" y="124"/>
                  <a:pt x="316" y="111"/>
                  <a:pt x="309" y="100"/>
                </a:cubicBezTo>
                <a:cubicBezTo>
                  <a:pt x="318" y="85"/>
                  <a:pt x="318" y="85"/>
                  <a:pt x="318" y="85"/>
                </a:cubicBezTo>
                <a:cubicBezTo>
                  <a:pt x="321" y="79"/>
                  <a:pt x="323" y="73"/>
                  <a:pt x="318" y="68"/>
                </a:cubicBezTo>
                <a:cubicBezTo>
                  <a:pt x="285" y="35"/>
                  <a:pt x="285" y="35"/>
                  <a:pt x="285" y="35"/>
                </a:cubicBezTo>
                <a:cubicBezTo>
                  <a:pt x="283" y="33"/>
                  <a:pt x="280" y="32"/>
                  <a:pt x="278" y="32"/>
                </a:cubicBezTo>
                <a:cubicBezTo>
                  <a:pt x="275" y="32"/>
                  <a:pt x="271" y="33"/>
                  <a:pt x="268" y="35"/>
                </a:cubicBezTo>
                <a:cubicBezTo>
                  <a:pt x="253" y="44"/>
                  <a:pt x="253" y="44"/>
                  <a:pt x="253" y="44"/>
                </a:cubicBezTo>
                <a:cubicBezTo>
                  <a:pt x="242" y="37"/>
                  <a:pt x="229" y="32"/>
                  <a:pt x="216" y="29"/>
                </a:cubicBezTo>
                <a:cubicBezTo>
                  <a:pt x="212" y="12"/>
                  <a:pt x="212" y="12"/>
                  <a:pt x="212" y="12"/>
                </a:cubicBezTo>
                <a:cubicBezTo>
                  <a:pt x="210" y="6"/>
                  <a:pt x="207" y="0"/>
                  <a:pt x="200" y="0"/>
                </a:cubicBezTo>
                <a:cubicBezTo>
                  <a:pt x="153" y="0"/>
                  <a:pt x="153" y="0"/>
                  <a:pt x="153" y="0"/>
                </a:cubicBezTo>
                <a:cubicBezTo>
                  <a:pt x="147" y="0"/>
                  <a:pt x="143" y="6"/>
                  <a:pt x="142" y="12"/>
                </a:cubicBezTo>
                <a:cubicBezTo>
                  <a:pt x="137" y="29"/>
                  <a:pt x="137" y="29"/>
                  <a:pt x="137" y="29"/>
                </a:cubicBezTo>
                <a:cubicBezTo>
                  <a:pt x="124" y="32"/>
                  <a:pt x="112" y="37"/>
                  <a:pt x="100" y="44"/>
                </a:cubicBezTo>
                <a:cubicBezTo>
                  <a:pt x="85" y="35"/>
                  <a:pt x="85" y="35"/>
                  <a:pt x="85" y="35"/>
                </a:cubicBezTo>
                <a:cubicBezTo>
                  <a:pt x="82" y="33"/>
                  <a:pt x="79" y="32"/>
                  <a:pt x="76" y="32"/>
                </a:cubicBezTo>
                <a:cubicBezTo>
                  <a:pt x="73" y="32"/>
                  <a:pt x="71" y="33"/>
                  <a:pt x="69" y="35"/>
                </a:cubicBezTo>
                <a:cubicBezTo>
                  <a:pt x="35" y="68"/>
                  <a:pt x="35" y="68"/>
                  <a:pt x="35" y="68"/>
                </a:cubicBezTo>
                <a:cubicBezTo>
                  <a:pt x="31" y="73"/>
                  <a:pt x="33" y="79"/>
                  <a:pt x="35" y="85"/>
                </a:cubicBezTo>
                <a:cubicBezTo>
                  <a:pt x="44" y="100"/>
                  <a:pt x="44" y="100"/>
                  <a:pt x="44" y="100"/>
                </a:cubicBezTo>
                <a:cubicBezTo>
                  <a:pt x="38" y="111"/>
                  <a:pt x="32" y="124"/>
                  <a:pt x="29" y="137"/>
                </a:cubicBezTo>
                <a:cubicBezTo>
                  <a:pt x="12" y="141"/>
                  <a:pt x="12" y="141"/>
                  <a:pt x="12" y="141"/>
                </a:cubicBezTo>
                <a:cubicBezTo>
                  <a:pt x="6" y="143"/>
                  <a:pt x="0" y="146"/>
                  <a:pt x="0" y="153"/>
                </a:cubicBezTo>
                <a:cubicBezTo>
                  <a:pt x="0" y="200"/>
                  <a:pt x="0" y="200"/>
                  <a:pt x="0" y="200"/>
                </a:cubicBezTo>
                <a:cubicBezTo>
                  <a:pt x="0" y="206"/>
                  <a:pt x="6" y="210"/>
                  <a:pt x="12" y="212"/>
                </a:cubicBezTo>
                <a:cubicBezTo>
                  <a:pt x="29" y="216"/>
                  <a:pt x="29" y="216"/>
                  <a:pt x="29" y="216"/>
                </a:cubicBezTo>
                <a:cubicBezTo>
                  <a:pt x="32" y="229"/>
                  <a:pt x="38" y="241"/>
                  <a:pt x="44" y="253"/>
                </a:cubicBezTo>
                <a:cubicBezTo>
                  <a:pt x="35" y="268"/>
                  <a:pt x="35" y="268"/>
                  <a:pt x="35" y="268"/>
                </a:cubicBezTo>
                <a:cubicBezTo>
                  <a:pt x="32" y="273"/>
                  <a:pt x="31" y="280"/>
                  <a:pt x="35" y="285"/>
                </a:cubicBezTo>
                <a:cubicBezTo>
                  <a:pt x="69" y="318"/>
                  <a:pt x="69" y="318"/>
                  <a:pt x="69" y="318"/>
                </a:cubicBezTo>
                <a:cubicBezTo>
                  <a:pt x="71" y="320"/>
                  <a:pt x="73" y="321"/>
                  <a:pt x="76" y="321"/>
                </a:cubicBezTo>
                <a:cubicBezTo>
                  <a:pt x="79" y="321"/>
                  <a:pt x="82" y="319"/>
                  <a:pt x="85" y="318"/>
                </a:cubicBezTo>
                <a:cubicBezTo>
                  <a:pt x="100" y="309"/>
                  <a:pt x="100" y="309"/>
                  <a:pt x="100" y="309"/>
                </a:cubicBezTo>
                <a:cubicBezTo>
                  <a:pt x="112" y="315"/>
                  <a:pt x="124" y="321"/>
                  <a:pt x="137" y="324"/>
                </a:cubicBezTo>
                <a:cubicBezTo>
                  <a:pt x="142" y="341"/>
                  <a:pt x="142" y="341"/>
                  <a:pt x="142" y="341"/>
                </a:cubicBezTo>
                <a:cubicBezTo>
                  <a:pt x="143" y="347"/>
                  <a:pt x="147" y="353"/>
                  <a:pt x="153" y="353"/>
                </a:cubicBezTo>
                <a:cubicBezTo>
                  <a:pt x="200" y="353"/>
                  <a:pt x="200" y="353"/>
                  <a:pt x="200" y="353"/>
                </a:cubicBezTo>
                <a:cubicBezTo>
                  <a:pt x="207" y="353"/>
                  <a:pt x="210" y="347"/>
                  <a:pt x="212" y="341"/>
                </a:cubicBezTo>
                <a:cubicBezTo>
                  <a:pt x="216" y="324"/>
                  <a:pt x="216" y="324"/>
                  <a:pt x="216" y="324"/>
                </a:cubicBezTo>
                <a:cubicBezTo>
                  <a:pt x="229" y="321"/>
                  <a:pt x="242" y="315"/>
                  <a:pt x="253" y="309"/>
                </a:cubicBezTo>
                <a:cubicBezTo>
                  <a:pt x="268" y="318"/>
                  <a:pt x="268" y="318"/>
                  <a:pt x="268" y="318"/>
                </a:cubicBezTo>
                <a:cubicBezTo>
                  <a:pt x="271" y="319"/>
                  <a:pt x="275" y="321"/>
                  <a:pt x="278" y="321"/>
                </a:cubicBezTo>
                <a:cubicBezTo>
                  <a:pt x="281" y="321"/>
                  <a:pt x="283" y="320"/>
                  <a:pt x="285" y="318"/>
                </a:cubicBezTo>
                <a:cubicBezTo>
                  <a:pt x="318" y="285"/>
                  <a:pt x="318" y="285"/>
                  <a:pt x="318" y="285"/>
                </a:cubicBezTo>
                <a:cubicBezTo>
                  <a:pt x="323" y="280"/>
                  <a:pt x="321" y="273"/>
                  <a:pt x="318" y="268"/>
                </a:cubicBezTo>
                <a:cubicBezTo>
                  <a:pt x="309" y="253"/>
                  <a:pt x="309" y="253"/>
                  <a:pt x="309" y="253"/>
                </a:cubicBezTo>
                <a:cubicBezTo>
                  <a:pt x="316" y="241"/>
                  <a:pt x="321" y="229"/>
                  <a:pt x="325" y="216"/>
                </a:cubicBezTo>
                <a:cubicBezTo>
                  <a:pt x="342" y="212"/>
                  <a:pt x="342" y="212"/>
                  <a:pt x="342" y="212"/>
                </a:cubicBezTo>
                <a:cubicBezTo>
                  <a:pt x="347" y="210"/>
                  <a:pt x="353" y="206"/>
                  <a:pt x="353" y="200"/>
                </a:cubicBezTo>
                <a:cubicBezTo>
                  <a:pt x="353" y="153"/>
                  <a:pt x="353" y="153"/>
                  <a:pt x="353" y="153"/>
                </a:cubicBezTo>
                <a:cubicBezTo>
                  <a:pt x="353" y="146"/>
                  <a:pt x="347" y="143"/>
                  <a:pt x="342" y="141"/>
                </a:cubicBezTo>
                <a:moveTo>
                  <a:pt x="337" y="196"/>
                </a:moveTo>
                <a:cubicBezTo>
                  <a:pt x="337" y="196"/>
                  <a:pt x="337" y="196"/>
                  <a:pt x="337" y="196"/>
                </a:cubicBezTo>
                <a:cubicBezTo>
                  <a:pt x="321" y="200"/>
                  <a:pt x="321" y="200"/>
                  <a:pt x="321" y="200"/>
                </a:cubicBezTo>
                <a:cubicBezTo>
                  <a:pt x="315" y="202"/>
                  <a:pt x="311" y="206"/>
                  <a:pt x="309" y="212"/>
                </a:cubicBezTo>
                <a:cubicBezTo>
                  <a:pt x="306" y="223"/>
                  <a:pt x="301" y="234"/>
                  <a:pt x="295" y="245"/>
                </a:cubicBezTo>
                <a:cubicBezTo>
                  <a:pt x="292" y="250"/>
                  <a:pt x="293" y="256"/>
                  <a:pt x="296" y="261"/>
                </a:cubicBezTo>
                <a:cubicBezTo>
                  <a:pt x="304" y="276"/>
                  <a:pt x="304" y="276"/>
                  <a:pt x="304" y="276"/>
                </a:cubicBezTo>
                <a:cubicBezTo>
                  <a:pt x="276" y="304"/>
                  <a:pt x="276" y="304"/>
                  <a:pt x="276" y="304"/>
                </a:cubicBezTo>
                <a:cubicBezTo>
                  <a:pt x="276" y="304"/>
                  <a:pt x="276" y="304"/>
                  <a:pt x="276" y="304"/>
                </a:cubicBezTo>
                <a:cubicBezTo>
                  <a:pt x="262" y="295"/>
                  <a:pt x="262" y="295"/>
                  <a:pt x="262" y="295"/>
                </a:cubicBezTo>
                <a:cubicBezTo>
                  <a:pt x="259" y="294"/>
                  <a:pt x="256" y="293"/>
                  <a:pt x="253" y="293"/>
                </a:cubicBezTo>
                <a:cubicBezTo>
                  <a:pt x="250" y="293"/>
                  <a:pt x="248" y="293"/>
                  <a:pt x="245" y="295"/>
                </a:cubicBezTo>
                <a:cubicBezTo>
                  <a:pt x="235" y="301"/>
                  <a:pt x="224" y="305"/>
                  <a:pt x="212" y="309"/>
                </a:cubicBezTo>
                <a:cubicBezTo>
                  <a:pt x="207" y="310"/>
                  <a:pt x="202" y="315"/>
                  <a:pt x="201" y="320"/>
                </a:cubicBezTo>
                <a:cubicBezTo>
                  <a:pt x="197" y="337"/>
                  <a:pt x="197" y="337"/>
                  <a:pt x="197" y="337"/>
                </a:cubicBezTo>
                <a:cubicBezTo>
                  <a:pt x="197" y="337"/>
                  <a:pt x="197" y="337"/>
                  <a:pt x="197" y="337"/>
                </a:cubicBezTo>
                <a:cubicBezTo>
                  <a:pt x="157" y="337"/>
                  <a:pt x="157" y="337"/>
                  <a:pt x="157" y="337"/>
                </a:cubicBezTo>
                <a:cubicBezTo>
                  <a:pt x="153" y="320"/>
                  <a:pt x="153" y="320"/>
                  <a:pt x="153" y="320"/>
                </a:cubicBezTo>
                <a:cubicBezTo>
                  <a:pt x="151" y="315"/>
                  <a:pt x="147" y="310"/>
                  <a:pt x="141" y="309"/>
                </a:cubicBezTo>
                <a:cubicBezTo>
                  <a:pt x="130" y="305"/>
                  <a:pt x="119" y="301"/>
                  <a:pt x="108" y="295"/>
                </a:cubicBezTo>
                <a:cubicBezTo>
                  <a:pt x="106" y="293"/>
                  <a:pt x="103" y="293"/>
                  <a:pt x="100" y="293"/>
                </a:cubicBezTo>
                <a:cubicBezTo>
                  <a:pt x="98" y="293"/>
                  <a:pt x="95" y="294"/>
                  <a:pt x="92" y="295"/>
                </a:cubicBezTo>
                <a:cubicBezTo>
                  <a:pt x="77" y="304"/>
                  <a:pt x="77" y="304"/>
                  <a:pt x="77" y="304"/>
                </a:cubicBezTo>
                <a:cubicBezTo>
                  <a:pt x="77" y="304"/>
                  <a:pt x="77" y="304"/>
                  <a:pt x="77" y="304"/>
                </a:cubicBezTo>
                <a:cubicBezTo>
                  <a:pt x="49" y="276"/>
                  <a:pt x="49" y="276"/>
                  <a:pt x="49" y="276"/>
                </a:cubicBezTo>
                <a:cubicBezTo>
                  <a:pt x="58" y="261"/>
                  <a:pt x="58" y="261"/>
                  <a:pt x="58" y="261"/>
                </a:cubicBezTo>
                <a:cubicBezTo>
                  <a:pt x="61" y="256"/>
                  <a:pt x="61" y="250"/>
                  <a:pt x="58" y="245"/>
                </a:cubicBezTo>
                <a:cubicBezTo>
                  <a:pt x="52" y="234"/>
                  <a:pt x="48" y="223"/>
                  <a:pt x="44" y="212"/>
                </a:cubicBezTo>
                <a:cubicBezTo>
                  <a:pt x="43" y="206"/>
                  <a:pt x="39" y="202"/>
                  <a:pt x="33" y="200"/>
                </a:cubicBezTo>
                <a:cubicBezTo>
                  <a:pt x="16" y="196"/>
                  <a:pt x="16" y="196"/>
                  <a:pt x="16" y="196"/>
                </a:cubicBezTo>
                <a:cubicBezTo>
                  <a:pt x="16" y="196"/>
                  <a:pt x="16" y="196"/>
                  <a:pt x="16" y="196"/>
                </a:cubicBezTo>
                <a:cubicBezTo>
                  <a:pt x="16" y="157"/>
                  <a:pt x="16" y="157"/>
                  <a:pt x="16" y="157"/>
                </a:cubicBezTo>
                <a:cubicBezTo>
                  <a:pt x="33" y="152"/>
                  <a:pt x="33" y="152"/>
                  <a:pt x="33" y="152"/>
                </a:cubicBezTo>
                <a:cubicBezTo>
                  <a:pt x="39" y="151"/>
                  <a:pt x="43" y="147"/>
                  <a:pt x="44" y="141"/>
                </a:cubicBezTo>
                <a:cubicBezTo>
                  <a:pt x="48" y="129"/>
                  <a:pt x="52" y="118"/>
                  <a:pt x="58" y="108"/>
                </a:cubicBezTo>
                <a:cubicBezTo>
                  <a:pt x="61" y="103"/>
                  <a:pt x="61" y="97"/>
                  <a:pt x="58" y="92"/>
                </a:cubicBezTo>
                <a:cubicBezTo>
                  <a:pt x="49" y="77"/>
                  <a:pt x="49" y="77"/>
                  <a:pt x="49" y="77"/>
                </a:cubicBezTo>
                <a:cubicBezTo>
                  <a:pt x="49" y="77"/>
                  <a:pt x="49" y="77"/>
                  <a:pt x="49" y="77"/>
                </a:cubicBezTo>
                <a:cubicBezTo>
                  <a:pt x="77" y="49"/>
                  <a:pt x="77" y="49"/>
                  <a:pt x="77" y="49"/>
                </a:cubicBezTo>
                <a:cubicBezTo>
                  <a:pt x="92" y="58"/>
                  <a:pt x="92" y="58"/>
                  <a:pt x="92" y="58"/>
                </a:cubicBezTo>
                <a:cubicBezTo>
                  <a:pt x="95" y="59"/>
                  <a:pt x="98" y="60"/>
                  <a:pt x="100" y="60"/>
                </a:cubicBezTo>
                <a:cubicBezTo>
                  <a:pt x="103" y="60"/>
                  <a:pt x="106" y="59"/>
                  <a:pt x="108" y="58"/>
                </a:cubicBezTo>
                <a:cubicBezTo>
                  <a:pt x="119" y="52"/>
                  <a:pt x="130" y="47"/>
                  <a:pt x="141" y="44"/>
                </a:cubicBezTo>
                <a:cubicBezTo>
                  <a:pt x="147" y="43"/>
                  <a:pt x="151" y="38"/>
                  <a:pt x="153" y="33"/>
                </a:cubicBezTo>
                <a:cubicBezTo>
                  <a:pt x="157" y="16"/>
                  <a:pt x="157" y="16"/>
                  <a:pt x="157" y="16"/>
                </a:cubicBezTo>
                <a:cubicBezTo>
                  <a:pt x="197" y="16"/>
                  <a:pt x="197" y="16"/>
                  <a:pt x="197" y="16"/>
                </a:cubicBezTo>
                <a:cubicBezTo>
                  <a:pt x="197" y="16"/>
                  <a:pt x="197" y="16"/>
                  <a:pt x="197" y="16"/>
                </a:cubicBezTo>
                <a:cubicBezTo>
                  <a:pt x="201" y="33"/>
                  <a:pt x="201" y="33"/>
                  <a:pt x="201" y="33"/>
                </a:cubicBezTo>
                <a:cubicBezTo>
                  <a:pt x="202" y="38"/>
                  <a:pt x="207" y="43"/>
                  <a:pt x="212" y="44"/>
                </a:cubicBezTo>
                <a:cubicBezTo>
                  <a:pt x="224" y="47"/>
                  <a:pt x="235" y="52"/>
                  <a:pt x="245" y="58"/>
                </a:cubicBezTo>
                <a:cubicBezTo>
                  <a:pt x="248" y="59"/>
                  <a:pt x="250" y="60"/>
                  <a:pt x="253" y="60"/>
                </a:cubicBezTo>
                <a:cubicBezTo>
                  <a:pt x="256" y="60"/>
                  <a:pt x="259" y="59"/>
                  <a:pt x="262" y="58"/>
                </a:cubicBezTo>
                <a:cubicBezTo>
                  <a:pt x="276" y="49"/>
                  <a:pt x="276" y="49"/>
                  <a:pt x="276" y="49"/>
                </a:cubicBezTo>
                <a:cubicBezTo>
                  <a:pt x="304" y="77"/>
                  <a:pt x="304" y="77"/>
                  <a:pt x="304" y="77"/>
                </a:cubicBezTo>
                <a:cubicBezTo>
                  <a:pt x="304" y="77"/>
                  <a:pt x="304" y="77"/>
                  <a:pt x="304" y="77"/>
                </a:cubicBezTo>
                <a:cubicBezTo>
                  <a:pt x="296" y="92"/>
                  <a:pt x="296" y="92"/>
                  <a:pt x="296" y="92"/>
                </a:cubicBezTo>
                <a:cubicBezTo>
                  <a:pt x="293" y="97"/>
                  <a:pt x="292" y="103"/>
                  <a:pt x="295" y="108"/>
                </a:cubicBezTo>
                <a:cubicBezTo>
                  <a:pt x="301" y="118"/>
                  <a:pt x="306" y="129"/>
                  <a:pt x="309" y="141"/>
                </a:cubicBezTo>
                <a:cubicBezTo>
                  <a:pt x="311" y="147"/>
                  <a:pt x="315" y="151"/>
                  <a:pt x="321" y="152"/>
                </a:cubicBezTo>
                <a:cubicBezTo>
                  <a:pt x="337" y="157"/>
                  <a:pt x="337" y="157"/>
                  <a:pt x="337" y="157"/>
                </a:cubicBezTo>
                <a:lnTo>
                  <a:pt x="337"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110">
            <a:extLst>
              <a:ext uri="{FF2B5EF4-FFF2-40B4-BE49-F238E27FC236}">
                <a16:creationId xmlns:a16="http://schemas.microsoft.com/office/drawing/2014/main" id="{D7B405FB-7F72-E027-109B-975C8656D8C5}"/>
              </a:ext>
            </a:extLst>
          </p:cNvPr>
          <p:cNvSpPr>
            <a:spLocks noEditPoints="1"/>
          </p:cNvSpPr>
          <p:nvPr/>
        </p:nvSpPr>
        <p:spPr bwMode="auto">
          <a:xfrm>
            <a:off x="7118767" y="2401241"/>
            <a:ext cx="566205" cy="464204"/>
          </a:xfrm>
          <a:custGeom>
            <a:avLst/>
            <a:gdLst>
              <a:gd name="T0" fmla="*/ 68 w 353"/>
              <a:gd name="T1" fmla="*/ 173 h 289"/>
              <a:gd name="T2" fmla="*/ 55 w 353"/>
              <a:gd name="T3" fmla="*/ 131 h 289"/>
              <a:gd name="T4" fmla="*/ 55 w 353"/>
              <a:gd name="T5" fmla="*/ 117 h 289"/>
              <a:gd name="T6" fmla="*/ 49 w 353"/>
              <a:gd name="T7" fmla="*/ 75 h 289"/>
              <a:gd name="T8" fmla="*/ 69 w 353"/>
              <a:gd name="T9" fmla="*/ 52 h 289"/>
              <a:gd name="T10" fmla="*/ 98 w 353"/>
              <a:gd name="T11" fmla="*/ 50 h 289"/>
              <a:gd name="T12" fmla="*/ 103 w 353"/>
              <a:gd name="T13" fmla="*/ 35 h 289"/>
              <a:gd name="T14" fmla="*/ 61 w 353"/>
              <a:gd name="T15" fmla="*/ 39 h 289"/>
              <a:gd name="T16" fmla="*/ 40 w 353"/>
              <a:gd name="T17" fmla="*/ 113 h 289"/>
              <a:gd name="T18" fmla="*/ 52 w 353"/>
              <a:gd name="T19" fmla="*/ 173 h 289"/>
              <a:gd name="T20" fmla="*/ 0 w 353"/>
              <a:gd name="T21" fmla="*/ 249 h 289"/>
              <a:gd name="T22" fmla="*/ 43 w 353"/>
              <a:gd name="T23" fmla="*/ 257 h 289"/>
              <a:gd name="T24" fmla="*/ 16 w 353"/>
              <a:gd name="T25" fmla="*/ 241 h 289"/>
              <a:gd name="T26" fmla="*/ 319 w 353"/>
              <a:gd name="T27" fmla="*/ 201 h 289"/>
              <a:gd name="T28" fmla="*/ 311 w 353"/>
              <a:gd name="T29" fmla="*/ 140 h 289"/>
              <a:gd name="T30" fmla="*/ 318 w 353"/>
              <a:gd name="T31" fmla="*/ 69 h 289"/>
              <a:gd name="T32" fmla="*/ 265 w 353"/>
              <a:gd name="T33" fmla="*/ 32 h 289"/>
              <a:gd name="T34" fmla="*/ 253 w 353"/>
              <a:gd name="T35" fmla="*/ 51 h 289"/>
              <a:gd name="T36" fmla="*/ 265 w 353"/>
              <a:gd name="T37" fmla="*/ 48 h 289"/>
              <a:gd name="T38" fmla="*/ 285 w 353"/>
              <a:gd name="T39" fmla="*/ 53 h 289"/>
              <a:gd name="T40" fmla="*/ 298 w 353"/>
              <a:gd name="T41" fmla="*/ 106 h 289"/>
              <a:gd name="T42" fmla="*/ 298 w 353"/>
              <a:gd name="T43" fmla="*/ 131 h 289"/>
              <a:gd name="T44" fmla="*/ 297 w 353"/>
              <a:gd name="T45" fmla="*/ 132 h 289"/>
              <a:gd name="T46" fmla="*/ 314 w 353"/>
              <a:gd name="T47" fmla="*/ 216 h 289"/>
              <a:gd name="T48" fmla="*/ 301 w 353"/>
              <a:gd name="T49" fmla="*/ 241 h 289"/>
              <a:gd name="T50" fmla="*/ 345 w 353"/>
              <a:gd name="T51" fmla="*/ 257 h 289"/>
              <a:gd name="T52" fmla="*/ 319 w 353"/>
              <a:gd name="T53" fmla="*/ 201 h 289"/>
              <a:gd name="T54" fmla="*/ 211 w 353"/>
              <a:gd name="T55" fmla="*/ 181 h 289"/>
              <a:gd name="T56" fmla="*/ 231 w 353"/>
              <a:gd name="T57" fmla="*/ 105 h 289"/>
              <a:gd name="T58" fmla="*/ 209 w 353"/>
              <a:gd name="T59" fmla="*/ 5 h 289"/>
              <a:gd name="T60" fmla="*/ 152 w 353"/>
              <a:gd name="T61" fmla="*/ 9 h 289"/>
              <a:gd name="T62" fmla="*/ 122 w 353"/>
              <a:gd name="T63" fmla="*/ 104 h 289"/>
              <a:gd name="T64" fmla="*/ 141 w 353"/>
              <a:gd name="T65" fmla="*/ 181 h 289"/>
              <a:gd name="T66" fmla="*/ 56 w 353"/>
              <a:gd name="T67" fmla="*/ 281 h 289"/>
              <a:gd name="T68" fmla="*/ 289 w 353"/>
              <a:gd name="T69" fmla="*/ 289 h 289"/>
              <a:gd name="T70" fmla="*/ 240 w 353"/>
              <a:gd name="T71" fmla="*/ 218 h 289"/>
              <a:gd name="T72" fmla="*/ 116 w 353"/>
              <a:gd name="T73" fmla="*/ 234 h 289"/>
              <a:gd name="T74" fmla="*/ 157 w 353"/>
              <a:gd name="T75" fmla="*/ 181 h 289"/>
              <a:gd name="T76" fmla="*/ 137 w 353"/>
              <a:gd name="T77" fmla="*/ 129 h 289"/>
              <a:gd name="T78" fmla="*/ 137 w 353"/>
              <a:gd name="T79" fmla="*/ 97 h 289"/>
              <a:gd name="T80" fmla="*/ 159 w 353"/>
              <a:gd name="T81" fmla="*/ 23 h 289"/>
              <a:gd name="T82" fmla="*/ 186 w 353"/>
              <a:gd name="T83" fmla="*/ 16 h 289"/>
              <a:gd name="T84" fmla="*/ 217 w 353"/>
              <a:gd name="T85" fmla="*/ 44 h 289"/>
              <a:gd name="T86" fmla="*/ 215 w 353"/>
              <a:gd name="T87" fmla="*/ 108 h 289"/>
              <a:gd name="T88" fmla="*/ 213 w 353"/>
              <a:gd name="T89" fmla="*/ 132 h 289"/>
              <a:gd name="T90" fmla="*/ 235 w 353"/>
              <a:gd name="T91" fmla="*/ 234 h 289"/>
              <a:gd name="T92" fmla="*/ 280 w 353"/>
              <a:gd name="T93" fmla="*/ 27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89">
                <a:moveTo>
                  <a:pt x="38" y="216"/>
                </a:moveTo>
                <a:cubicBezTo>
                  <a:pt x="49" y="213"/>
                  <a:pt x="68" y="201"/>
                  <a:pt x="68" y="173"/>
                </a:cubicBezTo>
                <a:cubicBezTo>
                  <a:pt x="68" y="148"/>
                  <a:pt x="60" y="138"/>
                  <a:pt x="55" y="132"/>
                </a:cubicBezTo>
                <a:cubicBezTo>
                  <a:pt x="55" y="131"/>
                  <a:pt x="55" y="131"/>
                  <a:pt x="55" y="131"/>
                </a:cubicBezTo>
                <a:cubicBezTo>
                  <a:pt x="55" y="131"/>
                  <a:pt x="55" y="131"/>
                  <a:pt x="55" y="131"/>
                </a:cubicBezTo>
                <a:cubicBezTo>
                  <a:pt x="54" y="130"/>
                  <a:pt x="53" y="126"/>
                  <a:pt x="55" y="117"/>
                </a:cubicBezTo>
                <a:cubicBezTo>
                  <a:pt x="56" y="113"/>
                  <a:pt x="56" y="109"/>
                  <a:pt x="54" y="106"/>
                </a:cubicBezTo>
                <a:cubicBezTo>
                  <a:pt x="51" y="99"/>
                  <a:pt x="45" y="85"/>
                  <a:pt x="49" y="75"/>
                </a:cubicBezTo>
                <a:cubicBezTo>
                  <a:pt x="56" y="58"/>
                  <a:pt x="59" y="57"/>
                  <a:pt x="67" y="53"/>
                </a:cubicBezTo>
                <a:cubicBezTo>
                  <a:pt x="68" y="53"/>
                  <a:pt x="69" y="53"/>
                  <a:pt x="69" y="52"/>
                </a:cubicBezTo>
                <a:cubicBezTo>
                  <a:pt x="71" y="51"/>
                  <a:pt x="79" y="48"/>
                  <a:pt x="88" y="48"/>
                </a:cubicBezTo>
                <a:cubicBezTo>
                  <a:pt x="92" y="48"/>
                  <a:pt x="95" y="49"/>
                  <a:pt x="98" y="50"/>
                </a:cubicBezTo>
                <a:cubicBezTo>
                  <a:pt x="98" y="47"/>
                  <a:pt x="99" y="45"/>
                  <a:pt x="100" y="42"/>
                </a:cubicBezTo>
                <a:cubicBezTo>
                  <a:pt x="101" y="39"/>
                  <a:pt x="102" y="37"/>
                  <a:pt x="103" y="35"/>
                </a:cubicBezTo>
                <a:cubicBezTo>
                  <a:pt x="98" y="33"/>
                  <a:pt x="93" y="32"/>
                  <a:pt x="88" y="32"/>
                </a:cubicBezTo>
                <a:cubicBezTo>
                  <a:pt x="76" y="32"/>
                  <a:pt x="65" y="36"/>
                  <a:pt x="61" y="39"/>
                </a:cubicBezTo>
                <a:cubicBezTo>
                  <a:pt x="48" y="44"/>
                  <a:pt x="42" y="50"/>
                  <a:pt x="34" y="69"/>
                </a:cubicBezTo>
                <a:cubicBezTo>
                  <a:pt x="27" y="86"/>
                  <a:pt x="36" y="104"/>
                  <a:pt x="40" y="113"/>
                </a:cubicBezTo>
                <a:cubicBezTo>
                  <a:pt x="35" y="133"/>
                  <a:pt x="42" y="140"/>
                  <a:pt x="42" y="140"/>
                </a:cubicBezTo>
                <a:cubicBezTo>
                  <a:pt x="45" y="145"/>
                  <a:pt x="52" y="153"/>
                  <a:pt x="52" y="173"/>
                </a:cubicBezTo>
                <a:cubicBezTo>
                  <a:pt x="52" y="197"/>
                  <a:pt x="34" y="201"/>
                  <a:pt x="34" y="201"/>
                </a:cubicBezTo>
                <a:cubicBezTo>
                  <a:pt x="19" y="206"/>
                  <a:pt x="0" y="217"/>
                  <a:pt x="0" y="249"/>
                </a:cubicBezTo>
                <a:cubicBezTo>
                  <a:pt x="0" y="249"/>
                  <a:pt x="0" y="257"/>
                  <a:pt x="8" y="257"/>
                </a:cubicBezTo>
                <a:cubicBezTo>
                  <a:pt x="43" y="257"/>
                  <a:pt x="43" y="257"/>
                  <a:pt x="43" y="257"/>
                </a:cubicBezTo>
                <a:cubicBezTo>
                  <a:pt x="45" y="251"/>
                  <a:pt x="48" y="245"/>
                  <a:pt x="51" y="241"/>
                </a:cubicBezTo>
                <a:cubicBezTo>
                  <a:pt x="16" y="241"/>
                  <a:pt x="16" y="241"/>
                  <a:pt x="16" y="241"/>
                </a:cubicBezTo>
                <a:cubicBezTo>
                  <a:pt x="19" y="225"/>
                  <a:pt x="28" y="220"/>
                  <a:pt x="38" y="216"/>
                </a:cubicBezTo>
                <a:moveTo>
                  <a:pt x="319" y="201"/>
                </a:moveTo>
                <a:cubicBezTo>
                  <a:pt x="319" y="201"/>
                  <a:pt x="301" y="197"/>
                  <a:pt x="301" y="173"/>
                </a:cubicBezTo>
                <a:cubicBezTo>
                  <a:pt x="301" y="153"/>
                  <a:pt x="307" y="145"/>
                  <a:pt x="311" y="140"/>
                </a:cubicBezTo>
                <a:cubicBezTo>
                  <a:pt x="311" y="140"/>
                  <a:pt x="318" y="133"/>
                  <a:pt x="312" y="113"/>
                </a:cubicBezTo>
                <a:cubicBezTo>
                  <a:pt x="317" y="104"/>
                  <a:pt x="325" y="86"/>
                  <a:pt x="318" y="69"/>
                </a:cubicBezTo>
                <a:cubicBezTo>
                  <a:pt x="310" y="50"/>
                  <a:pt x="304" y="44"/>
                  <a:pt x="292" y="39"/>
                </a:cubicBezTo>
                <a:cubicBezTo>
                  <a:pt x="287" y="36"/>
                  <a:pt x="276" y="32"/>
                  <a:pt x="265" y="32"/>
                </a:cubicBezTo>
                <a:cubicBezTo>
                  <a:pt x="259" y="32"/>
                  <a:pt x="254" y="33"/>
                  <a:pt x="248" y="35"/>
                </a:cubicBezTo>
                <a:cubicBezTo>
                  <a:pt x="250" y="40"/>
                  <a:pt x="252" y="46"/>
                  <a:pt x="253" y="51"/>
                </a:cubicBezTo>
                <a:cubicBezTo>
                  <a:pt x="254" y="51"/>
                  <a:pt x="254" y="50"/>
                  <a:pt x="254" y="50"/>
                </a:cubicBezTo>
                <a:cubicBezTo>
                  <a:pt x="257" y="49"/>
                  <a:pt x="260" y="48"/>
                  <a:pt x="265" y="48"/>
                </a:cubicBezTo>
                <a:cubicBezTo>
                  <a:pt x="273" y="48"/>
                  <a:pt x="281" y="51"/>
                  <a:pt x="283" y="52"/>
                </a:cubicBezTo>
                <a:cubicBezTo>
                  <a:pt x="284" y="53"/>
                  <a:pt x="284" y="53"/>
                  <a:pt x="285" y="53"/>
                </a:cubicBezTo>
                <a:cubicBezTo>
                  <a:pt x="293" y="57"/>
                  <a:pt x="296" y="58"/>
                  <a:pt x="303" y="75"/>
                </a:cubicBezTo>
                <a:cubicBezTo>
                  <a:pt x="307" y="85"/>
                  <a:pt x="301" y="99"/>
                  <a:pt x="298" y="106"/>
                </a:cubicBezTo>
                <a:cubicBezTo>
                  <a:pt x="297" y="109"/>
                  <a:pt x="296" y="113"/>
                  <a:pt x="297" y="117"/>
                </a:cubicBezTo>
                <a:cubicBezTo>
                  <a:pt x="299" y="126"/>
                  <a:pt x="298" y="130"/>
                  <a:pt x="298" y="131"/>
                </a:cubicBezTo>
                <a:cubicBezTo>
                  <a:pt x="298" y="131"/>
                  <a:pt x="298" y="131"/>
                  <a:pt x="298" y="131"/>
                </a:cubicBezTo>
                <a:cubicBezTo>
                  <a:pt x="297" y="132"/>
                  <a:pt x="297" y="132"/>
                  <a:pt x="297" y="132"/>
                </a:cubicBezTo>
                <a:cubicBezTo>
                  <a:pt x="293" y="138"/>
                  <a:pt x="285" y="148"/>
                  <a:pt x="285" y="173"/>
                </a:cubicBezTo>
                <a:cubicBezTo>
                  <a:pt x="285" y="201"/>
                  <a:pt x="303" y="213"/>
                  <a:pt x="314" y="216"/>
                </a:cubicBezTo>
                <a:cubicBezTo>
                  <a:pt x="324" y="220"/>
                  <a:pt x="334" y="225"/>
                  <a:pt x="336" y="241"/>
                </a:cubicBezTo>
                <a:cubicBezTo>
                  <a:pt x="301" y="241"/>
                  <a:pt x="301" y="241"/>
                  <a:pt x="301" y="241"/>
                </a:cubicBezTo>
                <a:cubicBezTo>
                  <a:pt x="304" y="245"/>
                  <a:pt x="307" y="251"/>
                  <a:pt x="309" y="257"/>
                </a:cubicBezTo>
                <a:cubicBezTo>
                  <a:pt x="345" y="257"/>
                  <a:pt x="345" y="257"/>
                  <a:pt x="345" y="257"/>
                </a:cubicBezTo>
                <a:cubicBezTo>
                  <a:pt x="353" y="257"/>
                  <a:pt x="353" y="249"/>
                  <a:pt x="353" y="249"/>
                </a:cubicBezTo>
                <a:cubicBezTo>
                  <a:pt x="353" y="217"/>
                  <a:pt x="333" y="206"/>
                  <a:pt x="319" y="201"/>
                </a:cubicBezTo>
                <a:moveTo>
                  <a:pt x="240" y="218"/>
                </a:moveTo>
                <a:cubicBezTo>
                  <a:pt x="240" y="218"/>
                  <a:pt x="211" y="211"/>
                  <a:pt x="211" y="181"/>
                </a:cubicBezTo>
                <a:cubicBezTo>
                  <a:pt x="211" y="155"/>
                  <a:pt x="223" y="146"/>
                  <a:pt x="228" y="139"/>
                </a:cubicBezTo>
                <a:cubicBezTo>
                  <a:pt x="228" y="139"/>
                  <a:pt x="237" y="131"/>
                  <a:pt x="231" y="105"/>
                </a:cubicBezTo>
                <a:cubicBezTo>
                  <a:pt x="241" y="90"/>
                  <a:pt x="245" y="66"/>
                  <a:pt x="232" y="37"/>
                </a:cubicBezTo>
                <a:cubicBezTo>
                  <a:pt x="225" y="20"/>
                  <a:pt x="219" y="11"/>
                  <a:pt x="209" y="5"/>
                </a:cubicBezTo>
                <a:cubicBezTo>
                  <a:pt x="202" y="1"/>
                  <a:pt x="194" y="0"/>
                  <a:pt x="186" y="0"/>
                </a:cubicBezTo>
                <a:cubicBezTo>
                  <a:pt x="172" y="0"/>
                  <a:pt x="158" y="5"/>
                  <a:pt x="152" y="9"/>
                </a:cubicBezTo>
                <a:cubicBezTo>
                  <a:pt x="136" y="16"/>
                  <a:pt x="125" y="22"/>
                  <a:pt x="115" y="48"/>
                </a:cubicBezTo>
                <a:cubicBezTo>
                  <a:pt x="107" y="69"/>
                  <a:pt x="117" y="92"/>
                  <a:pt x="122" y="104"/>
                </a:cubicBezTo>
                <a:cubicBezTo>
                  <a:pt x="116" y="130"/>
                  <a:pt x="125" y="139"/>
                  <a:pt x="125" y="139"/>
                </a:cubicBezTo>
                <a:cubicBezTo>
                  <a:pt x="129" y="146"/>
                  <a:pt x="141" y="155"/>
                  <a:pt x="141" y="181"/>
                </a:cubicBezTo>
                <a:cubicBezTo>
                  <a:pt x="141" y="211"/>
                  <a:pt x="112" y="218"/>
                  <a:pt x="112" y="218"/>
                </a:cubicBezTo>
                <a:cubicBezTo>
                  <a:pt x="94" y="225"/>
                  <a:pt x="56" y="238"/>
                  <a:pt x="56" y="281"/>
                </a:cubicBezTo>
                <a:cubicBezTo>
                  <a:pt x="56" y="281"/>
                  <a:pt x="56" y="289"/>
                  <a:pt x="64" y="289"/>
                </a:cubicBezTo>
                <a:cubicBezTo>
                  <a:pt x="289" y="289"/>
                  <a:pt x="289" y="289"/>
                  <a:pt x="289" y="289"/>
                </a:cubicBezTo>
                <a:cubicBezTo>
                  <a:pt x="297" y="289"/>
                  <a:pt x="297" y="281"/>
                  <a:pt x="297" y="281"/>
                </a:cubicBezTo>
                <a:cubicBezTo>
                  <a:pt x="297" y="238"/>
                  <a:pt x="258" y="225"/>
                  <a:pt x="240" y="218"/>
                </a:cubicBezTo>
                <a:moveTo>
                  <a:pt x="72" y="273"/>
                </a:moveTo>
                <a:cubicBezTo>
                  <a:pt x="76" y="250"/>
                  <a:pt x="96" y="241"/>
                  <a:pt x="116" y="234"/>
                </a:cubicBezTo>
                <a:cubicBezTo>
                  <a:pt x="117" y="234"/>
                  <a:pt x="117" y="234"/>
                  <a:pt x="117" y="234"/>
                </a:cubicBezTo>
                <a:cubicBezTo>
                  <a:pt x="131" y="230"/>
                  <a:pt x="157" y="214"/>
                  <a:pt x="157" y="181"/>
                </a:cubicBezTo>
                <a:cubicBezTo>
                  <a:pt x="157" y="153"/>
                  <a:pt x="146" y="140"/>
                  <a:pt x="140" y="132"/>
                </a:cubicBezTo>
                <a:cubicBezTo>
                  <a:pt x="138" y="131"/>
                  <a:pt x="137" y="129"/>
                  <a:pt x="137" y="129"/>
                </a:cubicBezTo>
                <a:cubicBezTo>
                  <a:pt x="137" y="128"/>
                  <a:pt x="134" y="122"/>
                  <a:pt x="138" y="107"/>
                </a:cubicBezTo>
                <a:cubicBezTo>
                  <a:pt x="139" y="100"/>
                  <a:pt x="137" y="97"/>
                  <a:pt x="137" y="97"/>
                </a:cubicBezTo>
                <a:cubicBezTo>
                  <a:pt x="132" y="87"/>
                  <a:pt x="124" y="69"/>
                  <a:pt x="130" y="54"/>
                </a:cubicBezTo>
                <a:cubicBezTo>
                  <a:pt x="138" y="33"/>
                  <a:pt x="146" y="29"/>
                  <a:pt x="159" y="23"/>
                </a:cubicBezTo>
                <a:cubicBezTo>
                  <a:pt x="160" y="23"/>
                  <a:pt x="160" y="22"/>
                  <a:pt x="161" y="22"/>
                </a:cubicBezTo>
                <a:cubicBezTo>
                  <a:pt x="164" y="20"/>
                  <a:pt x="174" y="16"/>
                  <a:pt x="186" y="16"/>
                </a:cubicBezTo>
                <a:cubicBezTo>
                  <a:pt x="192" y="16"/>
                  <a:pt x="197" y="17"/>
                  <a:pt x="201" y="19"/>
                </a:cubicBezTo>
                <a:cubicBezTo>
                  <a:pt x="206" y="22"/>
                  <a:pt x="210" y="27"/>
                  <a:pt x="217" y="44"/>
                </a:cubicBezTo>
                <a:cubicBezTo>
                  <a:pt x="230" y="73"/>
                  <a:pt x="222" y="89"/>
                  <a:pt x="218" y="95"/>
                </a:cubicBezTo>
                <a:cubicBezTo>
                  <a:pt x="215" y="99"/>
                  <a:pt x="214" y="104"/>
                  <a:pt x="215" y="108"/>
                </a:cubicBezTo>
                <a:cubicBezTo>
                  <a:pt x="218" y="122"/>
                  <a:pt x="216" y="127"/>
                  <a:pt x="216" y="129"/>
                </a:cubicBezTo>
                <a:cubicBezTo>
                  <a:pt x="216" y="129"/>
                  <a:pt x="214" y="131"/>
                  <a:pt x="213" y="132"/>
                </a:cubicBezTo>
                <a:cubicBezTo>
                  <a:pt x="207" y="140"/>
                  <a:pt x="195" y="153"/>
                  <a:pt x="195" y="181"/>
                </a:cubicBezTo>
                <a:cubicBezTo>
                  <a:pt x="195" y="214"/>
                  <a:pt x="221" y="230"/>
                  <a:pt x="235" y="234"/>
                </a:cubicBezTo>
                <a:cubicBezTo>
                  <a:pt x="236" y="234"/>
                  <a:pt x="236" y="234"/>
                  <a:pt x="236" y="234"/>
                </a:cubicBezTo>
                <a:cubicBezTo>
                  <a:pt x="256" y="241"/>
                  <a:pt x="276" y="250"/>
                  <a:pt x="280" y="273"/>
                </a:cubicBezTo>
                <a:lnTo>
                  <a:pt x="72" y="2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14" name="Grupo 13">
            <a:extLst>
              <a:ext uri="{FF2B5EF4-FFF2-40B4-BE49-F238E27FC236}">
                <a16:creationId xmlns:a16="http://schemas.microsoft.com/office/drawing/2014/main" id="{A74FF4A3-2902-5785-A447-BB3F35723805}"/>
              </a:ext>
            </a:extLst>
          </p:cNvPr>
          <p:cNvGrpSpPr/>
          <p:nvPr/>
        </p:nvGrpSpPr>
        <p:grpSpPr>
          <a:xfrm>
            <a:off x="8910997" y="2129079"/>
            <a:ext cx="2679490" cy="1081439"/>
            <a:chOff x="8123597" y="1942268"/>
            <a:chExt cx="2679490" cy="1081439"/>
          </a:xfrm>
        </p:grpSpPr>
        <p:sp>
          <p:nvSpPr>
            <p:cNvPr id="15" name="TextBox 24">
              <a:extLst>
                <a:ext uri="{FF2B5EF4-FFF2-40B4-BE49-F238E27FC236}">
                  <a16:creationId xmlns:a16="http://schemas.microsoft.com/office/drawing/2014/main" id="{21208C5E-6688-4651-1E02-5F7105D4C4D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6" name="TextBox 25">
              <a:extLst>
                <a:ext uri="{FF2B5EF4-FFF2-40B4-BE49-F238E27FC236}">
                  <a16:creationId xmlns:a16="http://schemas.microsoft.com/office/drawing/2014/main" id="{5B849500-0F21-822C-3A94-73AAD988A44F}"/>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17" name="Grupo 16">
            <a:extLst>
              <a:ext uri="{FF2B5EF4-FFF2-40B4-BE49-F238E27FC236}">
                <a16:creationId xmlns:a16="http://schemas.microsoft.com/office/drawing/2014/main" id="{DB2C50EB-5054-3A6D-BE18-6F243AF2B055}"/>
              </a:ext>
            </a:extLst>
          </p:cNvPr>
          <p:cNvGrpSpPr/>
          <p:nvPr/>
        </p:nvGrpSpPr>
        <p:grpSpPr>
          <a:xfrm>
            <a:off x="8910997" y="4150990"/>
            <a:ext cx="2679490" cy="1081439"/>
            <a:chOff x="8123597" y="1942268"/>
            <a:chExt cx="2679490" cy="1081439"/>
          </a:xfrm>
        </p:grpSpPr>
        <p:sp>
          <p:nvSpPr>
            <p:cNvPr id="18" name="TextBox 24">
              <a:extLst>
                <a:ext uri="{FF2B5EF4-FFF2-40B4-BE49-F238E27FC236}">
                  <a16:creationId xmlns:a16="http://schemas.microsoft.com/office/drawing/2014/main" id="{9E2DC4AF-07F7-2FF5-386D-1BDDD08E36CC}"/>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9" name="TextBox 25">
              <a:extLst>
                <a:ext uri="{FF2B5EF4-FFF2-40B4-BE49-F238E27FC236}">
                  <a16:creationId xmlns:a16="http://schemas.microsoft.com/office/drawing/2014/main" id="{EE81F313-AB17-5F5B-0744-5819B9E940A9}"/>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0" name="Grupo 19">
            <a:extLst>
              <a:ext uri="{FF2B5EF4-FFF2-40B4-BE49-F238E27FC236}">
                <a16:creationId xmlns:a16="http://schemas.microsoft.com/office/drawing/2014/main" id="{0C2F9B37-ED43-6905-C2E4-0E5751F67A7E}"/>
              </a:ext>
            </a:extLst>
          </p:cNvPr>
          <p:cNvGrpSpPr/>
          <p:nvPr/>
        </p:nvGrpSpPr>
        <p:grpSpPr>
          <a:xfrm>
            <a:off x="612506" y="4150990"/>
            <a:ext cx="2679490" cy="1081439"/>
            <a:chOff x="8123597" y="1942268"/>
            <a:chExt cx="2679490" cy="1081439"/>
          </a:xfrm>
        </p:grpSpPr>
        <p:sp>
          <p:nvSpPr>
            <p:cNvPr id="21" name="TextBox 24">
              <a:extLst>
                <a:ext uri="{FF2B5EF4-FFF2-40B4-BE49-F238E27FC236}">
                  <a16:creationId xmlns:a16="http://schemas.microsoft.com/office/drawing/2014/main" id="{18894707-7089-40FE-B810-2BF26A1D804A}"/>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2" name="TextBox 25">
              <a:extLst>
                <a:ext uri="{FF2B5EF4-FFF2-40B4-BE49-F238E27FC236}">
                  <a16:creationId xmlns:a16="http://schemas.microsoft.com/office/drawing/2014/main" id="{A5BAE82A-C581-36FE-923F-0860E08DC295}"/>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3" name="Grupo 22">
            <a:extLst>
              <a:ext uri="{FF2B5EF4-FFF2-40B4-BE49-F238E27FC236}">
                <a16:creationId xmlns:a16="http://schemas.microsoft.com/office/drawing/2014/main" id="{93D79492-2AFD-EA08-4EDA-38BF98FA20AB}"/>
              </a:ext>
            </a:extLst>
          </p:cNvPr>
          <p:cNvGrpSpPr/>
          <p:nvPr/>
        </p:nvGrpSpPr>
        <p:grpSpPr>
          <a:xfrm>
            <a:off x="612506" y="2153872"/>
            <a:ext cx="2679490" cy="1081439"/>
            <a:chOff x="8123597" y="1942268"/>
            <a:chExt cx="2679490" cy="1081439"/>
          </a:xfrm>
        </p:grpSpPr>
        <p:sp>
          <p:nvSpPr>
            <p:cNvPr id="24" name="TextBox 24">
              <a:extLst>
                <a:ext uri="{FF2B5EF4-FFF2-40B4-BE49-F238E27FC236}">
                  <a16:creationId xmlns:a16="http://schemas.microsoft.com/office/drawing/2014/main" id="{6D516B49-5F56-E91C-173B-C0527B718333}"/>
                </a:ext>
              </a:extLst>
            </p:cNvPr>
            <p:cNvSpPr txBox="1"/>
            <p:nvPr/>
          </p:nvSpPr>
          <p:spPr>
            <a:xfrm>
              <a:off x="8123597" y="1942268"/>
              <a:ext cx="2679489" cy="369332"/>
            </a:xfrm>
            <a:prstGeom prst="rect">
              <a:avLst/>
            </a:prstGeom>
            <a:noFill/>
          </p:spPr>
          <p:txBody>
            <a:bodyPr wrap="square" lIns="0" tIns="0" rIns="0" bIns="0" rtlCol="0">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5" name="TextBox 25">
              <a:extLst>
                <a:ext uri="{FF2B5EF4-FFF2-40B4-BE49-F238E27FC236}">
                  <a16:creationId xmlns:a16="http://schemas.microsoft.com/office/drawing/2014/main" id="{C4945531-D7C4-5276-1AF9-C9F4B1706420}"/>
                </a:ext>
              </a:extLst>
            </p:cNvPr>
            <p:cNvSpPr txBox="1"/>
            <p:nvPr/>
          </p:nvSpPr>
          <p:spPr>
            <a:xfrm>
              <a:off x="8123597" y="2377376"/>
              <a:ext cx="2679490"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grpSp>
        <p:nvGrpSpPr>
          <p:cNvPr id="26" name="Grupo 25">
            <a:extLst>
              <a:ext uri="{FF2B5EF4-FFF2-40B4-BE49-F238E27FC236}">
                <a16:creationId xmlns:a16="http://schemas.microsoft.com/office/drawing/2014/main" id="{0E7977E9-C51D-1386-0086-6629B24793AC}"/>
              </a:ext>
            </a:extLst>
          </p:cNvPr>
          <p:cNvGrpSpPr/>
          <p:nvPr/>
        </p:nvGrpSpPr>
        <p:grpSpPr>
          <a:xfrm>
            <a:off x="5275974" y="3604678"/>
            <a:ext cx="1636874" cy="650552"/>
            <a:chOff x="8123597" y="1942268"/>
            <a:chExt cx="2679490" cy="650552"/>
          </a:xfrm>
        </p:grpSpPr>
        <p:sp>
          <p:nvSpPr>
            <p:cNvPr id="27" name="TextBox 24">
              <a:extLst>
                <a:ext uri="{FF2B5EF4-FFF2-40B4-BE49-F238E27FC236}">
                  <a16:creationId xmlns:a16="http://schemas.microsoft.com/office/drawing/2014/main" id="{23E6A66F-51AE-A769-4A80-EF263DAE8925}"/>
                </a:ext>
              </a:extLst>
            </p:cNvPr>
            <p:cNvSpPr txBox="1"/>
            <p:nvPr/>
          </p:nvSpPr>
          <p:spPr>
            <a:xfrm>
              <a:off x="8123597" y="1942268"/>
              <a:ext cx="2679489" cy="369332"/>
            </a:xfrm>
            <a:prstGeom prst="rect">
              <a:avLst/>
            </a:prstGeom>
            <a:noFill/>
          </p:spPr>
          <p:txBody>
            <a:bodyPr wrap="square" lIns="0" tIns="0" rIns="0" bIns="0" rtlCol="0">
              <a:noAutofit/>
            </a:bodyPr>
            <a:lstStyle/>
            <a:p>
              <a:pPr algn="ct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6D98BCB5-BA78-3E24-BC98-81AF5EFDD7F6}"/>
                </a:ext>
              </a:extLst>
            </p:cNvPr>
            <p:cNvSpPr txBox="1"/>
            <p:nvPr/>
          </p:nvSpPr>
          <p:spPr>
            <a:xfrm>
              <a:off x="8123597" y="2377376"/>
              <a:ext cx="2679490" cy="215444"/>
            </a:xfrm>
            <a:prstGeom prst="rect">
              <a:avLst/>
            </a:prstGeom>
            <a:noFill/>
          </p:spPr>
          <p:txBody>
            <a:bodyPr wrap="square" lIns="0" tIns="0" rIns="0" bIns="0" rtlCol="0">
              <a:spAutoFit/>
            </a:bodyPr>
            <a:lstStyle/>
            <a:p>
              <a:pPr algn="ct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grpSp>
      <p:sp>
        <p:nvSpPr>
          <p:cNvPr id="13" name="Footer Placeholder 12">
            <a:extLst>
              <a:ext uri="{FF2B5EF4-FFF2-40B4-BE49-F238E27FC236}">
                <a16:creationId xmlns:a16="http://schemas.microsoft.com/office/drawing/2014/main" id="{53D566BC-E7BD-B69F-A252-925D4F7F9168}"/>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2788970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641C0D0-8623-7A31-761A-53A44392A8CA}"/>
              </a:ext>
            </a:extLst>
          </p:cNvPr>
          <p:cNvGraphicFramePr>
            <a:graphicFrameLocks noChangeAspect="1"/>
          </p:cNvGraphicFramePr>
          <p:nvPr>
            <p:custDataLst>
              <p:tags r:id="rId1"/>
            </p:custDataLst>
            <p:extLst>
              <p:ext uri="{D42A27DB-BD31-4B8C-83A1-F6EECF244321}">
                <p14:modId xmlns:p14="http://schemas.microsoft.com/office/powerpoint/2010/main" val="2639118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C641C0D0-8623-7A31-761A-53A44392A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CD8556DE-6A07-26CB-C9BA-0741432E766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7512650A-D088-C54B-4E8D-4824FC1423B5}"/>
              </a:ext>
            </a:extLst>
          </p:cNvPr>
          <p:cNvSpPr>
            <a:spLocks noGrp="1"/>
          </p:cNvSpPr>
          <p:nvPr>
            <p:ph type="title"/>
          </p:nvPr>
        </p:nvSpPr>
        <p:spPr/>
        <p:txBody>
          <a:bodyPr vert="horz"/>
          <a:lstStyle/>
          <a:p>
            <a:r>
              <a:rPr lang="en-US" dirty="0"/>
              <a:t>Template - Statements</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Isosceles Triangle 2">
            <a:extLst>
              <a:ext uri="{FF2B5EF4-FFF2-40B4-BE49-F238E27FC236}">
                <a16:creationId xmlns:a16="http://schemas.microsoft.com/office/drawing/2014/main" id="{0C3C19E8-B2FA-AE6E-71F4-8205CF1DA420}"/>
              </a:ext>
            </a:extLst>
          </p:cNvPr>
          <p:cNvSpPr/>
          <p:nvPr/>
        </p:nvSpPr>
        <p:spPr>
          <a:xfrm>
            <a:off x="3317429"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Freeform 52">
            <a:extLst>
              <a:ext uri="{FF2B5EF4-FFF2-40B4-BE49-F238E27FC236}">
                <a16:creationId xmlns:a16="http://schemas.microsoft.com/office/drawing/2014/main" id="{83CF8CC3-D3A8-2FDD-48CB-A8788975AE71}"/>
              </a:ext>
            </a:extLst>
          </p:cNvPr>
          <p:cNvSpPr>
            <a:spLocks noEditPoints="1"/>
          </p:cNvSpPr>
          <p:nvPr/>
        </p:nvSpPr>
        <p:spPr bwMode="auto">
          <a:xfrm>
            <a:off x="4336587" y="5128054"/>
            <a:ext cx="732379" cy="599219"/>
          </a:xfrm>
          <a:custGeom>
            <a:avLst/>
            <a:gdLst>
              <a:gd name="T0" fmla="*/ 32 w 353"/>
              <a:gd name="T1" fmla="*/ 209 h 289"/>
              <a:gd name="T2" fmla="*/ 48 w 353"/>
              <a:gd name="T3" fmla="*/ 209 h 289"/>
              <a:gd name="T4" fmla="*/ 89 w 353"/>
              <a:gd name="T5" fmla="*/ 169 h 289"/>
              <a:gd name="T6" fmla="*/ 273 w 353"/>
              <a:gd name="T7" fmla="*/ 161 h 289"/>
              <a:gd name="T8" fmla="*/ 233 w 353"/>
              <a:gd name="T9" fmla="*/ 217 h 289"/>
              <a:gd name="T10" fmla="*/ 273 w 353"/>
              <a:gd name="T11" fmla="*/ 177 h 289"/>
              <a:gd name="T12" fmla="*/ 273 w 353"/>
              <a:gd name="T13" fmla="*/ 161 h 289"/>
              <a:gd name="T14" fmla="*/ 286 w 353"/>
              <a:gd name="T15" fmla="*/ 32 h 289"/>
              <a:gd name="T16" fmla="*/ 241 w 353"/>
              <a:gd name="T17" fmla="*/ 0 h 289"/>
              <a:gd name="T18" fmla="*/ 161 w 353"/>
              <a:gd name="T19" fmla="*/ 48 h 289"/>
              <a:gd name="T20" fmla="*/ 67 w 353"/>
              <a:gd name="T21" fmla="*/ 32 h 289"/>
              <a:gd name="T22" fmla="*/ 8 w 353"/>
              <a:gd name="T23" fmla="*/ 174 h 289"/>
              <a:gd name="T24" fmla="*/ 80 w 353"/>
              <a:gd name="T25" fmla="*/ 289 h 289"/>
              <a:gd name="T26" fmla="*/ 195 w 353"/>
              <a:gd name="T27" fmla="*/ 225 h 289"/>
              <a:gd name="T28" fmla="*/ 353 w 353"/>
              <a:gd name="T29" fmla="*/ 209 h 289"/>
              <a:gd name="T30" fmla="*/ 80 w 353"/>
              <a:gd name="T31" fmla="*/ 273 h 289"/>
              <a:gd name="T32" fmla="*/ 80 w 353"/>
              <a:gd name="T33" fmla="*/ 145 h 289"/>
              <a:gd name="T34" fmla="*/ 80 w 353"/>
              <a:gd name="T35" fmla="*/ 273 h 289"/>
              <a:gd name="T36" fmla="*/ 80 w 353"/>
              <a:gd name="T37" fmla="*/ 129 h 289"/>
              <a:gd name="T38" fmla="*/ 83 w 353"/>
              <a:gd name="T39" fmla="*/ 35 h 289"/>
              <a:gd name="T40" fmla="*/ 113 w 353"/>
              <a:gd name="T41" fmla="*/ 16 h 289"/>
              <a:gd name="T42" fmla="*/ 145 w 353"/>
              <a:gd name="T43" fmla="*/ 46 h 289"/>
              <a:gd name="T44" fmla="*/ 193 w 353"/>
              <a:gd name="T45" fmla="*/ 209 h 289"/>
              <a:gd name="T46" fmla="*/ 161 w 353"/>
              <a:gd name="T47" fmla="*/ 193 h 289"/>
              <a:gd name="T48" fmla="*/ 193 w 353"/>
              <a:gd name="T49" fmla="*/ 209 h 289"/>
              <a:gd name="T50" fmla="*/ 161 w 353"/>
              <a:gd name="T51" fmla="*/ 177 h 289"/>
              <a:gd name="T52" fmla="*/ 193 w 353"/>
              <a:gd name="T53" fmla="*/ 64 h 289"/>
              <a:gd name="T54" fmla="*/ 209 w 353"/>
              <a:gd name="T55" fmla="*/ 46 h 289"/>
              <a:gd name="T56" fmla="*/ 241 w 353"/>
              <a:gd name="T57" fmla="*/ 16 h 289"/>
              <a:gd name="T58" fmla="*/ 270 w 353"/>
              <a:gd name="T59" fmla="*/ 35 h 289"/>
              <a:gd name="T60" fmla="*/ 273 w 353"/>
              <a:gd name="T61" fmla="*/ 129 h 289"/>
              <a:gd name="T62" fmla="*/ 209 w 353"/>
              <a:gd name="T63" fmla="*/ 46 h 289"/>
              <a:gd name="T64" fmla="*/ 209 w 353"/>
              <a:gd name="T65" fmla="*/ 209 h 289"/>
              <a:gd name="T66" fmla="*/ 337 w 353"/>
              <a:gd name="T67" fmla="*/ 20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3" h="289">
                <a:moveTo>
                  <a:pt x="80" y="161"/>
                </a:moveTo>
                <a:cubicBezTo>
                  <a:pt x="54" y="161"/>
                  <a:pt x="32" y="182"/>
                  <a:pt x="32" y="209"/>
                </a:cubicBezTo>
                <a:cubicBezTo>
                  <a:pt x="32" y="213"/>
                  <a:pt x="36" y="217"/>
                  <a:pt x="40" y="217"/>
                </a:cubicBezTo>
                <a:cubicBezTo>
                  <a:pt x="45" y="217"/>
                  <a:pt x="48" y="213"/>
                  <a:pt x="48" y="209"/>
                </a:cubicBezTo>
                <a:cubicBezTo>
                  <a:pt x="48" y="191"/>
                  <a:pt x="63" y="177"/>
                  <a:pt x="80" y="177"/>
                </a:cubicBezTo>
                <a:cubicBezTo>
                  <a:pt x="85" y="177"/>
                  <a:pt x="89" y="173"/>
                  <a:pt x="89" y="169"/>
                </a:cubicBezTo>
                <a:cubicBezTo>
                  <a:pt x="89" y="164"/>
                  <a:pt x="85" y="161"/>
                  <a:pt x="80" y="161"/>
                </a:cubicBezTo>
                <a:moveTo>
                  <a:pt x="273" y="161"/>
                </a:moveTo>
                <a:cubicBezTo>
                  <a:pt x="247" y="161"/>
                  <a:pt x="225" y="182"/>
                  <a:pt x="225" y="209"/>
                </a:cubicBezTo>
                <a:cubicBezTo>
                  <a:pt x="225" y="213"/>
                  <a:pt x="229" y="217"/>
                  <a:pt x="233" y="217"/>
                </a:cubicBezTo>
                <a:cubicBezTo>
                  <a:pt x="237" y="217"/>
                  <a:pt x="241" y="213"/>
                  <a:pt x="241" y="209"/>
                </a:cubicBezTo>
                <a:cubicBezTo>
                  <a:pt x="241" y="191"/>
                  <a:pt x="255" y="177"/>
                  <a:pt x="273" y="177"/>
                </a:cubicBezTo>
                <a:cubicBezTo>
                  <a:pt x="278" y="177"/>
                  <a:pt x="281" y="173"/>
                  <a:pt x="281" y="169"/>
                </a:cubicBezTo>
                <a:cubicBezTo>
                  <a:pt x="281" y="164"/>
                  <a:pt x="278" y="161"/>
                  <a:pt x="273" y="161"/>
                </a:cubicBezTo>
                <a:moveTo>
                  <a:pt x="345" y="174"/>
                </a:moveTo>
                <a:cubicBezTo>
                  <a:pt x="286" y="32"/>
                  <a:pt x="286" y="32"/>
                  <a:pt x="286" y="32"/>
                </a:cubicBezTo>
                <a:cubicBezTo>
                  <a:pt x="286" y="32"/>
                  <a:pt x="286" y="32"/>
                  <a:pt x="286" y="32"/>
                </a:cubicBezTo>
                <a:cubicBezTo>
                  <a:pt x="280" y="14"/>
                  <a:pt x="262" y="0"/>
                  <a:pt x="241" y="0"/>
                </a:cubicBezTo>
                <a:cubicBezTo>
                  <a:pt x="214" y="0"/>
                  <a:pt x="193" y="22"/>
                  <a:pt x="193" y="48"/>
                </a:cubicBezTo>
                <a:cubicBezTo>
                  <a:pt x="161" y="48"/>
                  <a:pt x="161" y="48"/>
                  <a:pt x="161" y="48"/>
                </a:cubicBezTo>
                <a:cubicBezTo>
                  <a:pt x="161" y="22"/>
                  <a:pt x="139" y="0"/>
                  <a:pt x="113" y="0"/>
                </a:cubicBezTo>
                <a:cubicBezTo>
                  <a:pt x="92" y="0"/>
                  <a:pt x="74" y="14"/>
                  <a:pt x="67" y="32"/>
                </a:cubicBezTo>
                <a:cubicBezTo>
                  <a:pt x="67" y="32"/>
                  <a:pt x="67" y="32"/>
                  <a:pt x="67" y="32"/>
                </a:cubicBezTo>
                <a:cubicBezTo>
                  <a:pt x="8" y="174"/>
                  <a:pt x="8" y="174"/>
                  <a:pt x="8" y="174"/>
                </a:cubicBezTo>
                <a:cubicBezTo>
                  <a:pt x="3" y="184"/>
                  <a:pt x="0" y="196"/>
                  <a:pt x="0" y="209"/>
                </a:cubicBezTo>
                <a:cubicBezTo>
                  <a:pt x="0" y="253"/>
                  <a:pt x="36" y="289"/>
                  <a:pt x="80" y="289"/>
                </a:cubicBezTo>
                <a:cubicBezTo>
                  <a:pt x="119" y="289"/>
                  <a:pt x="152" y="262"/>
                  <a:pt x="159" y="225"/>
                </a:cubicBezTo>
                <a:cubicBezTo>
                  <a:pt x="195" y="225"/>
                  <a:pt x="195" y="225"/>
                  <a:pt x="195" y="225"/>
                </a:cubicBezTo>
                <a:cubicBezTo>
                  <a:pt x="202" y="262"/>
                  <a:pt x="234" y="289"/>
                  <a:pt x="273" y="289"/>
                </a:cubicBezTo>
                <a:cubicBezTo>
                  <a:pt x="318" y="289"/>
                  <a:pt x="353" y="253"/>
                  <a:pt x="353" y="209"/>
                </a:cubicBezTo>
                <a:cubicBezTo>
                  <a:pt x="353" y="196"/>
                  <a:pt x="350" y="184"/>
                  <a:pt x="345" y="174"/>
                </a:cubicBezTo>
                <a:moveTo>
                  <a:pt x="80" y="273"/>
                </a:moveTo>
                <a:cubicBezTo>
                  <a:pt x="45" y="273"/>
                  <a:pt x="16" y="244"/>
                  <a:pt x="16" y="209"/>
                </a:cubicBezTo>
                <a:cubicBezTo>
                  <a:pt x="16" y="173"/>
                  <a:pt x="45" y="145"/>
                  <a:pt x="80" y="145"/>
                </a:cubicBezTo>
                <a:cubicBezTo>
                  <a:pt x="116" y="145"/>
                  <a:pt x="145" y="173"/>
                  <a:pt x="145" y="209"/>
                </a:cubicBezTo>
                <a:cubicBezTo>
                  <a:pt x="145" y="244"/>
                  <a:pt x="116" y="273"/>
                  <a:pt x="80" y="273"/>
                </a:cubicBezTo>
                <a:moveTo>
                  <a:pt x="145" y="161"/>
                </a:moveTo>
                <a:cubicBezTo>
                  <a:pt x="130" y="141"/>
                  <a:pt x="107" y="129"/>
                  <a:pt x="80" y="129"/>
                </a:cubicBezTo>
                <a:cubicBezTo>
                  <a:pt x="66" y="129"/>
                  <a:pt x="52" y="133"/>
                  <a:pt x="40" y="140"/>
                </a:cubicBezTo>
                <a:cubicBezTo>
                  <a:pt x="83" y="35"/>
                  <a:pt x="83" y="35"/>
                  <a:pt x="83" y="35"/>
                </a:cubicBezTo>
                <a:cubicBezTo>
                  <a:pt x="83" y="35"/>
                  <a:pt x="83" y="35"/>
                  <a:pt x="83" y="35"/>
                </a:cubicBezTo>
                <a:cubicBezTo>
                  <a:pt x="88" y="24"/>
                  <a:pt x="100" y="16"/>
                  <a:pt x="113" y="16"/>
                </a:cubicBezTo>
                <a:cubicBezTo>
                  <a:pt x="129" y="16"/>
                  <a:pt x="143" y="29"/>
                  <a:pt x="144" y="45"/>
                </a:cubicBezTo>
                <a:cubicBezTo>
                  <a:pt x="145" y="46"/>
                  <a:pt x="145" y="46"/>
                  <a:pt x="145" y="46"/>
                </a:cubicBezTo>
                <a:lnTo>
                  <a:pt x="145" y="161"/>
                </a:lnTo>
                <a:close/>
                <a:moveTo>
                  <a:pt x="193" y="209"/>
                </a:moveTo>
                <a:cubicBezTo>
                  <a:pt x="161" y="209"/>
                  <a:pt x="161" y="209"/>
                  <a:pt x="161" y="209"/>
                </a:cubicBezTo>
                <a:cubicBezTo>
                  <a:pt x="161" y="193"/>
                  <a:pt x="161" y="193"/>
                  <a:pt x="161" y="193"/>
                </a:cubicBezTo>
                <a:cubicBezTo>
                  <a:pt x="193" y="193"/>
                  <a:pt x="193" y="193"/>
                  <a:pt x="193" y="193"/>
                </a:cubicBezTo>
                <a:lnTo>
                  <a:pt x="193" y="209"/>
                </a:lnTo>
                <a:close/>
                <a:moveTo>
                  <a:pt x="193" y="177"/>
                </a:moveTo>
                <a:cubicBezTo>
                  <a:pt x="161" y="177"/>
                  <a:pt x="161" y="177"/>
                  <a:pt x="161" y="177"/>
                </a:cubicBezTo>
                <a:cubicBezTo>
                  <a:pt x="161" y="64"/>
                  <a:pt x="161" y="64"/>
                  <a:pt x="161" y="64"/>
                </a:cubicBezTo>
                <a:cubicBezTo>
                  <a:pt x="193" y="64"/>
                  <a:pt x="193" y="64"/>
                  <a:pt x="193" y="64"/>
                </a:cubicBezTo>
                <a:lnTo>
                  <a:pt x="193" y="177"/>
                </a:lnTo>
                <a:close/>
                <a:moveTo>
                  <a:pt x="209" y="46"/>
                </a:moveTo>
                <a:cubicBezTo>
                  <a:pt x="209" y="45"/>
                  <a:pt x="209" y="45"/>
                  <a:pt x="209" y="45"/>
                </a:cubicBezTo>
                <a:cubicBezTo>
                  <a:pt x="211" y="29"/>
                  <a:pt x="224" y="16"/>
                  <a:pt x="241" y="16"/>
                </a:cubicBezTo>
                <a:cubicBezTo>
                  <a:pt x="254" y="16"/>
                  <a:pt x="265" y="24"/>
                  <a:pt x="270" y="35"/>
                </a:cubicBezTo>
                <a:cubicBezTo>
                  <a:pt x="270" y="35"/>
                  <a:pt x="270" y="35"/>
                  <a:pt x="270" y="35"/>
                </a:cubicBezTo>
                <a:cubicBezTo>
                  <a:pt x="314" y="140"/>
                  <a:pt x="314" y="140"/>
                  <a:pt x="314" y="140"/>
                </a:cubicBezTo>
                <a:cubicBezTo>
                  <a:pt x="302" y="133"/>
                  <a:pt x="288" y="129"/>
                  <a:pt x="273" y="129"/>
                </a:cubicBezTo>
                <a:cubicBezTo>
                  <a:pt x="247" y="129"/>
                  <a:pt x="224" y="141"/>
                  <a:pt x="209" y="161"/>
                </a:cubicBezTo>
                <a:lnTo>
                  <a:pt x="209" y="46"/>
                </a:lnTo>
                <a:close/>
                <a:moveTo>
                  <a:pt x="273" y="273"/>
                </a:moveTo>
                <a:cubicBezTo>
                  <a:pt x="238" y="273"/>
                  <a:pt x="209" y="244"/>
                  <a:pt x="209" y="209"/>
                </a:cubicBezTo>
                <a:cubicBezTo>
                  <a:pt x="209" y="173"/>
                  <a:pt x="238" y="145"/>
                  <a:pt x="273" y="145"/>
                </a:cubicBezTo>
                <a:cubicBezTo>
                  <a:pt x="309" y="145"/>
                  <a:pt x="337" y="173"/>
                  <a:pt x="337" y="209"/>
                </a:cubicBezTo>
                <a:cubicBezTo>
                  <a:pt x="337" y="244"/>
                  <a:pt x="309" y="273"/>
                  <a:pt x="273" y="273"/>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Isosceles Triangle 5">
            <a:extLst>
              <a:ext uri="{FF2B5EF4-FFF2-40B4-BE49-F238E27FC236}">
                <a16:creationId xmlns:a16="http://schemas.microsoft.com/office/drawing/2014/main" id="{319621E7-0F27-5F7D-52FC-F11B46FF44E5}"/>
              </a:ext>
            </a:extLst>
          </p:cNvPr>
          <p:cNvSpPr/>
          <p:nvPr/>
        </p:nvSpPr>
        <p:spPr>
          <a:xfrm>
            <a:off x="4705920" y="152400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Freeform 54">
            <a:extLst>
              <a:ext uri="{FF2B5EF4-FFF2-40B4-BE49-F238E27FC236}">
                <a16:creationId xmlns:a16="http://schemas.microsoft.com/office/drawing/2014/main" id="{19852185-9C72-2EC0-DE45-A475EF498B6F}"/>
              </a:ext>
            </a:extLst>
          </p:cNvPr>
          <p:cNvSpPr>
            <a:spLocks noEditPoints="1"/>
          </p:cNvSpPr>
          <p:nvPr/>
        </p:nvSpPr>
        <p:spPr bwMode="auto">
          <a:xfrm>
            <a:off x="5705329" y="2720975"/>
            <a:ext cx="751018" cy="732377"/>
          </a:xfrm>
          <a:custGeom>
            <a:avLst/>
            <a:gdLst>
              <a:gd name="T0" fmla="*/ 337 w 362"/>
              <a:gd name="T1" fmla="*/ 0 h 353"/>
              <a:gd name="T2" fmla="*/ 111 w 362"/>
              <a:gd name="T3" fmla="*/ 129 h 353"/>
              <a:gd name="T4" fmla="*/ 81 w 362"/>
              <a:gd name="T5" fmla="*/ 196 h 353"/>
              <a:gd name="T6" fmla="*/ 144 w 362"/>
              <a:gd name="T7" fmla="*/ 274 h 353"/>
              <a:gd name="T8" fmla="*/ 179 w 362"/>
              <a:gd name="T9" fmla="*/ 333 h 353"/>
              <a:gd name="T10" fmla="*/ 281 w 362"/>
              <a:gd name="T11" fmla="*/ 186 h 353"/>
              <a:gd name="T12" fmla="*/ 209 w 362"/>
              <a:gd name="T13" fmla="*/ 238 h 353"/>
              <a:gd name="T14" fmla="*/ 171 w 362"/>
              <a:gd name="T15" fmla="*/ 263 h 353"/>
              <a:gd name="T16" fmla="*/ 154 w 362"/>
              <a:gd name="T17" fmla="*/ 256 h 353"/>
              <a:gd name="T18" fmla="*/ 111 w 362"/>
              <a:gd name="T19" fmla="*/ 242 h 353"/>
              <a:gd name="T20" fmla="*/ 90 w 362"/>
              <a:gd name="T21" fmla="*/ 182 h 353"/>
              <a:gd name="T22" fmla="*/ 115 w 362"/>
              <a:gd name="T23" fmla="*/ 144 h 353"/>
              <a:gd name="T24" fmla="*/ 209 w 362"/>
              <a:gd name="T25" fmla="*/ 237 h 353"/>
              <a:gd name="T26" fmla="*/ 270 w 362"/>
              <a:gd name="T27" fmla="*/ 174 h 353"/>
              <a:gd name="T28" fmla="*/ 220 w 362"/>
              <a:gd name="T29" fmla="*/ 225 h 353"/>
              <a:gd name="T30" fmla="*/ 164 w 362"/>
              <a:gd name="T31" fmla="*/ 97 h 353"/>
              <a:gd name="T32" fmla="*/ 337 w 362"/>
              <a:gd name="T33" fmla="*/ 16 h 353"/>
              <a:gd name="T34" fmla="*/ 62 w 362"/>
              <a:gd name="T35" fmla="*/ 197 h 353"/>
              <a:gd name="T36" fmla="*/ 156 w 362"/>
              <a:gd name="T37" fmla="*/ 291 h 353"/>
              <a:gd name="T38" fmla="*/ 62 w 362"/>
              <a:gd name="T39" fmla="*/ 197 h 353"/>
              <a:gd name="T40" fmla="*/ 58 w 362"/>
              <a:gd name="T41" fmla="*/ 252 h 353"/>
              <a:gd name="T42" fmla="*/ 101 w 362"/>
              <a:gd name="T43" fmla="*/ 295 h 353"/>
              <a:gd name="T44" fmla="*/ 168 w 362"/>
              <a:gd name="T45" fmla="*/ 128 h 353"/>
              <a:gd name="T46" fmla="*/ 168 w 362"/>
              <a:gd name="T47" fmla="*/ 145 h 353"/>
              <a:gd name="T48" fmla="*/ 168 w 362"/>
              <a:gd name="T49" fmla="*/ 128 h 353"/>
              <a:gd name="T50" fmla="*/ 225 w 362"/>
              <a:gd name="T51" fmla="*/ 185 h 353"/>
              <a:gd name="T52" fmla="*/ 209 w 362"/>
              <a:gd name="T53" fmla="*/ 185 h 353"/>
              <a:gd name="T54" fmla="*/ 265 w 362"/>
              <a:gd name="T55" fmla="*/ 112 h 353"/>
              <a:gd name="T56" fmla="*/ 265 w 362"/>
              <a:gd name="T57" fmla="*/ 64 h 353"/>
              <a:gd name="T58" fmla="*/ 265 w 362"/>
              <a:gd name="T59" fmla="*/ 112 h 353"/>
              <a:gd name="T60" fmla="*/ 273 w 362"/>
              <a:gd name="T61" fmla="*/ 88 h 353"/>
              <a:gd name="T62" fmla="*/ 257 w 362"/>
              <a:gd name="T63" fmla="*/ 88 h 353"/>
              <a:gd name="T64" fmla="*/ 193 w 362"/>
              <a:gd name="T65" fmla="*/ 169 h 353"/>
              <a:gd name="T66" fmla="*/ 193 w 362"/>
              <a:gd name="T67" fmla="*/ 153 h 353"/>
              <a:gd name="T68" fmla="*/ 193 w 362"/>
              <a:gd name="T69" fmla="*/ 16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2" h="353">
                <a:moveTo>
                  <a:pt x="350" y="3"/>
                </a:moveTo>
                <a:cubicBezTo>
                  <a:pt x="348" y="1"/>
                  <a:pt x="344" y="0"/>
                  <a:pt x="337" y="0"/>
                </a:cubicBezTo>
                <a:cubicBezTo>
                  <a:pt x="304" y="0"/>
                  <a:pt x="215" y="25"/>
                  <a:pt x="168" y="72"/>
                </a:cubicBezTo>
                <a:cubicBezTo>
                  <a:pt x="156" y="83"/>
                  <a:pt x="119" y="117"/>
                  <a:pt x="111" y="129"/>
                </a:cubicBezTo>
                <a:cubicBezTo>
                  <a:pt x="83" y="136"/>
                  <a:pt x="43" y="152"/>
                  <a:pt x="20" y="174"/>
                </a:cubicBezTo>
                <a:cubicBezTo>
                  <a:pt x="20" y="174"/>
                  <a:pt x="48" y="174"/>
                  <a:pt x="81" y="196"/>
                </a:cubicBezTo>
                <a:cubicBezTo>
                  <a:pt x="76" y="216"/>
                  <a:pt x="82" y="237"/>
                  <a:pt x="99" y="254"/>
                </a:cubicBezTo>
                <a:cubicBezTo>
                  <a:pt x="113" y="267"/>
                  <a:pt x="128" y="274"/>
                  <a:pt x="144" y="274"/>
                </a:cubicBezTo>
                <a:cubicBezTo>
                  <a:pt x="149" y="274"/>
                  <a:pt x="153" y="273"/>
                  <a:pt x="157" y="272"/>
                </a:cubicBezTo>
                <a:cubicBezTo>
                  <a:pt x="179" y="306"/>
                  <a:pt x="179" y="333"/>
                  <a:pt x="179" y="333"/>
                </a:cubicBezTo>
                <a:cubicBezTo>
                  <a:pt x="202" y="311"/>
                  <a:pt x="217" y="270"/>
                  <a:pt x="224" y="242"/>
                </a:cubicBezTo>
                <a:cubicBezTo>
                  <a:pt x="236" y="234"/>
                  <a:pt x="270" y="197"/>
                  <a:pt x="281" y="186"/>
                </a:cubicBezTo>
                <a:cubicBezTo>
                  <a:pt x="338" y="129"/>
                  <a:pt x="362" y="14"/>
                  <a:pt x="350" y="3"/>
                </a:cubicBezTo>
                <a:moveTo>
                  <a:pt x="209" y="238"/>
                </a:moveTo>
                <a:cubicBezTo>
                  <a:pt x="203" y="260"/>
                  <a:pt x="195" y="279"/>
                  <a:pt x="187" y="295"/>
                </a:cubicBezTo>
                <a:cubicBezTo>
                  <a:pt x="183" y="285"/>
                  <a:pt x="178" y="275"/>
                  <a:pt x="171" y="263"/>
                </a:cubicBezTo>
                <a:cubicBezTo>
                  <a:pt x="168" y="259"/>
                  <a:pt x="163" y="256"/>
                  <a:pt x="157" y="256"/>
                </a:cubicBezTo>
                <a:cubicBezTo>
                  <a:pt x="156" y="256"/>
                  <a:pt x="155" y="256"/>
                  <a:pt x="154" y="256"/>
                </a:cubicBezTo>
                <a:cubicBezTo>
                  <a:pt x="150" y="257"/>
                  <a:pt x="147" y="258"/>
                  <a:pt x="144" y="258"/>
                </a:cubicBezTo>
                <a:cubicBezTo>
                  <a:pt x="132" y="258"/>
                  <a:pt x="121" y="252"/>
                  <a:pt x="111" y="242"/>
                </a:cubicBezTo>
                <a:cubicBezTo>
                  <a:pt x="98" y="230"/>
                  <a:pt x="93" y="214"/>
                  <a:pt x="97" y="200"/>
                </a:cubicBezTo>
                <a:cubicBezTo>
                  <a:pt x="98" y="193"/>
                  <a:pt x="96" y="186"/>
                  <a:pt x="90" y="182"/>
                </a:cubicBezTo>
                <a:cubicBezTo>
                  <a:pt x="79" y="175"/>
                  <a:pt x="68" y="170"/>
                  <a:pt x="58" y="167"/>
                </a:cubicBezTo>
                <a:cubicBezTo>
                  <a:pt x="74" y="158"/>
                  <a:pt x="94" y="150"/>
                  <a:pt x="115" y="144"/>
                </a:cubicBezTo>
                <a:cubicBezTo>
                  <a:pt x="116" y="144"/>
                  <a:pt x="116" y="144"/>
                  <a:pt x="116" y="144"/>
                </a:cubicBezTo>
                <a:cubicBezTo>
                  <a:pt x="209" y="237"/>
                  <a:pt x="209" y="237"/>
                  <a:pt x="209" y="237"/>
                </a:cubicBezTo>
                <a:cubicBezTo>
                  <a:pt x="209" y="237"/>
                  <a:pt x="209" y="238"/>
                  <a:pt x="209" y="238"/>
                </a:cubicBezTo>
                <a:moveTo>
                  <a:pt x="270" y="174"/>
                </a:moveTo>
                <a:cubicBezTo>
                  <a:pt x="267" y="177"/>
                  <a:pt x="262" y="183"/>
                  <a:pt x="256" y="189"/>
                </a:cubicBezTo>
                <a:cubicBezTo>
                  <a:pt x="245" y="200"/>
                  <a:pt x="230" y="216"/>
                  <a:pt x="220" y="225"/>
                </a:cubicBezTo>
                <a:cubicBezTo>
                  <a:pt x="128" y="133"/>
                  <a:pt x="128" y="133"/>
                  <a:pt x="128" y="133"/>
                </a:cubicBezTo>
                <a:cubicBezTo>
                  <a:pt x="137" y="124"/>
                  <a:pt x="154" y="108"/>
                  <a:pt x="164" y="97"/>
                </a:cubicBezTo>
                <a:cubicBezTo>
                  <a:pt x="171" y="92"/>
                  <a:pt x="176" y="87"/>
                  <a:pt x="179" y="83"/>
                </a:cubicBezTo>
                <a:cubicBezTo>
                  <a:pt x="222" y="40"/>
                  <a:pt x="306" y="16"/>
                  <a:pt x="337" y="16"/>
                </a:cubicBezTo>
                <a:cubicBezTo>
                  <a:pt x="337" y="42"/>
                  <a:pt x="315" y="129"/>
                  <a:pt x="270" y="174"/>
                </a:cubicBezTo>
                <a:moveTo>
                  <a:pt x="62" y="197"/>
                </a:moveTo>
                <a:cubicBezTo>
                  <a:pt x="0" y="353"/>
                  <a:pt x="0" y="353"/>
                  <a:pt x="0" y="353"/>
                </a:cubicBezTo>
                <a:cubicBezTo>
                  <a:pt x="156" y="291"/>
                  <a:pt x="156" y="291"/>
                  <a:pt x="156" y="291"/>
                </a:cubicBezTo>
                <a:cubicBezTo>
                  <a:pt x="153" y="291"/>
                  <a:pt x="150" y="291"/>
                  <a:pt x="148" y="291"/>
                </a:cubicBezTo>
                <a:cubicBezTo>
                  <a:pt x="100" y="291"/>
                  <a:pt x="57" y="245"/>
                  <a:pt x="62" y="197"/>
                </a:cubicBezTo>
                <a:moveTo>
                  <a:pt x="29" y="324"/>
                </a:moveTo>
                <a:cubicBezTo>
                  <a:pt x="58" y="252"/>
                  <a:pt x="58" y="252"/>
                  <a:pt x="58" y="252"/>
                </a:cubicBezTo>
                <a:cubicBezTo>
                  <a:pt x="62" y="259"/>
                  <a:pt x="67" y="266"/>
                  <a:pt x="72" y="272"/>
                </a:cubicBezTo>
                <a:cubicBezTo>
                  <a:pt x="81" y="282"/>
                  <a:pt x="91" y="290"/>
                  <a:pt x="101" y="295"/>
                </a:cubicBezTo>
                <a:lnTo>
                  <a:pt x="29" y="324"/>
                </a:lnTo>
                <a:close/>
                <a:moveTo>
                  <a:pt x="168" y="128"/>
                </a:moveTo>
                <a:cubicBezTo>
                  <a:pt x="164" y="128"/>
                  <a:pt x="160" y="132"/>
                  <a:pt x="160" y="136"/>
                </a:cubicBezTo>
                <a:cubicBezTo>
                  <a:pt x="160" y="141"/>
                  <a:pt x="164" y="145"/>
                  <a:pt x="168" y="145"/>
                </a:cubicBezTo>
                <a:cubicBezTo>
                  <a:pt x="173" y="145"/>
                  <a:pt x="176" y="141"/>
                  <a:pt x="176" y="136"/>
                </a:cubicBezTo>
                <a:cubicBezTo>
                  <a:pt x="176" y="132"/>
                  <a:pt x="173" y="128"/>
                  <a:pt x="168" y="128"/>
                </a:cubicBezTo>
                <a:moveTo>
                  <a:pt x="217" y="193"/>
                </a:moveTo>
                <a:cubicBezTo>
                  <a:pt x="221" y="193"/>
                  <a:pt x="225" y="189"/>
                  <a:pt x="225" y="185"/>
                </a:cubicBezTo>
                <a:cubicBezTo>
                  <a:pt x="225" y="180"/>
                  <a:pt x="221" y="177"/>
                  <a:pt x="217" y="177"/>
                </a:cubicBezTo>
                <a:cubicBezTo>
                  <a:pt x="212" y="177"/>
                  <a:pt x="209" y="180"/>
                  <a:pt x="209" y="185"/>
                </a:cubicBezTo>
                <a:cubicBezTo>
                  <a:pt x="209" y="189"/>
                  <a:pt x="212" y="193"/>
                  <a:pt x="217" y="193"/>
                </a:cubicBezTo>
                <a:moveTo>
                  <a:pt x="265" y="112"/>
                </a:moveTo>
                <a:cubicBezTo>
                  <a:pt x="278" y="112"/>
                  <a:pt x="289" y="102"/>
                  <a:pt x="289" y="88"/>
                </a:cubicBezTo>
                <a:cubicBezTo>
                  <a:pt x="289" y="75"/>
                  <a:pt x="278" y="64"/>
                  <a:pt x="265" y="64"/>
                </a:cubicBezTo>
                <a:cubicBezTo>
                  <a:pt x="251" y="64"/>
                  <a:pt x="241" y="75"/>
                  <a:pt x="241" y="88"/>
                </a:cubicBezTo>
                <a:cubicBezTo>
                  <a:pt x="241" y="102"/>
                  <a:pt x="251" y="112"/>
                  <a:pt x="265" y="112"/>
                </a:cubicBezTo>
                <a:moveTo>
                  <a:pt x="265" y="80"/>
                </a:moveTo>
                <a:cubicBezTo>
                  <a:pt x="269" y="80"/>
                  <a:pt x="273" y="84"/>
                  <a:pt x="273" y="88"/>
                </a:cubicBezTo>
                <a:cubicBezTo>
                  <a:pt x="273" y="93"/>
                  <a:pt x="269" y="96"/>
                  <a:pt x="265" y="96"/>
                </a:cubicBezTo>
                <a:cubicBezTo>
                  <a:pt x="260" y="96"/>
                  <a:pt x="257" y="93"/>
                  <a:pt x="257" y="88"/>
                </a:cubicBezTo>
                <a:cubicBezTo>
                  <a:pt x="257" y="84"/>
                  <a:pt x="260" y="80"/>
                  <a:pt x="265" y="80"/>
                </a:cubicBezTo>
                <a:moveTo>
                  <a:pt x="193" y="169"/>
                </a:moveTo>
                <a:cubicBezTo>
                  <a:pt x="197" y="169"/>
                  <a:pt x="201" y="165"/>
                  <a:pt x="201" y="161"/>
                </a:cubicBezTo>
                <a:cubicBezTo>
                  <a:pt x="201" y="156"/>
                  <a:pt x="197" y="153"/>
                  <a:pt x="193" y="153"/>
                </a:cubicBezTo>
                <a:cubicBezTo>
                  <a:pt x="188" y="153"/>
                  <a:pt x="185" y="156"/>
                  <a:pt x="185" y="161"/>
                </a:cubicBezTo>
                <a:cubicBezTo>
                  <a:pt x="185" y="165"/>
                  <a:pt x="188" y="169"/>
                  <a:pt x="193" y="169"/>
                </a:cubicBezTo>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Isosceles Triangle 8">
            <a:extLst>
              <a:ext uri="{FF2B5EF4-FFF2-40B4-BE49-F238E27FC236}">
                <a16:creationId xmlns:a16="http://schemas.microsoft.com/office/drawing/2014/main" id="{5E198900-8320-DC11-D24D-6650F1F87B1F}"/>
              </a:ext>
            </a:extLst>
          </p:cNvPr>
          <p:cNvSpPr/>
          <p:nvPr/>
        </p:nvSpPr>
        <p:spPr>
          <a:xfrm>
            <a:off x="6094411" y="3917950"/>
            <a:ext cx="2776982" cy="2393950"/>
          </a:xfrm>
          <a:prstGeom prst="triangle">
            <a:avLst/>
          </a:prstGeom>
          <a:gradFill>
            <a:gsLst>
              <a:gs pos="0">
                <a:schemeClr val="tx2"/>
              </a:gs>
              <a:gs pos="99000">
                <a:schemeClr val="accent1"/>
              </a:gs>
            </a:gsLst>
            <a:lin ang="2700000" scaled="0"/>
          </a:gradFill>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Freeform 13">
            <a:extLst>
              <a:ext uri="{FF2B5EF4-FFF2-40B4-BE49-F238E27FC236}">
                <a16:creationId xmlns:a16="http://schemas.microsoft.com/office/drawing/2014/main" id="{F0B44AE0-965B-53D4-4474-D38D796FC005}"/>
              </a:ext>
            </a:extLst>
          </p:cNvPr>
          <p:cNvSpPr>
            <a:spLocks noEditPoints="1"/>
          </p:cNvSpPr>
          <p:nvPr/>
        </p:nvSpPr>
        <p:spPr bwMode="auto">
          <a:xfrm>
            <a:off x="7119377" y="5067435"/>
            <a:ext cx="727050" cy="727050"/>
          </a:xfrm>
          <a:custGeom>
            <a:avLst/>
            <a:gdLst>
              <a:gd name="T0" fmla="*/ 353 w 353"/>
              <a:gd name="T1" fmla="*/ 104 h 353"/>
              <a:gd name="T2" fmla="*/ 351 w 353"/>
              <a:gd name="T3" fmla="*/ 99 h 353"/>
              <a:gd name="T4" fmla="*/ 351 w 353"/>
              <a:gd name="T5" fmla="*/ 99 h 353"/>
              <a:gd name="T6" fmla="*/ 351 w 353"/>
              <a:gd name="T7" fmla="*/ 99 h 353"/>
              <a:gd name="T8" fmla="*/ 350 w 353"/>
              <a:gd name="T9" fmla="*/ 98 h 353"/>
              <a:gd name="T10" fmla="*/ 255 w 353"/>
              <a:gd name="T11" fmla="*/ 3 h 353"/>
              <a:gd name="T12" fmla="*/ 255 w 353"/>
              <a:gd name="T13" fmla="*/ 3 h 353"/>
              <a:gd name="T14" fmla="*/ 248 w 353"/>
              <a:gd name="T15" fmla="*/ 0 h 353"/>
              <a:gd name="T16" fmla="*/ 104 w 353"/>
              <a:gd name="T17" fmla="*/ 0 h 353"/>
              <a:gd name="T18" fmla="*/ 98 w 353"/>
              <a:gd name="T19" fmla="*/ 3 h 353"/>
              <a:gd name="T20" fmla="*/ 97 w 353"/>
              <a:gd name="T21" fmla="*/ 3 h 353"/>
              <a:gd name="T22" fmla="*/ 2 w 353"/>
              <a:gd name="T23" fmla="*/ 98 h 353"/>
              <a:gd name="T24" fmla="*/ 2 w 353"/>
              <a:gd name="T25" fmla="*/ 99 h 353"/>
              <a:gd name="T26" fmla="*/ 1 w 353"/>
              <a:gd name="T27" fmla="*/ 99 h 353"/>
              <a:gd name="T28" fmla="*/ 1 w 353"/>
              <a:gd name="T29" fmla="*/ 99 h 353"/>
              <a:gd name="T30" fmla="*/ 0 w 353"/>
              <a:gd name="T31" fmla="*/ 104 h 353"/>
              <a:gd name="T32" fmla="*/ 1 w 353"/>
              <a:gd name="T33" fmla="*/ 109 h 353"/>
              <a:gd name="T34" fmla="*/ 1 w 353"/>
              <a:gd name="T35" fmla="*/ 109 h 353"/>
              <a:gd name="T36" fmla="*/ 170 w 353"/>
              <a:gd name="T37" fmla="*/ 350 h 353"/>
              <a:gd name="T38" fmla="*/ 170 w 353"/>
              <a:gd name="T39" fmla="*/ 350 h 353"/>
              <a:gd name="T40" fmla="*/ 176 w 353"/>
              <a:gd name="T41" fmla="*/ 353 h 353"/>
              <a:gd name="T42" fmla="*/ 182 w 353"/>
              <a:gd name="T43" fmla="*/ 350 h 353"/>
              <a:gd name="T44" fmla="*/ 182 w 353"/>
              <a:gd name="T45" fmla="*/ 350 h 353"/>
              <a:gd name="T46" fmla="*/ 351 w 353"/>
              <a:gd name="T47" fmla="*/ 109 h 353"/>
              <a:gd name="T48" fmla="*/ 351 w 353"/>
              <a:gd name="T49" fmla="*/ 109 h 353"/>
              <a:gd name="T50" fmla="*/ 353 w 353"/>
              <a:gd name="T51" fmla="*/ 104 h 353"/>
              <a:gd name="T52" fmla="*/ 245 w 353"/>
              <a:gd name="T53" fmla="*/ 16 h 353"/>
              <a:gd name="T54" fmla="*/ 325 w 353"/>
              <a:gd name="T55" fmla="*/ 96 h 353"/>
              <a:gd name="T56" fmla="*/ 253 w 353"/>
              <a:gd name="T57" fmla="*/ 96 h 353"/>
              <a:gd name="T58" fmla="*/ 213 w 353"/>
              <a:gd name="T59" fmla="*/ 16 h 353"/>
              <a:gd name="T60" fmla="*/ 245 w 353"/>
              <a:gd name="T61" fmla="*/ 16 h 353"/>
              <a:gd name="T62" fmla="*/ 195 w 353"/>
              <a:gd name="T63" fmla="*/ 16 h 353"/>
              <a:gd name="T64" fmla="*/ 235 w 353"/>
              <a:gd name="T65" fmla="*/ 96 h 353"/>
              <a:gd name="T66" fmla="*/ 117 w 353"/>
              <a:gd name="T67" fmla="*/ 96 h 353"/>
              <a:gd name="T68" fmla="*/ 157 w 353"/>
              <a:gd name="T69" fmla="*/ 16 h 353"/>
              <a:gd name="T70" fmla="*/ 195 w 353"/>
              <a:gd name="T71" fmla="*/ 16 h 353"/>
              <a:gd name="T72" fmla="*/ 107 w 353"/>
              <a:gd name="T73" fmla="*/ 16 h 353"/>
              <a:gd name="T74" fmla="*/ 139 w 353"/>
              <a:gd name="T75" fmla="*/ 16 h 353"/>
              <a:gd name="T76" fmla="*/ 99 w 353"/>
              <a:gd name="T77" fmla="*/ 96 h 353"/>
              <a:gd name="T78" fmla="*/ 27 w 353"/>
              <a:gd name="T79" fmla="*/ 96 h 353"/>
              <a:gd name="T80" fmla="*/ 107 w 353"/>
              <a:gd name="T81" fmla="*/ 16 h 353"/>
              <a:gd name="T82" fmla="*/ 23 w 353"/>
              <a:gd name="T83" fmla="*/ 112 h 353"/>
              <a:gd name="T84" fmla="*/ 98 w 353"/>
              <a:gd name="T85" fmla="*/ 112 h 353"/>
              <a:gd name="T86" fmla="*/ 154 w 353"/>
              <a:gd name="T87" fmla="*/ 299 h 353"/>
              <a:gd name="T88" fmla="*/ 23 w 353"/>
              <a:gd name="T89" fmla="*/ 112 h 353"/>
              <a:gd name="T90" fmla="*/ 176 w 353"/>
              <a:gd name="T91" fmla="*/ 317 h 353"/>
              <a:gd name="T92" fmla="*/ 115 w 353"/>
              <a:gd name="T93" fmla="*/ 112 h 353"/>
              <a:gd name="T94" fmla="*/ 238 w 353"/>
              <a:gd name="T95" fmla="*/ 112 h 353"/>
              <a:gd name="T96" fmla="*/ 176 w 353"/>
              <a:gd name="T97" fmla="*/ 317 h 353"/>
              <a:gd name="T98" fmla="*/ 198 w 353"/>
              <a:gd name="T99" fmla="*/ 299 h 353"/>
              <a:gd name="T100" fmla="*/ 254 w 353"/>
              <a:gd name="T101" fmla="*/ 112 h 353"/>
              <a:gd name="T102" fmla="*/ 329 w 353"/>
              <a:gd name="T103" fmla="*/ 112 h 353"/>
              <a:gd name="T104" fmla="*/ 198 w 353"/>
              <a:gd name="T105" fmla="*/ 2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53">
                <a:moveTo>
                  <a:pt x="353" y="104"/>
                </a:moveTo>
                <a:cubicBezTo>
                  <a:pt x="353" y="102"/>
                  <a:pt x="352" y="101"/>
                  <a:pt x="351" y="99"/>
                </a:cubicBezTo>
                <a:cubicBezTo>
                  <a:pt x="351" y="99"/>
                  <a:pt x="351" y="99"/>
                  <a:pt x="351" y="99"/>
                </a:cubicBezTo>
                <a:cubicBezTo>
                  <a:pt x="351" y="99"/>
                  <a:pt x="351" y="99"/>
                  <a:pt x="351" y="99"/>
                </a:cubicBezTo>
                <a:cubicBezTo>
                  <a:pt x="350" y="98"/>
                  <a:pt x="350" y="98"/>
                  <a:pt x="350" y="98"/>
                </a:cubicBezTo>
                <a:cubicBezTo>
                  <a:pt x="255" y="3"/>
                  <a:pt x="255" y="3"/>
                  <a:pt x="255" y="3"/>
                </a:cubicBezTo>
                <a:cubicBezTo>
                  <a:pt x="255" y="3"/>
                  <a:pt x="255" y="3"/>
                  <a:pt x="255" y="3"/>
                </a:cubicBezTo>
                <a:cubicBezTo>
                  <a:pt x="253" y="1"/>
                  <a:pt x="251" y="0"/>
                  <a:pt x="248" y="0"/>
                </a:cubicBezTo>
                <a:cubicBezTo>
                  <a:pt x="104" y="0"/>
                  <a:pt x="104" y="0"/>
                  <a:pt x="104" y="0"/>
                </a:cubicBezTo>
                <a:cubicBezTo>
                  <a:pt x="101" y="0"/>
                  <a:pt x="99" y="1"/>
                  <a:pt x="98" y="3"/>
                </a:cubicBezTo>
                <a:cubicBezTo>
                  <a:pt x="97" y="3"/>
                  <a:pt x="97" y="3"/>
                  <a:pt x="97" y="3"/>
                </a:cubicBezTo>
                <a:cubicBezTo>
                  <a:pt x="2" y="98"/>
                  <a:pt x="2" y="98"/>
                  <a:pt x="2" y="98"/>
                </a:cubicBezTo>
                <a:cubicBezTo>
                  <a:pt x="2" y="98"/>
                  <a:pt x="2" y="98"/>
                  <a:pt x="2" y="99"/>
                </a:cubicBezTo>
                <a:cubicBezTo>
                  <a:pt x="1" y="99"/>
                  <a:pt x="1" y="99"/>
                  <a:pt x="1" y="99"/>
                </a:cubicBezTo>
                <a:cubicBezTo>
                  <a:pt x="1" y="99"/>
                  <a:pt x="1" y="99"/>
                  <a:pt x="1" y="99"/>
                </a:cubicBezTo>
                <a:cubicBezTo>
                  <a:pt x="0" y="101"/>
                  <a:pt x="0" y="102"/>
                  <a:pt x="0" y="104"/>
                </a:cubicBezTo>
                <a:cubicBezTo>
                  <a:pt x="0" y="106"/>
                  <a:pt x="0" y="108"/>
                  <a:pt x="1" y="109"/>
                </a:cubicBezTo>
                <a:cubicBezTo>
                  <a:pt x="1" y="109"/>
                  <a:pt x="1" y="109"/>
                  <a:pt x="1" y="109"/>
                </a:cubicBezTo>
                <a:cubicBezTo>
                  <a:pt x="170" y="350"/>
                  <a:pt x="170" y="350"/>
                  <a:pt x="170" y="350"/>
                </a:cubicBezTo>
                <a:cubicBezTo>
                  <a:pt x="170" y="350"/>
                  <a:pt x="170" y="350"/>
                  <a:pt x="170" y="350"/>
                </a:cubicBezTo>
                <a:cubicBezTo>
                  <a:pt x="171" y="352"/>
                  <a:pt x="174" y="353"/>
                  <a:pt x="176" y="353"/>
                </a:cubicBezTo>
                <a:cubicBezTo>
                  <a:pt x="179" y="353"/>
                  <a:pt x="181" y="352"/>
                  <a:pt x="182" y="350"/>
                </a:cubicBezTo>
                <a:cubicBezTo>
                  <a:pt x="182" y="350"/>
                  <a:pt x="182" y="350"/>
                  <a:pt x="182" y="350"/>
                </a:cubicBezTo>
                <a:cubicBezTo>
                  <a:pt x="351" y="109"/>
                  <a:pt x="351" y="109"/>
                  <a:pt x="351" y="109"/>
                </a:cubicBezTo>
                <a:cubicBezTo>
                  <a:pt x="351" y="109"/>
                  <a:pt x="351" y="109"/>
                  <a:pt x="351" y="109"/>
                </a:cubicBezTo>
                <a:cubicBezTo>
                  <a:pt x="352" y="108"/>
                  <a:pt x="353" y="106"/>
                  <a:pt x="353" y="104"/>
                </a:cubicBezTo>
                <a:moveTo>
                  <a:pt x="245" y="16"/>
                </a:moveTo>
                <a:cubicBezTo>
                  <a:pt x="325" y="96"/>
                  <a:pt x="325" y="96"/>
                  <a:pt x="325" y="96"/>
                </a:cubicBezTo>
                <a:cubicBezTo>
                  <a:pt x="253" y="96"/>
                  <a:pt x="253" y="96"/>
                  <a:pt x="253" y="96"/>
                </a:cubicBezTo>
                <a:cubicBezTo>
                  <a:pt x="213" y="16"/>
                  <a:pt x="213" y="16"/>
                  <a:pt x="213" y="16"/>
                </a:cubicBezTo>
                <a:lnTo>
                  <a:pt x="245" y="16"/>
                </a:lnTo>
                <a:close/>
                <a:moveTo>
                  <a:pt x="195" y="16"/>
                </a:moveTo>
                <a:cubicBezTo>
                  <a:pt x="235" y="96"/>
                  <a:pt x="235" y="96"/>
                  <a:pt x="235" y="96"/>
                </a:cubicBezTo>
                <a:cubicBezTo>
                  <a:pt x="117" y="96"/>
                  <a:pt x="117" y="96"/>
                  <a:pt x="117" y="96"/>
                </a:cubicBezTo>
                <a:cubicBezTo>
                  <a:pt x="157" y="16"/>
                  <a:pt x="157" y="16"/>
                  <a:pt x="157" y="16"/>
                </a:cubicBezTo>
                <a:lnTo>
                  <a:pt x="195" y="16"/>
                </a:lnTo>
                <a:close/>
                <a:moveTo>
                  <a:pt x="107" y="16"/>
                </a:moveTo>
                <a:cubicBezTo>
                  <a:pt x="139" y="16"/>
                  <a:pt x="139" y="16"/>
                  <a:pt x="139" y="16"/>
                </a:cubicBezTo>
                <a:cubicBezTo>
                  <a:pt x="99" y="96"/>
                  <a:pt x="99" y="96"/>
                  <a:pt x="99" y="96"/>
                </a:cubicBezTo>
                <a:cubicBezTo>
                  <a:pt x="27" y="96"/>
                  <a:pt x="27" y="96"/>
                  <a:pt x="27" y="96"/>
                </a:cubicBezTo>
                <a:lnTo>
                  <a:pt x="107" y="16"/>
                </a:lnTo>
                <a:close/>
                <a:moveTo>
                  <a:pt x="23" y="112"/>
                </a:moveTo>
                <a:cubicBezTo>
                  <a:pt x="98" y="112"/>
                  <a:pt x="98" y="112"/>
                  <a:pt x="98" y="112"/>
                </a:cubicBezTo>
                <a:cubicBezTo>
                  <a:pt x="154" y="299"/>
                  <a:pt x="154" y="299"/>
                  <a:pt x="154" y="299"/>
                </a:cubicBezTo>
                <a:lnTo>
                  <a:pt x="23" y="112"/>
                </a:lnTo>
                <a:close/>
                <a:moveTo>
                  <a:pt x="176" y="317"/>
                </a:moveTo>
                <a:cubicBezTo>
                  <a:pt x="115" y="112"/>
                  <a:pt x="115" y="112"/>
                  <a:pt x="115" y="112"/>
                </a:cubicBezTo>
                <a:cubicBezTo>
                  <a:pt x="238" y="112"/>
                  <a:pt x="238" y="112"/>
                  <a:pt x="238" y="112"/>
                </a:cubicBezTo>
                <a:lnTo>
                  <a:pt x="176" y="317"/>
                </a:lnTo>
                <a:close/>
                <a:moveTo>
                  <a:pt x="198" y="299"/>
                </a:moveTo>
                <a:cubicBezTo>
                  <a:pt x="254" y="112"/>
                  <a:pt x="254" y="112"/>
                  <a:pt x="254" y="112"/>
                </a:cubicBezTo>
                <a:cubicBezTo>
                  <a:pt x="329" y="112"/>
                  <a:pt x="329" y="112"/>
                  <a:pt x="329" y="112"/>
                </a:cubicBezTo>
                <a:lnTo>
                  <a:pt x="198" y="299"/>
                </a:lnTo>
                <a:close/>
              </a:path>
            </a:pathLst>
          </a:custGeom>
          <a:solidFill>
            <a:schemeClr val="bg1"/>
          </a:solidFill>
          <a:effectLst>
            <a:outerShdw blurRad="381000" dist="38100" dir="2700000" algn="ctr" rotWithShape="0">
              <a:prstClr val="black">
                <a:alpha val="40000"/>
              </a:prstClr>
            </a:outerShdw>
          </a:effectLst>
        </p:spPr>
        <p:txBody>
          <a:bodyPr lIns="216000" rIns="89988" bIns="180000" anchor="b"/>
          <a:lstStyle/>
          <a:p>
            <a:pPr defTabSz="228554"/>
            <a:endParaRPr lang="en-US">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TextBox 24">
            <a:extLst>
              <a:ext uri="{FF2B5EF4-FFF2-40B4-BE49-F238E27FC236}">
                <a16:creationId xmlns:a16="http://schemas.microsoft.com/office/drawing/2014/main" id="{4697DB0F-53CC-59D6-1AF0-7974E59FE486}"/>
              </a:ext>
            </a:extLst>
          </p:cNvPr>
          <p:cNvSpPr txBox="1"/>
          <p:nvPr/>
        </p:nvSpPr>
        <p:spPr>
          <a:xfrm>
            <a:off x="7209197" y="1942268"/>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mission</a:t>
            </a:r>
          </a:p>
        </p:txBody>
      </p:sp>
      <p:sp>
        <p:nvSpPr>
          <p:cNvPr id="16" name="TextBox 25">
            <a:extLst>
              <a:ext uri="{FF2B5EF4-FFF2-40B4-BE49-F238E27FC236}">
                <a16:creationId xmlns:a16="http://schemas.microsoft.com/office/drawing/2014/main" id="{12971CB5-D688-CA2A-CE7D-66C0AA2D9B61}"/>
              </a:ext>
            </a:extLst>
          </p:cNvPr>
          <p:cNvSpPr txBox="1"/>
          <p:nvPr/>
        </p:nvSpPr>
        <p:spPr>
          <a:xfrm>
            <a:off x="7209197" y="2377376"/>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8" name="TextBox 22">
            <a:extLst>
              <a:ext uri="{FF2B5EF4-FFF2-40B4-BE49-F238E27FC236}">
                <a16:creationId xmlns:a16="http://schemas.microsoft.com/office/drawing/2014/main" id="{FC11DB7E-434D-9BEF-8728-615BCA43F446}"/>
              </a:ext>
            </a:extLst>
          </p:cNvPr>
          <p:cNvSpPr txBox="1"/>
          <p:nvPr/>
        </p:nvSpPr>
        <p:spPr>
          <a:xfrm>
            <a:off x="1167245" y="3897459"/>
            <a:ext cx="2679489" cy="369332"/>
          </a:xfrm>
          <a:prstGeom prst="rect">
            <a:avLst/>
          </a:prstGeom>
          <a:noFill/>
        </p:spPr>
        <p:txBody>
          <a:bodyPr wrap="square" lIns="0" tIns="0" rIns="0" bIns="0" rtlCol="0" anchor="b">
            <a:noAutofit/>
          </a:bodyPr>
          <a:lstStyle/>
          <a:p>
            <a:pPr algn="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ision</a:t>
            </a:r>
          </a:p>
        </p:txBody>
      </p:sp>
      <p:sp>
        <p:nvSpPr>
          <p:cNvPr id="19" name="TextBox 23">
            <a:extLst>
              <a:ext uri="{FF2B5EF4-FFF2-40B4-BE49-F238E27FC236}">
                <a16:creationId xmlns:a16="http://schemas.microsoft.com/office/drawing/2014/main" id="{5D9572AA-1998-7F5F-E858-D266537415F0}"/>
              </a:ext>
            </a:extLst>
          </p:cNvPr>
          <p:cNvSpPr txBox="1"/>
          <p:nvPr/>
        </p:nvSpPr>
        <p:spPr>
          <a:xfrm>
            <a:off x="874613" y="4332567"/>
            <a:ext cx="2972122" cy="646331"/>
          </a:xfrm>
          <a:prstGeom prst="rect">
            <a:avLst/>
          </a:prstGeom>
          <a:noFill/>
        </p:spPr>
        <p:txBody>
          <a:bodyPr wrap="square" lIns="0" tIns="0" rIns="0" bIns="0" rtlCol="0">
            <a:spAutoFit/>
          </a:bodyPr>
          <a:lstStyle/>
          <a:p>
            <a:pPr algn="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21" name="TextBox 26">
            <a:extLst>
              <a:ext uri="{FF2B5EF4-FFF2-40B4-BE49-F238E27FC236}">
                <a16:creationId xmlns:a16="http://schemas.microsoft.com/office/drawing/2014/main" id="{634C8D66-4582-8F24-B70C-C5F64387F95D}"/>
              </a:ext>
            </a:extLst>
          </p:cNvPr>
          <p:cNvSpPr txBox="1"/>
          <p:nvPr/>
        </p:nvSpPr>
        <p:spPr>
          <a:xfrm>
            <a:off x="8345263" y="3897459"/>
            <a:ext cx="2679489" cy="369332"/>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Our values</a:t>
            </a:r>
          </a:p>
        </p:txBody>
      </p:sp>
      <p:sp>
        <p:nvSpPr>
          <p:cNvPr id="22" name="TextBox 27">
            <a:extLst>
              <a:ext uri="{FF2B5EF4-FFF2-40B4-BE49-F238E27FC236}">
                <a16:creationId xmlns:a16="http://schemas.microsoft.com/office/drawing/2014/main" id="{A5A06896-4795-7D1D-C158-5A9FA4DD7058}"/>
              </a:ext>
            </a:extLst>
          </p:cNvPr>
          <p:cNvSpPr txBox="1"/>
          <p:nvPr/>
        </p:nvSpPr>
        <p:spPr>
          <a:xfrm>
            <a:off x="8345263" y="4332567"/>
            <a:ext cx="2968946"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4" name="Footer Placeholder 3">
            <a:extLst>
              <a:ext uri="{FF2B5EF4-FFF2-40B4-BE49-F238E27FC236}">
                <a16:creationId xmlns:a16="http://schemas.microsoft.com/office/drawing/2014/main" id="{6E365459-FA71-824C-5C89-63868CC96AAF}"/>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615124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4120632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0A846404-5368-28A7-A383-34EF8500AE26}"/>
              </a:ext>
            </a:extLst>
          </p:cNvPr>
          <p:cNvGrpSpPr/>
          <p:nvPr/>
        </p:nvGrpSpPr>
        <p:grpSpPr>
          <a:xfrm rot="21001171">
            <a:off x="-1126710" y="849479"/>
            <a:ext cx="8492431" cy="5732874"/>
            <a:chOff x="179488" y="1054614"/>
            <a:chExt cx="8492431" cy="5732874"/>
          </a:xfrm>
        </p:grpSpPr>
        <p:pic>
          <p:nvPicPr>
            <p:cNvPr id="14" name="Picture 4" descr="BMI Biomedical International – R/F SYSTEMS">
              <a:extLst>
                <a:ext uri="{FF2B5EF4-FFF2-40B4-BE49-F238E27FC236}">
                  <a16:creationId xmlns:a16="http://schemas.microsoft.com/office/drawing/2014/main" id="{19A29898-FA7B-3C3A-0F3F-40FF3CE71B8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50323" y="1054614"/>
              <a:ext cx="7821596" cy="480008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92D2026-E68B-393C-7888-8B93ED80CD88}"/>
                </a:ext>
              </a:extLst>
            </p:cNvPr>
            <p:cNvSpPr/>
            <p:nvPr/>
          </p:nvSpPr>
          <p:spPr>
            <a:xfrm rot="19282366">
              <a:off x="179488" y="1480437"/>
              <a:ext cx="4085965" cy="530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17859E41-3581-FC88-4D82-7E5D733A44A4}"/>
                </a:ext>
              </a:extLst>
            </p:cNvPr>
            <p:cNvSpPr/>
            <p:nvPr/>
          </p:nvSpPr>
          <p:spPr>
            <a:xfrm rot="21536336">
              <a:off x="5822582" y="2322569"/>
              <a:ext cx="2441756" cy="3677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88124622-C3A0-746D-7137-9A464926EC6C}"/>
                </a:ext>
              </a:extLst>
            </p:cNvPr>
            <p:cNvSpPr/>
            <p:nvPr/>
          </p:nvSpPr>
          <p:spPr>
            <a:xfrm rot="21536336">
              <a:off x="4648030" y="3410024"/>
              <a:ext cx="2441756" cy="321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grp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6"/>
          <a:stretch>
            <a:fillRect/>
          </a:stretch>
        </p:blipFill>
        <p:spPr>
          <a:xfrm>
            <a:off x="-5710399" y="889994"/>
            <a:ext cx="5210447" cy="4907136"/>
          </a:xfrm>
          <a:prstGeom prst="rect">
            <a:avLst/>
          </a:prstGeom>
        </p:spPr>
      </p:pic>
      <p:sp>
        <p:nvSpPr>
          <p:cNvPr id="2" name="Título 1">
            <a:extLst>
              <a:ext uri="{FF2B5EF4-FFF2-40B4-BE49-F238E27FC236}">
                <a16:creationId xmlns:a16="http://schemas.microsoft.com/office/drawing/2014/main" id="{A2C5AA37-4FAE-DE90-0D20-1ECBF5B9D27E}"/>
              </a:ext>
            </a:extLst>
          </p:cNvPr>
          <p:cNvSpPr>
            <a:spLocks noGrp="1"/>
          </p:cNvSpPr>
          <p:nvPr>
            <p:ph type="title"/>
          </p:nvPr>
        </p:nvSpPr>
        <p:spPr>
          <a:xfrm>
            <a:off x="384174" y="381000"/>
            <a:ext cx="11420475" cy="485775"/>
          </a:xfrm>
        </p:spPr>
        <p:txBody>
          <a:bodyPr vert="horz">
            <a:noAutofit/>
          </a:bodyPr>
          <a:lstStyle/>
          <a:p>
            <a:pPr>
              <a:lnSpc>
                <a:spcPct val="125000"/>
              </a:lnSpc>
            </a:pPr>
            <a:r>
              <a:rPr lang="en-US" dirty="0">
                <a:latin typeface="Arial" panose="020B0604020202020204" pitchFamily="34" charset="0"/>
                <a:cs typeface="Arial" panose="020B0604020202020204" pitchFamily="34" charset="0"/>
              </a:rPr>
              <a:t>Illustrative Model of robot, magnetic field controller, X-ray</a:t>
            </a:r>
          </a:p>
        </p:txBody>
      </p:sp>
      <p:grpSp>
        <p:nvGrpSpPr>
          <p:cNvPr id="30" name="Group 29">
            <a:extLst>
              <a:ext uri="{FF2B5EF4-FFF2-40B4-BE49-F238E27FC236}">
                <a16:creationId xmlns:a16="http://schemas.microsoft.com/office/drawing/2014/main" id="{0B6B6CC6-2490-9D7E-1A05-1E8A754133D3}"/>
              </a:ext>
            </a:extLst>
          </p:cNvPr>
          <p:cNvGrpSpPr/>
          <p:nvPr/>
        </p:nvGrpSpPr>
        <p:grpSpPr>
          <a:xfrm>
            <a:off x="12420390" y="1917808"/>
            <a:ext cx="4462635" cy="4140932"/>
            <a:chOff x="6553139" y="1917808"/>
            <a:chExt cx="4462635" cy="4140932"/>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7"/>
            <a:stretch>
              <a:fillRect/>
            </a:stretch>
          </p:blipFill>
          <p:spPr>
            <a:xfrm>
              <a:off x="6814424" y="1917808"/>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8"/>
            <a:stretch>
              <a:fillRect/>
            </a:stretch>
          </p:blipFill>
          <p:spPr>
            <a:xfrm>
              <a:off x="9254548" y="3892440"/>
              <a:ext cx="1596930" cy="909021"/>
            </a:xfrm>
            <a:prstGeom prst="rect">
              <a:avLst/>
            </a:prstGeom>
          </p:spPr>
        </p:pic>
        <p:sp>
          <p:nvSpPr>
            <p:cNvPr id="13" name="TextBox 12">
              <a:extLst>
                <a:ext uri="{FF2B5EF4-FFF2-40B4-BE49-F238E27FC236}">
                  <a16:creationId xmlns:a16="http://schemas.microsoft.com/office/drawing/2014/main" id="{C33D20E0-D1AD-A00C-ED46-FEC23AB25051}"/>
                </a:ext>
              </a:extLst>
            </p:cNvPr>
            <p:cNvSpPr txBox="1"/>
            <p:nvPr/>
          </p:nvSpPr>
          <p:spPr>
            <a:xfrm>
              <a:off x="6553139" y="4858411"/>
              <a:ext cx="4462635" cy="1200329"/>
            </a:xfrm>
            <a:prstGeom prst="rect">
              <a:avLst/>
            </a:prstGeom>
            <a:noFill/>
          </p:spPr>
          <p:txBody>
            <a:bodyPr wrap="square">
              <a:spAutoFit/>
            </a:bodyPr>
            <a:lstStyle/>
            <a:p>
              <a:pPr algn="l"/>
              <a:r>
                <a:rPr lang="en-US" sz="1200" b="0" i="0" u="none" strike="noStrike" baseline="0" dirty="0">
                  <a:latin typeface="Calibri" panose="020F0502020204030204" pitchFamily="34" charset="0"/>
                  <a:cs typeface="Calibri" panose="020F0502020204030204" pitchFamily="34" charset="0"/>
                </a:rPr>
                <a:t>One key difference between the differential drive robot and our design is that the wheels are replaced by external permanent magnets. As a simplifying assumption, these magnets need to rotate to generate sufficient torque to propel the robot in-vivo so r is based on the magnet’s mounting configuration and theta is its rotation angle</a:t>
              </a:r>
              <a:endParaRPr lang="en-US" sz="1200" dirty="0">
                <a:latin typeface="Calibri" panose="020F0502020204030204" pitchFamily="34" charset="0"/>
                <a:cs typeface="Calibri" panose="020F0502020204030204" pitchFamily="34" charset="0"/>
              </a:endParaRPr>
            </a:p>
          </p:txBody>
        </p:sp>
      </p:grpSp>
      <p:grpSp>
        <p:nvGrpSpPr>
          <p:cNvPr id="38" name="Group 37">
            <a:extLst>
              <a:ext uri="{FF2B5EF4-FFF2-40B4-BE49-F238E27FC236}">
                <a16:creationId xmlns:a16="http://schemas.microsoft.com/office/drawing/2014/main" id="{A39A8276-5E18-9114-CA02-09174CACA4ED}"/>
              </a:ext>
            </a:extLst>
          </p:cNvPr>
          <p:cNvGrpSpPr/>
          <p:nvPr/>
        </p:nvGrpSpPr>
        <p:grpSpPr>
          <a:xfrm>
            <a:off x="-973349" y="976189"/>
            <a:ext cx="8616391" cy="5310129"/>
            <a:chOff x="440414" y="2455789"/>
            <a:chExt cx="7180653" cy="4461326"/>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40414" y="2455789"/>
              <a:ext cx="5143343" cy="4461326"/>
              <a:chOff x="1439389" y="3846562"/>
              <a:chExt cx="1949221"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498459" y="4400735"/>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Y</a:t>
                </a:r>
                <a:endParaRPr lang="en-US" sz="1600" baseline="-25000" noProof="0" dirty="0">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439389" y="3846562"/>
                <a:ext cx="1437075" cy="1510012"/>
                <a:chOff x="1439389" y="3846562"/>
                <a:chExt cx="1437075" cy="1510012"/>
              </a:xfrm>
            </p:grpSpPr>
            <p:sp>
              <p:nvSpPr>
                <p:cNvPr id="21" name="TextBox 20">
                  <a:extLst>
                    <a:ext uri="{FF2B5EF4-FFF2-40B4-BE49-F238E27FC236}">
                      <a16:creationId xmlns:a16="http://schemas.microsoft.com/office/drawing/2014/main" id="{6891DBF6-04BF-A79B-6FCA-70A806936EA8}"/>
                    </a:ext>
                  </a:extLst>
                </p:cNvPr>
                <p:cNvSpPr txBox="1"/>
                <p:nvPr/>
              </p:nvSpPr>
              <p:spPr>
                <a:xfrm>
                  <a:off x="1439389" y="3846562"/>
                  <a:ext cx="890151" cy="575793"/>
                </a:xfrm>
                <a:prstGeom prst="rect">
                  <a:avLst/>
                </a:prstGeom>
                <a:noFill/>
              </p:spPr>
              <p:txBody>
                <a:bodyPr wrap="square" lIns="0" tIns="0" rIns="0" bIns="0" rtlCol="0">
                  <a:noAutofit/>
                </a:bodyPr>
                <a:lstStyle/>
                <a:p>
                  <a:pPr algn="ctr" defTabSz="228600">
                    <a:spcAft>
                      <a:spcPts val="1200"/>
                    </a:spcAft>
                  </a:pPr>
                  <a:r>
                    <a:rPr lang="en-US" sz="1600" dirty="0">
                      <a:latin typeface="Calibri" panose="020F0502020204030204" pitchFamily="34" charset="0"/>
                      <a:cs typeface="Calibri" panose="020F0502020204030204" pitchFamily="34" charset="0"/>
                    </a:rPr>
                    <a:t>Z</a:t>
                  </a:r>
                  <a:endParaRPr lang="en-US" sz="1600" baseline="-25000" noProof="0" dirty="0">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1970426" y="3890952"/>
                  <a:ext cx="906038" cy="1465622"/>
                  <a:chOff x="1841222" y="3625831"/>
                  <a:chExt cx="405422" cy="713790"/>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841456" y="3625831"/>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841222" y="3910706"/>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844101" y="4055342"/>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048944" y="5368955"/>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X</a:t>
                </a:r>
                <a:endParaRPr lang="en-US" sz="1600" baseline="-25000" noProof="0" dirty="0">
                  <a:latin typeface="Calibri" panose="020F0502020204030204" pitchFamily="34" charset="0"/>
                  <a:cs typeface="Calibri" panose="020F0502020204030204" pitchFamily="34" charset="0"/>
                </a:endParaRPr>
              </a:p>
            </p:txBody>
          </p:sp>
        </p:grpSp>
        <mc:AlternateContent xmlns:mc="http://schemas.openxmlformats.org/markup-compatibility/2006">
          <mc:Choice xmlns:am3d="http://schemas.microsoft.com/office/drawing/2017/model3d" Requires="am3d">
            <p:graphicFrame>
              <p:nvGraphicFramePr>
                <p:cNvPr id="9" name="3D Model 8" descr="Human skeleton">
                  <a:extLst>
                    <a:ext uri="{FF2B5EF4-FFF2-40B4-BE49-F238E27FC236}">
                      <a16:creationId xmlns:a16="http://schemas.microsoft.com/office/drawing/2014/main" id="{C7F35682-50F0-340A-4786-666F1FE645A1}"/>
                    </a:ext>
                  </a:extLst>
                </p:cNvPr>
                <p:cNvGraphicFramePr>
                  <a:graphicFrameLocks noChangeAspect="1"/>
                </p:cNvGraphicFramePr>
                <p:nvPr>
                  <p:extLst>
                    <p:ext uri="{D42A27DB-BD31-4B8C-83A1-F6EECF244321}">
                      <p14:modId xmlns:p14="http://schemas.microsoft.com/office/powerpoint/2010/main" val="2666572307"/>
                    </p:ext>
                  </p:extLst>
                </p:nvPr>
              </p:nvGraphicFramePr>
              <p:xfrm rot="18736159">
                <a:off x="3421747" y="1164753"/>
                <a:ext cx="1752520" cy="6646121"/>
              </p:xfrm>
              <a:graphic>
                <a:graphicData uri="http://schemas.microsoft.com/office/drawing/2017/model3d">
                  <am3d:model3d r:embed="rId9">
                    <am3d:spPr>
                      <a:xfrm rot="18736159">
                        <a:off x="0" y="0"/>
                        <a:ext cx="2085951" cy="7974982"/>
                      </a:xfrm>
                      <a:prstGeom prst="rect">
                        <a:avLst/>
                      </a:prstGeom>
                    </am3d:spPr>
                    <am3d:camera>
                      <am3d:pos x="0" y="0" z="49171620"/>
                      <am3d:up dx="0" dy="36000000" dz="0"/>
                      <am3d:lookAt x="0" y="0" z="0"/>
                      <am3d:perspective fov="2700000"/>
                    </am3d:camera>
                    <am3d:trans>
                      <am3d:meterPerModelUnit n="3824065" d="1000000"/>
                      <am3d:preTrans dx="21890" dy="-18000000" dz="-839815"/>
                      <am3d:scale>
                        <am3d:sx n="1000000" d="1000000"/>
                        <am3d:sy n="1000000" d="1000000"/>
                        <am3d:sz n="1000000" d="1000000"/>
                      </am3d:scale>
                      <am3d:rot ax="-1920090" ay="2567565" az="-1380144"/>
                      <am3d:postTrans dx="0" dy="0" dz="0"/>
                    </am3d:trans>
                    <am3d:raster rName="Office3DRenderer" rVer="16.0.8326">
                      <am3d:blip r:embed="rId10"/>
                    </am3d:raster>
                    <am3d:objViewport viewportSz="833606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8" descr="Human skeleton">
                  <a:extLst>
                    <a:ext uri="{FF2B5EF4-FFF2-40B4-BE49-F238E27FC236}">
                      <a16:creationId xmlns:a16="http://schemas.microsoft.com/office/drawing/2014/main" id="{C7F35682-50F0-340A-4786-666F1FE645A1}"/>
                    </a:ext>
                  </a:extLst>
                </p:cNvPr>
                <p:cNvPicPr>
                  <a:picLocks noGrp="1" noRot="1" noChangeAspect="1" noMove="1" noResize="1" noEditPoints="1" noAdjustHandles="1" noChangeArrowheads="1" noChangeShapeType="1" noCrop="1"/>
                </p:cNvPicPr>
                <p:nvPr/>
              </p:nvPicPr>
              <p:blipFill>
                <a:blip r:embed="rId10"/>
                <a:stretch>
                  <a:fillRect/>
                </a:stretch>
              </p:blipFill>
              <p:spPr>
                <a:xfrm rot="18736159">
                  <a:off x="2612576" y="-592668"/>
                  <a:ext cx="2085951" cy="7974982"/>
                </a:xfrm>
                <a:prstGeom prst="rect">
                  <a:avLst/>
                </a:prstGeom>
              </p:spPr>
            </p:pic>
          </mc:Fallback>
        </mc:AlternateContent>
      </p:grpSp>
      <p:sp>
        <p:nvSpPr>
          <p:cNvPr id="4" name="TextBox 3">
            <a:extLst>
              <a:ext uri="{FF2B5EF4-FFF2-40B4-BE49-F238E27FC236}">
                <a16:creationId xmlns:a16="http://schemas.microsoft.com/office/drawing/2014/main" id="{5D71D3F4-248D-B9D7-2877-40EBFC966C5F}"/>
              </a:ext>
            </a:extLst>
          </p:cNvPr>
          <p:cNvSpPr txBox="1"/>
          <p:nvPr/>
        </p:nvSpPr>
        <p:spPr>
          <a:xfrm>
            <a:off x="9613407" y="959959"/>
            <a:ext cx="1963134" cy="718874"/>
          </a:xfrm>
          <a:prstGeom prst="rect">
            <a:avLst/>
          </a:prstGeom>
          <a:noFill/>
        </p:spPr>
        <p:txBody>
          <a:bodyPr wrap="square" lIns="0" tIns="0" rIns="0" bIns="0" rtlCol="0">
            <a:noAutofit/>
          </a:bodyPr>
          <a:lstStyle/>
          <a:p>
            <a:pPr algn="ctr" defTabSz="228600">
              <a:spcAft>
                <a:spcPts val="1200"/>
              </a:spcAft>
            </a:pPr>
            <a:r>
              <a:rPr lang="en-US" sz="1400" dirty="0">
                <a:latin typeface="Calibri" panose="020F0502020204030204" pitchFamily="34" charset="0"/>
                <a:cs typeface="Calibri" panose="020F0502020204030204" pitchFamily="34" charset="0"/>
              </a:rPr>
              <a:t>~500-micron scale robot capable of moving within a live body</a:t>
            </a:r>
            <a:endParaRPr lang="en-US" sz="1400" noProof="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1DDF427-78DB-75F6-6987-46B02DA5ADD3}"/>
              </a:ext>
            </a:extLst>
          </p:cNvPr>
          <p:cNvSpPr txBox="1"/>
          <p:nvPr/>
        </p:nvSpPr>
        <p:spPr>
          <a:xfrm>
            <a:off x="9461500" y="1944063"/>
            <a:ext cx="1963134" cy="1051146"/>
          </a:xfrm>
          <a:prstGeom prst="rect">
            <a:avLst/>
          </a:prstGeom>
          <a:noFill/>
        </p:spPr>
        <p:txBody>
          <a:bodyPr wrap="square" lIns="0" tIns="0" rIns="0" bIns="0" rtlCol="0">
            <a:noAutofit/>
          </a:bodyPr>
          <a:lstStyle/>
          <a:p>
            <a:pPr algn="ctr" defTabSz="228600">
              <a:spcAft>
                <a:spcPts val="1200"/>
              </a:spcAft>
            </a:pPr>
            <a:r>
              <a:rPr lang="en-US" sz="1400" noProof="0" dirty="0">
                <a:latin typeface="Calibri" panose="020F0502020204030204" pitchFamily="34" charset="0"/>
                <a:cs typeface="Calibri" panose="020F0502020204030204" pitchFamily="34" charset="0"/>
              </a:rPr>
              <a:t>Directionally-aligned solenoids which receive commands from external electromagnetic-field generating apparatus</a:t>
            </a:r>
          </a:p>
        </p:txBody>
      </p:sp>
      <p:sp>
        <p:nvSpPr>
          <p:cNvPr id="25" name="TextBox 24">
            <a:extLst>
              <a:ext uri="{FF2B5EF4-FFF2-40B4-BE49-F238E27FC236}">
                <a16:creationId xmlns:a16="http://schemas.microsoft.com/office/drawing/2014/main" id="{6CCB6BAE-F982-C5E3-9AFE-B4A0847D4E2C}"/>
              </a:ext>
            </a:extLst>
          </p:cNvPr>
          <p:cNvSpPr txBox="1"/>
          <p:nvPr/>
        </p:nvSpPr>
        <p:spPr>
          <a:xfrm>
            <a:off x="3562312" y="1032298"/>
            <a:ext cx="1963134" cy="718874"/>
          </a:xfrm>
          <a:prstGeom prst="rect">
            <a:avLst/>
          </a:prstGeom>
          <a:noFill/>
        </p:spPr>
        <p:txBody>
          <a:bodyPr wrap="square" lIns="0" tIns="0" rIns="0" bIns="0" rtlCol="0">
            <a:noAutofit/>
          </a:bodyPr>
          <a:lstStyle/>
          <a:p>
            <a:pPr algn="ctr" defTabSz="228600">
              <a:spcAft>
                <a:spcPts val="1200"/>
              </a:spcAft>
            </a:pPr>
            <a:r>
              <a:rPr lang="en-US" sz="1400" dirty="0">
                <a:latin typeface="Calibri" panose="020F0502020204030204" pitchFamily="34" charset="0"/>
                <a:cs typeface="Calibri" panose="020F0502020204030204" pitchFamily="34" charset="0"/>
              </a:rPr>
              <a:t>X-ray device to provide live image stream</a:t>
            </a:r>
            <a:endParaRPr lang="en-US" sz="1400" noProof="0"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B2295EB4-2554-42AF-759A-1DDF0500EC6F}"/>
              </a:ext>
            </a:extLst>
          </p:cNvPr>
          <p:cNvSpPr txBox="1"/>
          <p:nvPr/>
        </p:nvSpPr>
        <p:spPr>
          <a:xfrm>
            <a:off x="7612275" y="5449100"/>
            <a:ext cx="2337884" cy="1051146"/>
          </a:xfrm>
          <a:prstGeom prst="rect">
            <a:avLst/>
          </a:prstGeom>
          <a:noFill/>
        </p:spPr>
        <p:txBody>
          <a:bodyPr wrap="square" lIns="0" tIns="0" rIns="0" bIns="0" rtlCol="0">
            <a:noAutofit/>
          </a:bodyPr>
          <a:lstStyle/>
          <a:p>
            <a:pPr algn="ctr" defTabSz="228600">
              <a:spcAft>
                <a:spcPts val="1200"/>
              </a:spcAft>
            </a:pPr>
            <a:r>
              <a:rPr lang="en-US" sz="1400" noProof="0" dirty="0">
                <a:latin typeface="Calibri" panose="020F0502020204030204" pitchFamily="34" charset="0"/>
                <a:cs typeface="Calibri" panose="020F0502020204030204" pitchFamily="34" charset="0"/>
              </a:rPr>
              <a:t>Illustrative external magnetic field generating device: 6-DOF robotic arm mounted with electromagnetic coils to steer and propel robot in-vivo</a:t>
            </a:r>
          </a:p>
        </p:txBody>
      </p:sp>
      <p:grpSp>
        <p:nvGrpSpPr>
          <p:cNvPr id="1035" name="Group 1034">
            <a:extLst>
              <a:ext uri="{FF2B5EF4-FFF2-40B4-BE49-F238E27FC236}">
                <a16:creationId xmlns:a16="http://schemas.microsoft.com/office/drawing/2014/main" id="{B39216BE-5B45-EFCB-39B1-4D9D651C9725}"/>
              </a:ext>
            </a:extLst>
          </p:cNvPr>
          <p:cNvGrpSpPr/>
          <p:nvPr/>
        </p:nvGrpSpPr>
        <p:grpSpPr>
          <a:xfrm>
            <a:off x="7912100" y="2936511"/>
            <a:ext cx="4144031" cy="3269339"/>
            <a:chOff x="7912100" y="3126782"/>
            <a:chExt cx="4144031" cy="3269339"/>
          </a:xfrm>
        </p:grpSpPr>
        <p:pic>
          <p:nvPicPr>
            <p:cNvPr id="2050" name="Picture 2" descr="Motion Planning in a Simulated 6DoF Robotic Arm - Conn Bots">
              <a:extLst>
                <a:ext uri="{FF2B5EF4-FFF2-40B4-BE49-F238E27FC236}">
                  <a16:creationId xmlns:a16="http://schemas.microsoft.com/office/drawing/2014/main" id="{70621580-04DF-476D-A663-FE8B123A5F7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12100" y="3126782"/>
              <a:ext cx="4144031" cy="3269339"/>
            </a:xfrm>
            <a:prstGeom prst="rect">
              <a:avLst/>
            </a:prstGeom>
            <a:noFill/>
            <a:extLst>
              <a:ext uri="{909E8E84-426E-40DD-AFC4-6F175D3DCCD1}">
                <a14:hiddenFill xmlns:a14="http://schemas.microsoft.com/office/drawing/2010/main">
                  <a:solidFill>
                    <a:srgbClr val="FFFFFF"/>
                  </a:solidFill>
                </a14:hiddenFill>
              </a:ext>
            </a:extLst>
          </p:spPr>
        </p:pic>
        <p:sp>
          <p:nvSpPr>
            <p:cNvPr id="35" name="Oval 34">
              <a:extLst>
                <a:ext uri="{FF2B5EF4-FFF2-40B4-BE49-F238E27FC236}">
                  <a16:creationId xmlns:a16="http://schemas.microsoft.com/office/drawing/2014/main" id="{3097C1A6-0111-F3EB-D9E8-D001B4097233}"/>
                </a:ext>
              </a:extLst>
            </p:cNvPr>
            <p:cNvSpPr/>
            <p:nvPr/>
          </p:nvSpPr>
          <p:spPr>
            <a:xfrm rot="19573126">
              <a:off x="8215133" y="4374482"/>
              <a:ext cx="747770" cy="998025"/>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solidFill>
                  <a:schemeClr val="tx1"/>
                </a:solidFill>
                <a:latin typeface="Calibri" panose="020F0502020204030204" pitchFamily="34" charset="0"/>
                <a:cs typeface="Calibri" panose="020F0502020204030204" pitchFamily="34" charset="0"/>
              </a:endParaRPr>
            </a:p>
          </p:txBody>
        </p:sp>
        <p:sp>
          <p:nvSpPr>
            <p:cNvPr id="29" name="Circle: Hollow 28">
              <a:extLst>
                <a:ext uri="{FF2B5EF4-FFF2-40B4-BE49-F238E27FC236}">
                  <a16:creationId xmlns:a16="http://schemas.microsoft.com/office/drawing/2014/main" id="{2E044220-6958-C78A-4527-F4FA1BAA4A62}"/>
                </a:ext>
              </a:extLst>
            </p:cNvPr>
            <p:cNvSpPr/>
            <p:nvPr/>
          </p:nvSpPr>
          <p:spPr>
            <a:xfrm rot="19573126">
              <a:off x="8215133" y="4374482"/>
              <a:ext cx="747770" cy="998025"/>
            </a:xfrm>
            <a:prstGeom prst="donut">
              <a:avLst/>
            </a:prstGeom>
            <a:solidFill>
              <a:schemeClr val="tx1">
                <a:lumMod val="50000"/>
                <a:lumOff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solidFill>
                  <a:schemeClr val="tx1"/>
                </a:solidFill>
                <a:latin typeface="Calibri" panose="020F0502020204030204" pitchFamily="34" charset="0"/>
                <a:cs typeface="Calibri" panose="020F0502020204030204" pitchFamily="34" charset="0"/>
              </a:endParaRPr>
            </a:p>
          </p:txBody>
        </p:sp>
      </p:grpSp>
      <p:grpSp>
        <p:nvGrpSpPr>
          <p:cNvPr id="1037" name="Group 1036">
            <a:extLst>
              <a:ext uri="{FF2B5EF4-FFF2-40B4-BE49-F238E27FC236}">
                <a16:creationId xmlns:a16="http://schemas.microsoft.com/office/drawing/2014/main" id="{692528A7-0A70-2ECB-36EE-26DF778F5AA6}"/>
              </a:ext>
            </a:extLst>
          </p:cNvPr>
          <p:cNvGrpSpPr/>
          <p:nvPr/>
        </p:nvGrpSpPr>
        <p:grpSpPr>
          <a:xfrm>
            <a:off x="2256130" y="868274"/>
            <a:ext cx="7200265" cy="2915859"/>
            <a:chOff x="2293074" y="868274"/>
            <a:chExt cx="7200265" cy="2915859"/>
          </a:xfrm>
        </p:grpSpPr>
        <p:grpSp>
          <p:nvGrpSpPr>
            <p:cNvPr id="23" name="Group 22">
              <a:extLst>
                <a:ext uri="{FF2B5EF4-FFF2-40B4-BE49-F238E27FC236}">
                  <a16:creationId xmlns:a16="http://schemas.microsoft.com/office/drawing/2014/main" id="{E7C5B681-C74A-9D27-CA31-353BD40CABFC}"/>
                </a:ext>
              </a:extLst>
            </p:cNvPr>
            <p:cNvGrpSpPr/>
            <p:nvPr/>
          </p:nvGrpSpPr>
          <p:grpSpPr>
            <a:xfrm>
              <a:off x="2293074" y="868274"/>
              <a:ext cx="6810233" cy="2915859"/>
              <a:chOff x="2717082" y="3137481"/>
              <a:chExt cx="2785604" cy="1192680"/>
            </a:xfrm>
          </p:grpSpPr>
          <p:cxnSp>
            <p:nvCxnSpPr>
              <p:cNvPr id="12" name="Straight Connector 11">
                <a:extLst>
                  <a:ext uri="{FF2B5EF4-FFF2-40B4-BE49-F238E27FC236}">
                    <a16:creationId xmlns:a16="http://schemas.microsoft.com/office/drawing/2014/main" id="{6922225E-4E68-FB54-B736-C6E1543E357C}"/>
                  </a:ext>
                </a:extLst>
              </p:cNvPr>
              <p:cNvCxnSpPr>
                <a:cxnSpLocks/>
                <a:stCxn id="18" idx="1"/>
                <a:endCxn id="40" idx="0"/>
              </p:cNvCxnSpPr>
              <p:nvPr/>
            </p:nvCxnSpPr>
            <p:spPr>
              <a:xfrm flipV="1">
                <a:off x="2756244" y="3152471"/>
                <a:ext cx="2142825" cy="511971"/>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255325-7712-A12F-8CAE-C77FE65B00D7}"/>
                  </a:ext>
                </a:extLst>
              </p:cNvPr>
              <p:cNvCxnSpPr>
                <a:cxnSpLocks/>
                <a:endCxn id="40" idx="4"/>
              </p:cNvCxnSpPr>
              <p:nvPr/>
            </p:nvCxnSpPr>
            <p:spPr>
              <a:xfrm>
                <a:off x="2791638" y="3885496"/>
                <a:ext cx="2062095" cy="426674"/>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Oval 17" descr="Close up view of platelets in the blood">
                <a:extLst>
                  <a:ext uri="{FF2B5EF4-FFF2-40B4-BE49-F238E27FC236}">
                    <a16:creationId xmlns:a16="http://schemas.microsoft.com/office/drawing/2014/main" id="{6CBED106-7B41-DBC7-5895-8C9FC747561D}"/>
                  </a:ext>
                </a:extLst>
              </p:cNvPr>
              <p:cNvSpPr/>
              <p:nvPr/>
            </p:nvSpPr>
            <p:spPr>
              <a:xfrm>
                <a:off x="2717082" y="3625850"/>
                <a:ext cx="267418" cy="263525"/>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w="6350">
                <a:solidFill>
                  <a:schemeClr val="tx2"/>
                </a:solidFill>
              </a:ln>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p:cNvGraphicFramePr>
                  <p:nvPr>
                    <p:extLst>
                      <p:ext uri="{D42A27DB-BD31-4B8C-83A1-F6EECF244321}">
                        <p14:modId xmlns:p14="http://schemas.microsoft.com/office/powerpoint/2010/main" val="397415210"/>
                      </p:ext>
                    </p:extLst>
                  </p:nvPr>
                </p:nvGraphicFramePr>
                <p:xfrm>
                  <a:off x="2777354" y="3689856"/>
                  <a:ext cx="147594" cy="137334"/>
                </p:xfrm>
                <a:graphic>
                  <a:graphicData uri="http://schemas.microsoft.com/office/drawing/2017/model3d">
                    <am3d:model3d r:embed="rId13">
                      <am3d:spPr>
                        <a:xfrm>
                          <a:off x="0" y="0"/>
                          <a:ext cx="360837" cy="33575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4"/>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4"/>
                  <a:stretch>
                    <a:fillRect/>
                  </a:stretch>
                </p:blipFill>
                <p:spPr>
                  <a:xfrm>
                    <a:off x="2403483" y="2218718"/>
                    <a:ext cx="360837" cy="335754"/>
                  </a:xfrm>
                  <a:prstGeom prst="rect">
                    <a:avLst/>
                  </a:prstGeom>
                  <a:noFill/>
                </p:spPr>
              </p:pic>
            </mc:Fallback>
          </mc:AlternateContent>
          <p:sp>
            <p:nvSpPr>
              <p:cNvPr id="27" name="Oval 26" descr="Close up view of platelets in the blood">
                <a:extLst>
                  <a:ext uri="{FF2B5EF4-FFF2-40B4-BE49-F238E27FC236}">
                    <a16:creationId xmlns:a16="http://schemas.microsoft.com/office/drawing/2014/main" id="{E3C2AA4D-D72A-8A03-C9D2-5866FB96567B}"/>
                  </a:ext>
                </a:extLst>
              </p:cNvPr>
              <p:cNvSpPr/>
              <p:nvPr/>
            </p:nvSpPr>
            <p:spPr>
              <a:xfrm>
                <a:off x="4293708" y="3137481"/>
                <a:ext cx="1208978" cy="1192680"/>
              </a:xfrm>
              <a:prstGeom prst="ellipse">
                <a:avLst/>
              </a:prstGeom>
              <a:blipFill dpi="0" rotWithShape="1">
                <a:blip r:embed="rId12">
                  <a:extLst>
                    <a:ext uri="{28A0092B-C50C-407E-A947-70E740481C1C}">
                      <a14:useLocalDpi xmlns:a14="http://schemas.microsoft.com/office/drawing/2010/main" val="0"/>
                    </a:ext>
                  </a:extLst>
                </a:blip>
                <a:srcRect/>
                <a:stretch>
                  <a:fillRect/>
                </a:stretch>
              </a:blipFill>
              <a:ln w="3175">
                <a:solidFill>
                  <a:schemeClr val="tx2"/>
                </a:solidFill>
              </a:ln>
              <a:effectLst>
                <a:softEdge rad="38100"/>
              </a:effectLst>
            </p:spPr>
            <p:style>
              <a:lnRef idx="2">
                <a:schemeClr val="dk1"/>
              </a:lnRef>
              <a:fillRef idx="1">
                <a:schemeClr val="lt1"/>
              </a:fillRef>
              <a:effectRef idx="0">
                <a:schemeClr val="dk1"/>
              </a:effectRef>
              <a:fontRef idx="minor">
                <a:schemeClr val="dk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mc:Choice xmlns:am3d="http://schemas.microsoft.com/office/drawing/2017/model3d" Requires="am3d">
              <p:graphicFrame>
                <p:nvGraphicFramePr>
                  <p:cNvPr id="28" name="3D Model 27" descr="Light Gray Cuboid">
                    <a:extLst>
                      <a:ext uri="{FF2B5EF4-FFF2-40B4-BE49-F238E27FC236}">
                        <a16:creationId xmlns:a16="http://schemas.microsoft.com/office/drawing/2014/main" id="{4E007EC2-CF77-7204-1C9C-390CD6736D5F}"/>
                      </a:ext>
                    </a:extLst>
                  </p:cNvPr>
                  <p:cNvGraphicFramePr>
                    <a:graphicFrameLocks/>
                  </p:cNvGraphicFramePr>
                  <p:nvPr>
                    <p:extLst>
                      <p:ext uri="{D42A27DB-BD31-4B8C-83A1-F6EECF244321}">
                        <p14:modId xmlns:p14="http://schemas.microsoft.com/office/powerpoint/2010/main" val="2864455324"/>
                      </p:ext>
                    </p:extLst>
                  </p:nvPr>
                </p:nvGraphicFramePr>
                <p:xfrm>
                  <a:off x="4461303" y="3339371"/>
                  <a:ext cx="820176" cy="719338"/>
                </p:xfrm>
                <a:graphic>
                  <a:graphicData uri="http://schemas.microsoft.com/office/drawing/2017/model3d">
                    <am3d:model3d r:embed="rId13">
                      <am3d:spPr>
                        <a:xfrm>
                          <a:off x="0" y="0"/>
                          <a:ext cx="2005163" cy="1758634"/>
                        </a:xfrm>
                        <a:prstGeom prst="rect">
                          <a:avLst/>
                        </a:prstGeom>
                        <a:noFill/>
                      </am3d:spPr>
                      <am3d:camera>
                        <am3d:pos x="6967" y="0" z="57664451"/>
                        <am3d:up dx="0" dy="36000000" dz="0"/>
                        <am3d:lookAt x="6967" y="0" z="0"/>
                        <am3d:perspective fov="251649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5"/>
                      </am3d:raster>
                      <am3d:winViewport/>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8" name="3D Model 27" descr="Light Gray Cuboid">
                    <a:extLst>
                      <a:ext uri="{FF2B5EF4-FFF2-40B4-BE49-F238E27FC236}">
                        <a16:creationId xmlns:a16="http://schemas.microsoft.com/office/drawing/2014/main" id="{4E007EC2-CF77-7204-1C9C-390CD6736D5F}"/>
                      </a:ext>
                    </a:extLst>
                  </p:cNvPr>
                  <p:cNvPicPr>
                    <a:picLocks noGrp="1" noRot="1" noChangeAspect="1" noMove="1" noResize="1" noEditPoints="1" noAdjustHandles="1" noChangeArrowheads="1" noChangeShapeType="1" noCrop="1"/>
                  </p:cNvPicPr>
                  <p:nvPr/>
                </p:nvPicPr>
                <p:blipFill>
                  <a:blip r:embed="rId15"/>
                  <a:stretch>
                    <a:fillRect/>
                  </a:stretch>
                </p:blipFill>
                <p:spPr>
                  <a:xfrm>
                    <a:off x="6520394" y="1361854"/>
                    <a:ext cx="2005163" cy="1758634"/>
                  </a:xfrm>
                  <a:prstGeom prst="rect">
                    <a:avLst/>
                  </a:prstGeom>
                  <a:noFill/>
                </p:spPr>
              </p:pic>
            </mc:Fallback>
          </mc:AlternateContent>
        </p:grpSp>
        <p:grpSp>
          <p:nvGrpSpPr>
            <p:cNvPr id="1078" name="Group 1077">
              <a:extLst>
                <a:ext uri="{FF2B5EF4-FFF2-40B4-BE49-F238E27FC236}">
                  <a16:creationId xmlns:a16="http://schemas.microsoft.com/office/drawing/2014/main" id="{B36617F8-6C20-9E7E-F625-E9924530CCDC}"/>
                </a:ext>
              </a:extLst>
            </p:cNvPr>
            <p:cNvGrpSpPr/>
            <p:nvPr/>
          </p:nvGrpSpPr>
          <p:grpSpPr>
            <a:xfrm>
              <a:off x="6186216" y="904921"/>
              <a:ext cx="2901215" cy="2835229"/>
              <a:chOff x="6306284" y="904921"/>
              <a:chExt cx="2894352" cy="2847882"/>
            </a:xfrm>
          </p:grpSpPr>
          <p:sp>
            <p:nvSpPr>
              <p:cNvPr id="40" name="Oval 39">
                <a:extLst>
                  <a:ext uri="{FF2B5EF4-FFF2-40B4-BE49-F238E27FC236}">
                    <a16:creationId xmlns:a16="http://schemas.microsoft.com/office/drawing/2014/main" id="{6256FC06-DDDE-B4C5-DC0B-75937EE8FA6C}"/>
                  </a:ext>
                </a:extLst>
              </p:cNvPr>
              <p:cNvSpPr/>
              <p:nvPr/>
            </p:nvSpPr>
            <p:spPr>
              <a:xfrm>
                <a:off x="6306284" y="904921"/>
                <a:ext cx="2894352" cy="28478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cxnSp>
            <p:nvCxnSpPr>
              <p:cNvPr id="1032" name="Straight Connector 1031">
                <a:extLst>
                  <a:ext uri="{FF2B5EF4-FFF2-40B4-BE49-F238E27FC236}">
                    <a16:creationId xmlns:a16="http://schemas.microsoft.com/office/drawing/2014/main" id="{096C83A9-80CD-C5A4-D4A3-E89ED5ED3E00}"/>
                  </a:ext>
                </a:extLst>
              </p:cNvPr>
              <p:cNvCxnSpPr/>
              <p:nvPr/>
            </p:nvCxnSpPr>
            <p:spPr>
              <a:xfrm>
                <a:off x="7029450" y="206223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068440-146E-71CA-813C-E4C204359CC0}"/>
                  </a:ext>
                </a:extLst>
              </p:cNvPr>
              <p:cNvCxnSpPr>
                <a:cxnSpLocks/>
              </p:cNvCxnSpPr>
              <p:nvPr/>
            </p:nvCxnSpPr>
            <p:spPr>
              <a:xfrm flipH="1">
                <a:off x="7716481" y="260032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BC2419EF-A350-821B-763B-7B2BDC9A8F4D}"/>
                  </a:ext>
                </a:extLst>
              </p:cNvPr>
              <p:cNvCxnSpPr>
                <a:cxnSpLocks/>
              </p:cNvCxnSpPr>
              <p:nvPr/>
            </p:nvCxnSpPr>
            <p:spPr>
              <a:xfrm>
                <a:off x="7035800" y="208597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89D8FA8-3E67-5B59-6936-7C09BEC2FE93}"/>
                  </a:ext>
                </a:extLst>
              </p:cNvPr>
              <p:cNvCxnSpPr>
                <a:cxnSpLocks/>
              </p:cNvCxnSpPr>
              <p:nvPr/>
            </p:nvCxnSpPr>
            <p:spPr>
              <a:xfrm>
                <a:off x="7083425" y="235902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45" name="Freeform: Shape 1044">
                <a:extLst>
                  <a:ext uri="{FF2B5EF4-FFF2-40B4-BE49-F238E27FC236}">
                    <a16:creationId xmlns:a16="http://schemas.microsoft.com/office/drawing/2014/main" id="{4B0E5762-2CB7-0CA8-1F85-E444185F0F19}"/>
                  </a:ext>
                </a:extLst>
              </p:cNvPr>
              <p:cNvSpPr/>
              <p:nvPr/>
            </p:nvSpPr>
            <p:spPr>
              <a:xfrm>
                <a:off x="7029450" y="208597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16">
                <p14:nvContentPartPr>
                  <p14:cNvPr id="1046" name="Ink 1045">
                    <a:extLst>
                      <a:ext uri="{FF2B5EF4-FFF2-40B4-BE49-F238E27FC236}">
                        <a16:creationId xmlns:a16="http://schemas.microsoft.com/office/drawing/2014/main" id="{0C212C19-427F-D02E-9A3C-279C87A5F970}"/>
                      </a:ext>
                    </a:extLst>
                  </p14:cNvPr>
                  <p14:cNvContentPartPr/>
                  <p14:nvPr/>
                </p14:nvContentPartPr>
                <p14:xfrm>
                  <a:off x="7549500" y="2558685"/>
                  <a:ext cx="12240" cy="6480"/>
                </p14:xfrm>
              </p:contentPart>
            </mc:Choice>
            <mc:Fallback xmlns="">
              <p:pic>
                <p:nvPicPr>
                  <p:cNvPr id="1046" name="Ink 1045">
                    <a:extLst>
                      <a:ext uri="{FF2B5EF4-FFF2-40B4-BE49-F238E27FC236}">
                        <a16:creationId xmlns:a16="http://schemas.microsoft.com/office/drawing/2014/main" id="{0C212C19-427F-D02E-9A3C-279C87A5F970}"/>
                      </a:ext>
                    </a:extLst>
                  </p:cNvPr>
                  <p:cNvPicPr/>
                  <p:nvPr/>
                </p:nvPicPr>
                <p:blipFill>
                  <a:blip r:embed="rId17"/>
                  <a:stretch>
                    <a:fillRect/>
                  </a:stretch>
                </p:blipFill>
                <p:spPr>
                  <a:xfrm>
                    <a:off x="7540860" y="2550045"/>
                    <a:ext cx="298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47" name="Ink 1046">
                    <a:extLst>
                      <a:ext uri="{FF2B5EF4-FFF2-40B4-BE49-F238E27FC236}">
                        <a16:creationId xmlns:a16="http://schemas.microsoft.com/office/drawing/2014/main" id="{4DCC08A9-2462-96FE-57CA-CBA1945D8F0A}"/>
                      </a:ext>
                    </a:extLst>
                  </p14:cNvPr>
                  <p14:cNvContentPartPr/>
                  <p14:nvPr/>
                </p14:nvContentPartPr>
                <p14:xfrm>
                  <a:off x="7274460" y="2294805"/>
                  <a:ext cx="339120" cy="290880"/>
                </p14:xfrm>
              </p:contentPart>
            </mc:Choice>
            <mc:Fallback xmlns="">
              <p:pic>
                <p:nvPicPr>
                  <p:cNvPr id="1047" name="Ink 1046">
                    <a:extLst>
                      <a:ext uri="{FF2B5EF4-FFF2-40B4-BE49-F238E27FC236}">
                        <a16:creationId xmlns:a16="http://schemas.microsoft.com/office/drawing/2014/main" id="{4DCC08A9-2462-96FE-57CA-CBA1945D8F0A}"/>
                      </a:ext>
                    </a:extLst>
                  </p:cNvPr>
                  <p:cNvPicPr/>
                  <p:nvPr/>
                </p:nvPicPr>
                <p:blipFill>
                  <a:blip r:embed="rId19"/>
                  <a:stretch>
                    <a:fillRect/>
                  </a:stretch>
                </p:blipFill>
                <p:spPr>
                  <a:xfrm>
                    <a:off x="7265460" y="2285805"/>
                    <a:ext cx="356760" cy="3085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048" name="Ink 1047">
                    <a:extLst>
                      <a:ext uri="{FF2B5EF4-FFF2-40B4-BE49-F238E27FC236}">
                        <a16:creationId xmlns:a16="http://schemas.microsoft.com/office/drawing/2014/main" id="{1819DF32-E07F-577E-6873-CF515EB8CD4F}"/>
                      </a:ext>
                    </a:extLst>
                  </p14:cNvPr>
                  <p14:cNvContentPartPr/>
                  <p14:nvPr/>
                </p14:nvContentPartPr>
                <p14:xfrm>
                  <a:off x="7314420" y="2336925"/>
                  <a:ext cx="210240" cy="167400"/>
                </p14:xfrm>
              </p:contentPart>
            </mc:Choice>
            <mc:Fallback xmlns="">
              <p:pic>
                <p:nvPicPr>
                  <p:cNvPr id="1048" name="Ink 1047">
                    <a:extLst>
                      <a:ext uri="{FF2B5EF4-FFF2-40B4-BE49-F238E27FC236}">
                        <a16:creationId xmlns:a16="http://schemas.microsoft.com/office/drawing/2014/main" id="{1819DF32-E07F-577E-6873-CF515EB8CD4F}"/>
                      </a:ext>
                    </a:extLst>
                  </p:cNvPr>
                  <p:cNvPicPr/>
                  <p:nvPr/>
                </p:nvPicPr>
                <p:blipFill>
                  <a:blip r:embed="rId21"/>
                  <a:stretch>
                    <a:fillRect/>
                  </a:stretch>
                </p:blipFill>
                <p:spPr>
                  <a:xfrm>
                    <a:off x="7305780" y="2328285"/>
                    <a:ext cx="22788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49" name="Ink 1048">
                    <a:extLst>
                      <a:ext uri="{FF2B5EF4-FFF2-40B4-BE49-F238E27FC236}">
                        <a16:creationId xmlns:a16="http://schemas.microsoft.com/office/drawing/2014/main" id="{E85871AA-8B03-E73B-9587-2249DDA3193E}"/>
                      </a:ext>
                    </a:extLst>
                  </p14:cNvPr>
                  <p14:cNvContentPartPr/>
                  <p14:nvPr/>
                </p14:nvContentPartPr>
                <p14:xfrm>
                  <a:off x="7261140" y="2272485"/>
                  <a:ext cx="380160" cy="309960"/>
                </p14:xfrm>
              </p:contentPart>
            </mc:Choice>
            <mc:Fallback xmlns="">
              <p:pic>
                <p:nvPicPr>
                  <p:cNvPr id="1049" name="Ink 1048">
                    <a:extLst>
                      <a:ext uri="{FF2B5EF4-FFF2-40B4-BE49-F238E27FC236}">
                        <a16:creationId xmlns:a16="http://schemas.microsoft.com/office/drawing/2014/main" id="{E85871AA-8B03-E73B-9587-2249DDA3193E}"/>
                      </a:ext>
                    </a:extLst>
                  </p:cNvPr>
                  <p:cNvPicPr/>
                  <p:nvPr/>
                </p:nvPicPr>
                <p:blipFill>
                  <a:blip r:embed="rId23"/>
                  <a:stretch>
                    <a:fillRect/>
                  </a:stretch>
                </p:blipFill>
                <p:spPr>
                  <a:xfrm>
                    <a:off x="7252140" y="2263845"/>
                    <a:ext cx="397800" cy="3276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050" name="Ink 1049">
                    <a:extLst>
                      <a:ext uri="{FF2B5EF4-FFF2-40B4-BE49-F238E27FC236}">
                        <a16:creationId xmlns:a16="http://schemas.microsoft.com/office/drawing/2014/main" id="{81D1F27D-E964-E606-2159-D0C4338026DA}"/>
                      </a:ext>
                    </a:extLst>
                  </p14:cNvPr>
                  <p14:cNvContentPartPr/>
                  <p14:nvPr/>
                </p14:nvContentPartPr>
                <p14:xfrm>
                  <a:off x="7549860" y="2722845"/>
                  <a:ext cx="129600" cy="101520"/>
                </p14:xfrm>
              </p:contentPart>
            </mc:Choice>
            <mc:Fallback xmlns="">
              <p:pic>
                <p:nvPicPr>
                  <p:cNvPr id="1050" name="Ink 1049">
                    <a:extLst>
                      <a:ext uri="{FF2B5EF4-FFF2-40B4-BE49-F238E27FC236}">
                        <a16:creationId xmlns:a16="http://schemas.microsoft.com/office/drawing/2014/main" id="{81D1F27D-E964-E606-2159-D0C4338026DA}"/>
                      </a:ext>
                    </a:extLst>
                  </p:cNvPr>
                  <p:cNvPicPr/>
                  <p:nvPr/>
                </p:nvPicPr>
                <p:blipFill>
                  <a:blip r:embed="rId25"/>
                  <a:stretch>
                    <a:fillRect/>
                  </a:stretch>
                </p:blipFill>
                <p:spPr>
                  <a:xfrm>
                    <a:off x="7541220" y="2713845"/>
                    <a:ext cx="14724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051" name="Ink 1050">
                    <a:extLst>
                      <a:ext uri="{FF2B5EF4-FFF2-40B4-BE49-F238E27FC236}">
                        <a16:creationId xmlns:a16="http://schemas.microsoft.com/office/drawing/2014/main" id="{5A73C492-A5C4-BB3F-6DD3-263DAB6F4796}"/>
                      </a:ext>
                    </a:extLst>
                  </p14:cNvPr>
                  <p14:cNvContentPartPr/>
                  <p14:nvPr/>
                </p14:nvContentPartPr>
                <p14:xfrm>
                  <a:off x="7629060" y="2776485"/>
                  <a:ext cx="67680" cy="96120"/>
                </p14:xfrm>
              </p:contentPart>
            </mc:Choice>
            <mc:Fallback xmlns="">
              <p:pic>
                <p:nvPicPr>
                  <p:cNvPr id="1051" name="Ink 1050">
                    <a:extLst>
                      <a:ext uri="{FF2B5EF4-FFF2-40B4-BE49-F238E27FC236}">
                        <a16:creationId xmlns:a16="http://schemas.microsoft.com/office/drawing/2014/main" id="{5A73C492-A5C4-BB3F-6DD3-263DAB6F4796}"/>
                      </a:ext>
                    </a:extLst>
                  </p:cNvPr>
                  <p:cNvPicPr/>
                  <p:nvPr/>
                </p:nvPicPr>
                <p:blipFill>
                  <a:blip r:embed="rId27"/>
                  <a:stretch>
                    <a:fillRect/>
                  </a:stretch>
                </p:blipFill>
                <p:spPr>
                  <a:xfrm>
                    <a:off x="7620420" y="2767845"/>
                    <a:ext cx="85320" cy="1137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056" name="Ink 1055">
                    <a:extLst>
                      <a:ext uri="{FF2B5EF4-FFF2-40B4-BE49-F238E27FC236}">
                        <a16:creationId xmlns:a16="http://schemas.microsoft.com/office/drawing/2014/main" id="{E7CD9D09-02B2-7ACE-BB1B-EC39A81D8EC2}"/>
                      </a:ext>
                    </a:extLst>
                  </p14:cNvPr>
                  <p14:cNvContentPartPr/>
                  <p14:nvPr/>
                </p14:nvContentPartPr>
                <p14:xfrm>
                  <a:off x="7070700" y="2181765"/>
                  <a:ext cx="37800" cy="115200"/>
                </p14:xfrm>
              </p:contentPart>
            </mc:Choice>
            <mc:Fallback xmlns="">
              <p:pic>
                <p:nvPicPr>
                  <p:cNvPr id="1056" name="Ink 1055">
                    <a:extLst>
                      <a:ext uri="{FF2B5EF4-FFF2-40B4-BE49-F238E27FC236}">
                        <a16:creationId xmlns:a16="http://schemas.microsoft.com/office/drawing/2014/main" id="{E7CD9D09-02B2-7ACE-BB1B-EC39A81D8EC2}"/>
                      </a:ext>
                    </a:extLst>
                  </p:cNvPr>
                  <p:cNvPicPr/>
                  <p:nvPr/>
                </p:nvPicPr>
                <p:blipFill>
                  <a:blip r:embed="rId29"/>
                  <a:stretch>
                    <a:fillRect/>
                  </a:stretch>
                </p:blipFill>
                <p:spPr>
                  <a:xfrm>
                    <a:off x="7061700" y="2172765"/>
                    <a:ext cx="55440" cy="132840"/>
                  </a:xfrm>
                  <a:prstGeom prst="rect">
                    <a:avLst/>
                  </a:prstGeom>
                </p:spPr>
              </p:pic>
            </mc:Fallback>
          </mc:AlternateContent>
          <p:cxnSp>
            <p:nvCxnSpPr>
              <p:cNvPr id="1058" name="Straight Connector 1057">
                <a:extLst>
                  <a:ext uri="{FF2B5EF4-FFF2-40B4-BE49-F238E27FC236}">
                    <a16:creationId xmlns:a16="http://schemas.microsoft.com/office/drawing/2014/main" id="{CC38E1ED-1296-9E87-AC16-DB20A1AFD541}"/>
                  </a:ext>
                </a:extLst>
              </p:cNvPr>
              <p:cNvCxnSpPr>
                <a:cxnSpLocks/>
              </p:cNvCxnSpPr>
              <p:nvPr/>
            </p:nvCxnSpPr>
            <p:spPr>
              <a:xfrm flipH="1">
                <a:off x="8040055" y="260902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09AE52DA-3255-C28D-5F7B-2FE7F06EE8D0}"/>
                  </a:ext>
                </a:extLst>
              </p:cNvPr>
              <p:cNvCxnSpPr>
                <a:cxnSpLocks/>
              </p:cNvCxnSpPr>
              <p:nvPr/>
            </p:nvCxnSpPr>
            <p:spPr>
              <a:xfrm flipH="1">
                <a:off x="8404225" y="228200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EC39BD8-2D7B-3A48-38FD-805196B37B92}"/>
                  </a:ext>
                </a:extLst>
              </p:cNvPr>
              <p:cNvCxnSpPr>
                <a:cxnSpLocks/>
              </p:cNvCxnSpPr>
              <p:nvPr/>
            </p:nvCxnSpPr>
            <p:spPr>
              <a:xfrm flipV="1">
                <a:off x="8058150" y="229235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8" name="Straight Connector 1067">
                <a:extLst>
                  <a:ext uri="{FF2B5EF4-FFF2-40B4-BE49-F238E27FC236}">
                    <a16:creationId xmlns:a16="http://schemas.microsoft.com/office/drawing/2014/main" id="{7A43C397-A153-6271-B061-DE1E96F241C8}"/>
                  </a:ext>
                </a:extLst>
              </p:cNvPr>
              <p:cNvCxnSpPr>
                <a:cxnSpLocks/>
              </p:cNvCxnSpPr>
              <p:nvPr/>
            </p:nvCxnSpPr>
            <p:spPr>
              <a:xfrm flipV="1">
                <a:off x="8034970" y="261937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0">
                <p14:nvContentPartPr>
                  <p14:cNvPr id="1072" name="Ink 1071">
                    <a:extLst>
                      <a:ext uri="{FF2B5EF4-FFF2-40B4-BE49-F238E27FC236}">
                        <a16:creationId xmlns:a16="http://schemas.microsoft.com/office/drawing/2014/main" id="{0E8BBF73-E824-CDFE-1E48-9FF4AF3C4F7C}"/>
                      </a:ext>
                    </a:extLst>
                  </p14:cNvPr>
                  <p14:cNvContentPartPr/>
                  <p14:nvPr/>
                </p14:nvContentPartPr>
                <p14:xfrm>
                  <a:off x="8093820" y="2668125"/>
                  <a:ext cx="5040" cy="16200"/>
                </p14:xfrm>
              </p:contentPart>
            </mc:Choice>
            <mc:Fallback xmlns="">
              <p:pic>
                <p:nvPicPr>
                  <p:cNvPr id="1072" name="Ink 1071">
                    <a:extLst>
                      <a:ext uri="{FF2B5EF4-FFF2-40B4-BE49-F238E27FC236}">
                        <a16:creationId xmlns:a16="http://schemas.microsoft.com/office/drawing/2014/main" id="{0E8BBF73-E824-CDFE-1E48-9FF4AF3C4F7C}"/>
                      </a:ext>
                    </a:extLst>
                  </p:cNvPr>
                  <p:cNvPicPr/>
                  <p:nvPr/>
                </p:nvPicPr>
                <p:blipFill>
                  <a:blip r:embed="rId31"/>
                  <a:stretch>
                    <a:fillRect/>
                  </a:stretch>
                </p:blipFill>
                <p:spPr>
                  <a:xfrm>
                    <a:off x="8085180" y="2659485"/>
                    <a:ext cx="2268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1073" name="Ink 1072">
                    <a:extLst>
                      <a:ext uri="{FF2B5EF4-FFF2-40B4-BE49-F238E27FC236}">
                        <a16:creationId xmlns:a16="http://schemas.microsoft.com/office/drawing/2014/main" id="{2E44A2EA-0E7E-F0E9-DFE8-2F5571378FF9}"/>
                      </a:ext>
                    </a:extLst>
                  </p14:cNvPr>
                  <p14:cNvContentPartPr/>
                  <p14:nvPr/>
                </p14:nvContentPartPr>
                <p14:xfrm>
                  <a:off x="8074380" y="2324325"/>
                  <a:ext cx="393480" cy="368280"/>
                </p14:xfrm>
              </p:contentPart>
            </mc:Choice>
            <mc:Fallback xmlns="">
              <p:pic>
                <p:nvPicPr>
                  <p:cNvPr id="1073" name="Ink 1072">
                    <a:extLst>
                      <a:ext uri="{FF2B5EF4-FFF2-40B4-BE49-F238E27FC236}">
                        <a16:creationId xmlns:a16="http://schemas.microsoft.com/office/drawing/2014/main" id="{2E44A2EA-0E7E-F0E9-DFE8-2F5571378FF9}"/>
                      </a:ext>
                    </a:extLst>
                  </p:cNvPr>
                  <p:cNvPicPr/>
                  <p:nvPr/>
                </p:nvPicPr>
                <p:blipFill>
                  <a:blip r:embed="rId33"/>
                  <a:stretch>
                    <a:fillRect/>
                  </a:stretch>
                </p:blipFill>
                <p:spPr>
                  <a:xfrm>
                    <a:off x="8065380" y="2315325"/>
                    <a:ext cx="411120" cy="3859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074" name="Ink 1073">
                    <a:extLst>
                      <a:ext uri="{FF2B5EF4-FFF2-40B4-BE49-F238E27FC236}">
                        <a16:creationId xmlns:a16="http://schemas.microsoft.com/office/drawing/2014/main" id="{5BA6C64E-1FFA-1312-2E2B-69FBCE18F35C}"/>
                      </a:ext>
                    </a:extLst>
                  </p14:cNvPr>
                  <p14:cNvContentPartPr/>
                  <p14:nvPr/>
                </p14:nvContentPartPr>
                <p14:xfrm>
                  <a:off x="8072580" y="2457525"/>
                  <a:ext cx="326160" cy="373680"/>
                </p14:xfrm>
              </p:contentPart>
            </mc:Choice>
            <mc:Fallback xmlns="">
              <p:pic>
                <p:nvPicPr>
                  <p:cNvPr id="1074" name="Ink 1073">
                    <a:extLst>
                      <a:ext uri="{FF2B5EF4-FFF2-40B4-BE49-F238E27FC236}">
                        <a16:creationId xmlns:a16="http://schemas.microsoft.com/office/drawing/2014/main" id="{5BA6C64E-1FFA-1312-2E2B-69FBCE18F35C}"/>
                      </a:ext>
                    </a:extLst>
                  </p:cNvPr>
                  <p:cNvPicPr/>
                  <p:nvPr/>
                </p:nvPicPr>
                <p:blipFill>
                  <a:blip r:embed="rId35"/>
                  <a:stretch>
                    <a:fillRect/>
                  </a:stretch>
                </p:blipFill>
                <p:spPr>
                  <a:xfrm>
                    <a:off x="8063580" y="2448885"/>
                    <a:ext cx="343800" cy="39132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1075" name="Ink 1074">
                    <a:extLst>
                      <a:ext uri="{FF2B5EF4-FFF2-40B4-BE49-F238E27FC236}">
                        <a16:creationId xmlns:a16="http://schemas.microsoft.com/office/drawing/2014/main" id="{20320E39-41A8-C205-52BB-6835AB536D59}"/>
                      </a:ext>
                    </a:extLst>
                  </p14:cNvPr>
                  <p14:cNvContentPartPr/>
                  <p14:nvPr/>
                </p14:nvContentPartPr>
                <p14:xfrm>
                  <a:off x="8063580" y="2363925"/>
                  <a:ext cx="385920" cy="488880"/>
                </p14:xfrm>
              </p:contentPart>
            </mc:Choice>
            <mc:Fallback xmlns="">
              <p:pic>
                <p:nvPicPr>
                  <p:cNvPr id="1075" name="Ink 1074">
                    <a:extLst>
                      <a:ext uri="{FF2B5EF4-FFF2-40B4-BE49-F238E27FC236}">
                        <a16:creationId xmlns:a16="http://schemas.microsoft.com/office/drawing/2014/main" id="{20320E39-41A8-C205-52BB-6835AB536D59}"/>
                      </a:ext>
                    </a:extLst>
                  </p:cNvPr>
                  <p:cNvPicPr/>
                  <p:nvPr/>
                </p:nvPicPr>
                <p:blipFill>
                  <a:blip r:embed="rId37"/>
                  <a:stretch>
                    <a:fillRect/>
                  </a:stretch>
                </p:blipFill>
                <p:spPr>
                  <a:xfrm>
                    <a:off x="8054580" y="2355285"/>
                    <a:ext cx="403560" cy="506520"/>
                  </a:xfrm>
                  <a:prstGeom prst="rect">
                    <a:avLst/>
                  </a:prstGeom>
                </p:spPr>
              </p:pic>
            </mc:Fallback>
          </mc:AlternateContent>
        </p:grpSp>
        <p:cxnSp>
          <p:nvCxnSpPr>
            <p:cNvPr id="44" name="Straight Arrow Connector 43">
              <a:extLst>
                <a:ext uri="{FF2B5EF4-FFF2-40B4-BE49-F238E27FC236}">
                  <a16:creationId xmlns:a16="http://schemas.microsoft.com/office/drawing/2014/main" id="{03E12033-9D6E-83C5-3E8C-171AA2FA0D2D}"/>
                </a:ext>
              </a:extLst>
            </p:cNvPr>
            <p:cNvCxnSpPr>
              <a:cxnSpLocks/>
            </p:cNvCxnSpPr>
            <p:nvPr/>
          </p:nvCxnSpPr>
          <p:spPr>
            <a:xfrm flipH="1">
              <a:off x="8153875" y="1319396"/>
              <a:ext cx="1339464" cy="543415"/>
            </a:xfrm>
            <a:prstGeom prst="straightConnector1">
              <a:avLst/>
            </a:prstGeom>
            <a:ln w="28575">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E7BF8B8-9F19-9192-BC72-0B051198976A}"/>
                </a:ext>
              </a:extLst>
            </p:cNvPr>
            <p:cNvCxnSpPr>
              <a:cxnSpLocks/>
            </p:cNvCxnSpPr>
            <p:nvPr/>
          </p:nvCxnSpPr>
          <p:spPr>
            <a:xfrm flipH="1">
              <a:off x="8433958" y="2260600"/>
              <a:ext cx="907474" cy="193113"/>
            </a:xfrm>
            <a:prstGeom prst="straightConnector1">
              <a:avLst/>
            </a:prstGeom>
            <a:ln w="28575">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52" name="Group 1051">
            <a:extLst>
              <a:ext uri="{FF2B5EF4-FFF2-40B4-BE49-F238E27FC236}">
                <a16:creationId xmlns:a16="http://schemas.microsoft.com/office/drawing/2014/main" id="{D51C01BA-9D51-B61C-C4BE-B8FB682E89C3}"/>
              </a:ext>
            </a:extLst>
          </p:cNvPr>
          <p:cNvGrpSpPr/>
          <p:nvPr/>
        </p:nvGrpSpPr>
        <p:grpSpPr>
          <a:xfrm>
            <a:off x="2463913" y="2365167"/>
            <a:ext cx="261000" cy="137160"/>
            <a:chOff x="2463913" y="2365167"/>
            <a:chExt cx="261000" cy="137160"/>
          </a:xfrm>
        </p:grpSpPr>
        <mc:AlternateContent xmlns:mc="http://schemas.openxmlformats.org/markup-compatibility/2006">
          <mc:Choice xmlns:p14="http://schemas.microsoft.com/office/powerpoint/2010/main" Requires="p14">
            <p:contentPart p14:bwMode="auto" r:id="rId38">
              <p14:nvContentPartPr>
                <p14:cNvPr id="53" name="Ink 52">
                  <a:extLst>
                    <a:ext uri="{FF2B5EF4-FFF2-40B4-BE49-F238E27FC236}">
                      <a16:creationId xmlns:a16="http://schemas.microsoft.com/office/drawing/2014/main" id="{D625C03A-4C38-2D5B-7276-DAF09A2C9CEB}"/>
                    </a:ext>
                  </a:extLst>
                </p14:cNvPr>
                <p14:cNvContentPartPr/>
                <p14:nvPr/>
              </p14:nvContentPartPr>
              <p14:xfrm>
                <a:off x="2473993" y="2391807"/>
                <a:ext cx="58320" cy="38160"/>
              </p14:xfrm>
            </p:contentPart>
          </mc:Choice>
          <mc:Fallback>
            <p:pic>
              <p:nvPicPr>
                <p:cNvPr id="53" name="Ink 52">
                  <a:extLst>
                    <a:ext uri="{FF2B5EF4-FFF2-40B4-BE49-F238E27FC236}">
                      <a16:creationId xmlns:a16="http://schemas.microsoft.com/office/drawing/2014/main" id="{D625C03A-4C38-2D5B-7276-DAF09A2C9CEB}"/>
                    </a:ext>
                  </a:extLst>
                </p:cNvPr>
                <p:cNvPicPr/>
                <p:nvPr/>
              </p:nvPicPr>
              <p:blipFill>
                <a:blip r:embed="rId39"/>
                <a:stretch>
                  <a:fillRect/>
                </a:stretch>
              </p:blipFill>
              <p:spPr>
                <a:xfrm>
                  <a:off x="2465353" y="2383167"/>
                  <a:ext cx="7596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54" name="Ink 53">
                  <a:extLst>
                    <a:ext uri="{FF2B5EF4-FFF2-40B4-BE49-F238E27FC236}">
                      <a16:creationId xmlns:a16="http://schemas.microsoft.com/office/drawing/2014/main" id="{DA84E4F6-7CD5-9FCA-BC4C-6A57AC0BFCF7}"/>
                    </a:ext>
                  </a:extLst>
                </p14:cNvPr>
                <p14:cNvContentPartPr/>
                <p14:nvPr/>
              </p14:nvContentPartPr>
              <p14:xfrm>
                <a:off x="2491273" y="2394687"/>
                <a:ext cx="83160" cy="76680"/>
              </p14:xfrm>
            </p:contentPart>
          </mc:Choice>
          <mc:Fallback>
            <p:pic>
              <p:nvPicPr>
                <p:cNvPr id="54" name="Ink 53">
                  <a:extLst>
                    <a:ext uri="{FF2B5EF4-FFF2-40B4-BE49-F238E27FC236}">
                      <a16:creationId xmlns:a16="http://schemas.microsoft.com/office/drawing/2014/main" id="{DA84E4F6-7CD5-9FCA-BC4C-6A57AC0BFCF7}"/>
                    </a:ext>
                  </a:extLst>
                </p:cNvPr>
                <p:cNvPicPr/>
                <p:nvPr/>
              </p:nvPicPr>
              <p:blipFill>
                <a:blip r:embed="rId41"/>
                <a:stretch>
                  <a:fillRect/>
                </a:stretch>
              </p:blipFill>
              <p:spPr>
                <a:xfrm>
                  <a:off x="2482273" y="2385687"/>
                  <a:ext cx="100800" cy="9432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55" name="Ink 54">
                  <a:extLst>
                    <a:ext uri="{FF2B5EF4-FFF2-40B4-BE49-F238E27FC236}">
                      <a16:creationId xmlns:a16="http://schemas.microsoft.com/office/drawing/2014/main" id="{DCEE7421-6DDB-0712-84DE-243AE503A47D}"/>
                    </a:ext>
                  </a:extLst>
                </p14:cNvPr>
                <p14:cNvContentPartPr/>
                <p14:nvPr/>
              </p14:nvContentPartPr>
              <p14:xfrm>
                <a:off x="2488753" y="2394687"/>
                <a:ext cx="97920" cy="83520"/>
              </p14:xfrm>
            </p:contentPart>
          </mc:Choice>
          <mc:Fallback>
            <p:pic>
              <p:nvPicPr>
                <p:cNvPr id="55" name="Ink 54">
                  <a:extLst>
                    <a:ext uri="{FF2B5EF4-FFF2-40B4-BE49-F238E27FC236}">
                      <a16:creationId xmlns:a16="http://schemas.microsoft.com/office/drawing/2014/main" id="{DCEE7421-6DDB-0712-84DE-243AE503A47D}"/>
                    </a:ext>
                  </a:extLst>
                </p:cNvPr>
                <p:cNvPicPr/>
                <p:nvPr/>
              </p:nvPicPr>
              <p:blipFill>
                <a:blip r:embed="rId43"/>
                <a:stretch>
                  <a:fillRect/>
                </a:stretch>
              </p:blipFill>
              <p:spPr>
                <a:xfrm>
                  <a:off x="2479753" y="2385687"/>
                  <a:ext cx="115560" cy="10116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56" name="Ink 55">
                  <a:extLst>
                    <a:ext uri="{FF2B5EF4-FFF2-40B4-BE49-F238E27FC236}">
                      <a16:creationId xmlns:a16="http://schemas.microsoft.com/office/drawing/2014/main" id="{4326B822-6B70-694B-D64F-DEBBDCD21521}"/>
                    </a:ext>
                  </a:extLst>
                </p14:cNvPr>
                <p14:cNvContentPartPr/>
                <p14:nvPr/>
              </p14:nvContentPartPr>
              <p14:xfrm>
                <a:off x="2481193" y="2382447"/>
                <a:ext cx="91080" cy="84960"/>
              </p14:xfrm>
            </p:contentPart>
          </mc:Choice>
          <mc:Fallback>
            <p:pic>
              <p:nvPicPr>
                <p:cNvPr id="56" name="Ink 55">
                  <a:extLst>
                    <a:ext uri="{FF2B5EF4-FFF2-40B4-BE49-F238E27FC236}">
                      <a16:creationId xmlns:a16="http://schemas.microsoft.com/office/drawing/2014/main" id="{4326B822-6B70-694B-D64F-DEBBDCD21521}"/>
                    </a:ext>
                  </a:extLst>
                </p:cNvPr>
                <p:cNvPicPr/>
                <p:nvPr/>
              </p:nvPicPr>
              <p:blipFill>
                <a:blip r:embed="rId45"/>
                <a:stretch>
                  <a:fillRect/>
                </a:stretch>
              </p:blipFill>
              <p:spPr>
                <a:xfrm>
                  <a:off x="2472553" y="2373807"/>
                  <a:ext cx="10872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57" name="Ink 56">
                  <a:extLst>
                    <a:ext uri="{FF2B5EF4-FFF2-40B4-BE49-F238E27FC236}">
                      <a16:creationId xmlns:a16="http://schemas.microsoft.com/office/drawing/2014/main" id="{F3C1704B-674C-A21D-F364-4FE97F586F43}"/>
                    </a:ext>
                  </a:extLst>
                </p14:cNvPr>
                <p14:cNvContentPartPr/>
                <p14:nvPr/>
              </p14:nvContentPartPr>
              <p14:xfrm>
                <a:off x="2481553" y="2387847"/>
                <a:ext cx="64440" cy="52920"/>
              </p14:xfrm>
            </p:contentPart>
          </mc:Choice>
          <mc:Fallback>
            <p:pic>
              <p:nvPicPr>
                <p:cNvPr id="57" name="Ink 56">
                  <a:extLst>
                    <a:ext uri="{FF2B5EF4-FFF2-40B4-BE49-F238E27FC236}">
                      <a16:creationId xmlns:a16="http://schemas.microsoft.com/office/drawing/2014/main" id="{F3C1704B-674C-A21D-F364-4FE97F586F43}"/>
                    </a:ext>
                  </a:extLst>
                </p:cNvPr>
                <p:cNvPicPr/>
                <p:nvPr/>
              </p:nvPicPr>
              <p:blipFill>
                <a:blip r:embed="rId47"/>
                <a:stretch>
                  <a:fillRect/>
                </a:stretch>
              </p:blipFill>
              <p:spPr>
                <a:xfrm>
                  <a:off x="2472913" y="2379207"/>
                  <a:ext cx="82080" cy="7056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58" name="Ink 57">
                  <a:extLst>
                    <a:ext uri="{FF2B5EF4-FFF2-40B4-BE49-F238E27FC236}">
                      <a16:creationId xmlns:a16="http://schemas.microsoft.com/office/drawing/2014/main" id="{30B1E498-648D-5674-EA85-6E678A152FA2}"/>
                    </a:ext>
                  </a:extLst>
                </p14:cNvPr>
                <p14:cNvContentPartPr/>
                <p14:nvPr/>
              </p14:nvContentPartPr>
              <p14:xfrm>
                <a:off x="2472553" y="2383527"/>
                <a:ext cx="108000" cy="88920"/>
              </p14:xfrm>
            </p:contentPart>
          </mc:Choice>
          <mc:Fallback>
            <p:pic>
              <p:nvPicPr>
                <p:cNvPr id="58" name="Ink 57">
                  <a:extLst>
                    <a:ext uri="{FF2B5EF4-FFF2-40B4-BE49-F238E27FC236}">
                      <a16:creationId xmlns:a16="http://schemas.microsoft.com/office/drawing/2014/main" id="{30B1E498-648D-5674-EA85-6E678A152FA2}"/>
                    </a:ext>
                  </a:extLst>
                </p:cNvPr>
                <p:cNvPicPr/>
                <p:nvPr/>
              </p:nvPicPr>
              <p:blipFill>
                <a:blip r:embed="rId49"/>
                <a:stretch>
                  <a:fillRect/>
                </a:stretch>
              </p:blipFill>
              <p:spPr>
                <a:xfrm>
                  <a:off x="2463913" y="2374527"/>
                  <a:ext cx="125640" cy="106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59" name="Ink 58">
                  <a:extLst>
                    <a:ext uri="{FF2B5EF4-FFF2-40B4-BE49-F238E27FC236}">
                      <a16:creationId xmlns:a16="http://schemas.microsoft.com/office/drawing/2014/main" id="{43974354-3A80-3D64-BF71-DF848C2F6F02}"/>
                    </a:ext>
                  </a:extLst>
                </p14:cNvPr>
                <p14:cNvContentPartPr/>
                <p14:nvPr/>
              </p14:nvContentPartPr>
              <p14:xfrm>
                <a:off x="2471833" y="2390727"/>
                <a:ext cx="102240" cy="101160"/>
              </p14:xfrm>
            </p:contentPart>
          </mc:Choice>
          <mc:Fallback>
            <p:pic>
              <p:nvPicPr>
                <p:cNvPr id="59" name="Ink 58">
                  <a:extLst>
                    <a:ext uri="{FF2B5EF4-FFF2-40B4-BE49-F238E27FC236}">
                      <a16:creationId xmlns:a16="http://schemas.microsoft.com/office/drawing/2014/main" id="{43974354-3A80-3D64-BF71-DF848C2F6F02}"/>
                    </a:ext>
                  </a:extLst>
                </p:cNvPr>
                <p:cNvPicPr/>
                <p:nvPr/>
              </p:nvPicPr>
              <p:blipFill>
                <a:blip r:embed="rId51"/>
                <a:stretch>
                  <a:fillRect/>
                </a:stretch>
              </p:blipFill>
              <p:spPr>
                <a:xfrm>
                  <a:off x="2463193" y="2382087"/>
                  <a:ext cx="119880" cy="1188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60" name="Ink 59">
                  <a:extLst>
                    <a:ext uri="{FF2B5EF4-FFF2-40B4-BE49-F238E27FC236}">
                      <a16:creationId xmlns:a16="http://schemas.microsoft.com/office/drawing/2014/main" id="{7C15A9B5-5998-3C5D-E7ED-7C04141AB962}"/>
                    </a:ext>
                  </a:extLst>
                </p14:cNvPr>
                <p14:cNvContentPartPr/>
                <p14:nvPr/>
              </p14:nvContentPartPr>
              <p14:xfrm>
                <a:off x="2488033" y="2385327"/>
                <a:ext cx="73080" cy="72720"/>
              </p14:xfrm>
            </p:contentPart>
          </mc:Choice>
          <mc:Fallback>
            <p:pic>
              <p:nvPicPr>
                <p:cNvPr id="60" name="Ink 59">
                  <a:extLst>
                    <a:ext uri="{FF2B5EF4-FFF2-40B4-BE49-F238E27FC236}">
                      <a16:creationId xmlns:a16="http://schemas.microsoft.com/office/drawing/2014/main" id="{7C15A9B5-5998-3C5D-E7ED-7C04141AB962}"/>
                    </a:ext>
                  </a:extLst>
                </p:cNvPr>
                <p:cNvPicPr/>
                <p:nvPr/>
              </p:nvPicPr>
              <p:blipFill>
                <a:blip r:embed="rId53"/>
                <a:stretch>
                  <a:fillRect/>
                </a:stretch>
              </p:blipFill>
              <p:spPr>
                <a:xfrm>
                  <a:off x="2479033" y="2376327"/>
                  <a:ext cx="90720" cy="903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62" name="Ink 61">
                  <a:extLst>
                    <a:ext uri="{FF2B5EF4-FFF2-40B4-BE49-F238E27FC236}">
                      <a16:creationId xmlns:a16="http://schemas.microsoft.com/office/drawing/2014/main" id="{EBB2A863-BEBF-08F8-2D6C-7E18B32E7FC1}"/>
                    </a:ext>
                  </a:extLst>
                </p14:cNvPr>
                <p14:cNvContentPartPr/>
                <p14:nvPr/>
              </p14:nvContentPartPr>
              <p14:xfrm>
                <a:off x="2488033" y="2378127"/>
                <a:ext cx="84240" cy="86040"/>
              </p14:xfrm>
            </p:contentPart>
          </mc:Choice>
          <mc:Fallback>
            <p:pic>
              <p:nvPicPr>
                <p:cNvPr id="62" name="Ink 61">
                  <a:extLst>
                    <a:ext uri="{FF2B5EF4-FFF2-40B4-BE49-F238E27FC236}">
                      <a16:creationId xmlns:a16="http://schemas.microsoft.com/office/drawing/2014/main" id="{EBB2A863-BEBF-08F8-2D6C-7E18B32E7FC1}"/>
                    </a:ext>
                  </a:extLst>
                </p:cNvPr>
                <p:cNvPicPr/>
                <p:nvPr/>
              </p:nvPicPr>
              <p:blipFill>
                <a:blip r:embed="rId55"/>
                <a:stretch>
                  <a:fillRect/>
                </a:stretch>
              </p:blipFill>
              <p:spPr>
                <a:xfrm>
                  <a:off x="2479033" y="2369487"/>
                  <a:ext cx="101880" cy="1036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63" name="Ink 62">
                  <a:extLst>
                    <a:ext uri="{FF2B5EF4-FFF2-40B4-BE49-F238E27FC236}">
                      <a16:creationId xmlns:a16="http://schemas.microsoft.com/office/drawing/2014/main" id="{40CE7E33-F0B8-0956-F1DC-743608C8D36B}"/>
                    </a:ext>
                  </a:extLst>
                </p14:cNvPr>
                <p14:cNvContentPartPr/>
                <p14:nvPr/>
              </p14:nvContentPartPr>
              <p14:xfrm>
                <a:off x="2468953" y="2365167"/>
                <a:ext cx="12240" cy="32760"/>
              </p14:xfrm>
            </p:contentPart>
          </mc:Choice>
          <mc:Fallback>
            <p:pic>
              <p:nvPicPr>
                <p:cNvPr id="63" name="Ink 62">
                  <a:extLst>
                    <a:ext uri="{FF2B5EF4-FFF2-40B4-BE49-F238E27FC236}">
                      <a16:creationId xmlns:a16="http://schemas.microsoft.com/office/drawing/2014/main" id="{40CE7E33-F0B8-0956-F1DC-743608C8D36B}"/>
                    </a:ext>
                  </a:extLst>
                </p:cNvPr>
                <p:cNvPicPr/>
                <p:nvPr/>
              </p:nvPicPr>
              <p:blipFill>
                <a:blip r:embed="rId57"/>
                <a:stretch>
                  <a:fillRect/>
                </a:stretch>
              </p:blipFill>
              <p:spPr>
                <a:xfrm>
                  <a:off x="2459953" y="2356527"/>
                  <a:ext cx="29880" cy="5040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1025" name="Ink 1024">
                  <a:extLst>
                    <a:ext uri="{FF2B5EF4-FFF2-40B4-BE49-F238E27FC236}">
                      <a16:creationId xmlns:a16="http://schemas.microsoft.com/office/drawing/2014/main" id="{235F0E1D-22A7-44B9-CD40-BDCAFDEE37B7}"/>
                    </a:ext>
                  </a:extLst>
                </p14:cNvPr>
                <p14:cNvContentPartPr/>
                <p14:nvPr/>
              </p14:nvContentPartPr>
              <p14:xfrm>
                <a:off x="2484433" y="2368767"/>
                <a:ext cx="34560" cy="34560"/>
              </p14:xfrm>
            </p:contentPart>
          </mc:Choice>
          <mc:Fallback>
            <p:pic>
              <p:nvPicPr>
                <p:cNvPr id="1025" name="Ink 1024">
                  <a:extLst>
                    <a:ext uri="{FF2B5EF4-FFF2-40B4-BE49-F238E27FC236}">
                      <a16:creationId xmlns:a16="http://schemas.microsoft.com/office/drawing/2014/main" id="{235F0E1D-22A7-44B9-CD40-BDCAFDEE37B7}"/>
                    </a:ext>
                  </a:extLst>
                </p:cNvPr>
                <p:cNvPicPr/>
                <p:nvPr/>
              </p:nvPicPr>
              <p:blipFill>
                <a:blip r:embed="rId59"/>
                <a:stretch>
                  <a:fillRect/>
                </a:stretch>
              </p:blipFill>
              <p:spPr>
                <a:xfrm>
                  <a:off x="2475433" y="2360127"/>
                  <a:ext cx="5220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1026" name="Ink 1025">
                  <a:extLst>
                    <a:ext uri="{FF2B5EF4-FFF2-40B4-BE49-F238E27FC236}">
                      <a16:creationId xmlns:a16="http://schemas.microsoft.com/office/drawing/2014/main" id="{BD21ABC5-1D4A-5AEC-667C-A15BD462B3B3}"/>
                    </a:ext>
                  </a:extLst>
                </p14:cNvPr>
                <p14:cNvContentPartPr/>
                <p14:nvPr/>
              </p14:nvContentPartPr>
              <p14:xfrm>
                <a:off x="2578033" y="2462007"/>
                <a:ext cx="9360" cy="27360"/>
              </p14:xfrm>
            </p:contentPart>
          </mc:Choice>
          <mc:Fallback>
            <p:pic>
              <p:nvPicPr>
                <p:cNvPr id="1026" name="Ink 1025">
                  <a:extLst>
                    <a:ext uri="{FF2B5EF4-FFF2-40B4-BE49-F238E27FC236}">
                      <a16:creationId xmlns:a16="http://schemas.microsoft.com/office/drawing/2014/main" id="{BD21ABC5-1D4A-5AEC-667C-A15BD462B3B3}"/>
                    </a:ext>
                  </a:extLst>
                </p:cNvPr>
                <p:cNvPicPr/>
                <p:nvPr/>
              </p:nvPicPr>
              <p:blipFill>
                <a:blip r:embed="rId61"/>
                <a:stretch>
                  <a:fillRect/>
                </a:stretch>
              </p:blipFill>
              <p:spPr>
                <a:xfrm>
                  <a:off x="2569393" y="2453007"/>
                  <a:ext cx="27000" cy="4500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1027" name="Ink 1026">
                  <a:extLst>
                    <a:ext uri="{FF2B5EF4-FFF2-40B4-BE49-F238E27FC236}">
                      <a16:creationId xmlns:a16="http://schemas.microsoft.com/office/drawing/2014/main" id="{51A199FC-48A1-79F5-1E00-D502615F0DD7}"/>
                    </a:ext>
                  </a:extLst>
                </p14:cNvPr>
                <p14:cNvContentPartPr/>
                <p14:nvPr/>
              </p14:nvContentPartPr>
              <p14:xfrm>
                <a:off x="2580913" y="2458047"/>
                <a:ext cx="3240" cy="25200"/>
              </p14:xfrm>
            </p:contentPart>
          </mc:Choice>
          <mc:Fallback>
            <p:pic>
              <p:nvPicPr>
                <p:cNvPr id="1027" name="Ink 1026">
                  <a:extLst>
                    <a:ext uri="{FF2B5EF4-FFF2-40B4-BE49-F238E27FC236}">
                      <a16:creationId xmlns:a16="http://schemas.microsoft.com/office/drawing/2014/main" id="{51A199FC-48A1-79F5-1E00-D502615F0DD7}"/>
                    </a:ext>
                  </a:extLst>
                </p:cNvPr>
                <p:cNvPicPr/>
                <p:nvPr/>
              </p:nvPicPr>
              <p:blipFill>
                <a:blip r:embed="rId63"/>
                <a:stretch>
                  <a:fillRect/>
                </a:stretch>
              </p:blipFill>
              <p:spPr>
                <a:xfrm>
                  <a:off x="2572273" y="2449407"/>
                  <a:ext cx="20880" cy="4284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1029" name="Ink 1028">
                  <a:extLst>
                    <a:ext uri="{FF2B5EF4-FFF2-40B4-BE49-F238E27FC236}">
                      <a16:creationId xmlns:a16="http://schemas.microsoft.com/office/drawing/2014/main" id="{719F5F91-F266-673E-4968-AF74501A79AA}"/>
                    </a:ext>
                  </a:extLst>
                </p14:cNvPr>
                <p14:cNvContentPartPr/>
                <p14:nvPr/>
              </p14:nvContentPartPr>
              <p14:xfrm>
                <a:off x="2551033" y="2434287"/>
                <a:ext cx="38520" cy="32760"/>
              </p14:xfrm>
            </p:contentPart>
          </mc:Choice>
          <mc:Fallback>
            <p:pic>
              <p:nvPicPr>
                <p:cNvPr id="1029" name="Ink 1028">
                  <a:extLst>
                    <a:ext uri="{FF2B5EF4-FFF2-40B4-BE49-F238E27FC236}">
                      <a16:creationId xmlns:a16="http://schemas.microsoft.com/office/drawing/2014/main" id="{719F5F91-F266-673E-4968-AF74501A79AA}"/>
                    </a:ext>
                  </a:extLst>
                </p:cNvPr>
                <p:cNvPicPr/>
                <p:nvPr/>
              </p:nvPicPr>
              <p:blipFill>
                <a:blip r:embed="rId65"/>
                <a:stretch>
                  <a:fillRect/>
                </a:stretch>
              </p:blipFill>
              <p:spPr>
                <a:xfrm>
                  <a:off x="2542033" y="2425287"/>
                  <a:ext cx="56160" cy="5040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1030" name="Ink 1029">
                  <a:extLst>
                    <a:ext uri="{FF2B5EF4-FFF2-40B4-BE49-F238E27FC236}">
                      <a16:creationId xmlns:a16="http://schemas.microsoft.com/office/drawing/2014/main" id="{14733BB7-F696-DD33-6B23-D90CFAACDB4E}"/>
                    </a:ext>
                  </a:extLst>
                </p14:cNvPr>
                <p14:cNvContentPartPr/>
                <p14:nvPr/>
              </p14:nvContentPartPr>
              <p14:xfrm>
                <a:off x="2568673" y="2446167"/>
                <a:ext cx="24480" cy="56160"/>
              </p14:xfrm>
            </p:contentPart>
          </mc:Choice>
          <mc:Fallback>
            <p:pic>
              <p:nvPicPr>
                <p:cNvPr id="1030" name="Ink 1029">
                  <a:extLst>
                    <a:ext uri="{FF2B5EF4-FFF2-40B4-BE49-F238E27FC236}">
                      <a16:creationId xmlns:a16="http://schemas.microsoft.com/office/drawing/2014/main" id="{14733BB7-F696-DD33-6B23-D90CFAACDB4E}"/>
                    </a:ext>
                  </a:extLst>
                </p:cNvPr>
                <p:cNvPicPr/>
                <p:nvPr/>
              </p:nvPicPr>
              <p:blipFill>
                <a:blip r:embed="rId67"/>
                <a:stretch>
                  <a:fillRect/>
                </a:stretch>
              </p:blipFill>
              <p:spPr>
                <a:xfrm>
                  <a:off x="2560033" y="2437527"/>
                  <a:ext cx="42120" cy="7380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1031" name="Ink 1030">
                  <a:extLst>
                    <a:ext uri="{FF2B5EF4-FFF2-40B4-BE49-F238E27FC236}">
                      <a16:creationId xmlns:a16="http://schemas.microsoft.com/office/drawing/2014/main" id="{BE3F652D-70C7-EAC8-ECBE-9B499480A708}"/>
                    </a:ext>
                  </a:extLst>
                </p14:cNvPr>
                <p14:cNvContentPartPr/>
                <p14:nvPr/>
              </p14:nvContentPartPr>
              <p14:xfrm>
                <a:off x="2463913" y="2365167"/>
                <a:ext cx="25200" cy="48240"/>
              </p14:xfrm>
            </p:contentPart>
          </mc:Choice>
          <mc:Fallback>
            <p:pic>
              <p:nvPicPr>
                <p:cNvPr id="1031" name="Ink 1030">
                  <a:extLst>
                    <a:ext uri="{FF2B5EF4-FFF2-40B4-BE49-F238E27FC236}">
                      <a16:creationId xmlns:a16="http://schemas.microsoft.com/office/drawing/2014/main" id="{BE3F652D-70C7-EAC8-ECBE-9B499480A708}"/>
                    </a:ext>
                  </a:extLst>
                </p:cNvPr>
                <p:cNvPicPr/>
                <p:nvPr/>
              </p:nvPicPr>
              <p:blipFill>
                <a:blip r:embed="rId69"/>
                <a:stretch>
                  <a:fillRect/>
                </a:stretch>
              </p:blipFill>
              <p:spPr>
                <a:xfrm>
                  <a:off x="2454913" y="2356167"/>
                  <a:ext cx="42840" cy="6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1042" name="Ink 1041">
                  <a:extLst>
                    <a:ext uri="{FF2B5EF4-FFF2-40B4-BE49-F238E27FC236}">
                      <a16:creationId xmlns:a16="http://schemas.microsoft.com/office/drawing/2014/main" id="{C00F1554-6758-EBF9-0EF4-5D5146A87013}"/>
                    </a:ext>
                  </a:extLst>
                </p14:cNvPr>
                <p14:cNvContentPartPr/>
                <p14:nvPr/>
              </p14:nvContentPartPr>
              <p14:xfrm>
                <a:off x="2639233" y="2418807"/>
                <a:ext cx="82800" cy="72360"/>
              </p14:xfrm>
            </p:contentPart>
          </mc:Choice>
          <mc:Fallback>
            <p:pic>
              <p:nvPicPr>
                <p:cNvPr id="1042" name="Ink 1041">
                  <a:extLst>
                    <a:ext uri="{FF2B5EF4-FFF2-40B4-BE49-F238E27FC236}">
                      <a16:creationId xmlns:a16="http://schemas.microsoft.com/office/drawing/2014/main" id="{C00F1554-6758-EBF9-0EF4-5D5146A87013}"/>
                    </a:ext>
                  </a:extLst>
                </p:cNvPr>
                <p:cNvPicPr/>
                <p:nvPr/>
              </p:nvPicPr>
              <p:blipFill>
                <a:blip r:embed="rId71"/>
                <a:stretch>
                  <a:fillRect/>
                </a:stretch>
              </p:blipFill>
              <p:spPr>
                <a:xfrm>
                  <a:off x="2630593" y="2409807"/>
                  <a:ext cx="100440" cy="9000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1043" name="Ink 1042">
                  <a:extLst>
                    <a:ext uri="{FF2B5EF4-FFF2-40B4-BE49-F238E27FC236}">
                      <a16:creationId xmlns:a16="http://schemas.microsoft.com/office/drawing/2014/main" id="{115D1E03-7E04-6D61-34C3-B5A1CBE510EA}"/>
                    </a:ext>
                  </a:extLst>
                </p14:cNvPr>
                <p14:cNvContentPartPr/>
                <p14:nvPr/>
              </p14:nvContentPartPr>
              <p14:xfrm>
                <a:off x="2640673" y="2465967"/>
                <a:ext cx="6120" cy="27000"/>
              </p14:xfrm>
            </p:contentPart>
          </mc:Choice>
          <mc:Fallback>
            <p:pic>
              <p:nvPicPr>
                <p:cNvPr id="1043" name="Ink 1042">
                  <a:extLst>
                    <a:ext uri="{FF2B5EF4-FFF2-40B4-BE49-F238E27FC236}">
                      <a16:creationId xmlns:a16="http://schemas.microsoft.com/office/drawing/2014/main" id="{115D1E03-7E04-6D61-34C3-B5A1CBE510EA}"/>
                    </a:ext>
                  </a:extLst>
                </p:cNvPr>
                <p:cNvPicPr/>
                <p:nvPr/>
              </p:nvPicPr>
              <p:blipFill>
                <a:blip r:embed="rId73"/>
                <a:stretch>
                  <a:fillRect/>
                </a:stretch>
              </p:blipFill>
              <p:spPr>
                <a:xfrm>
                  <a:off x="2632033" y="2456967"/>
                  <a:ext cx="23760" cy="4464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1044" name="Ink 1043">
                  <a:extLst>
                    <a:ext uri="{FF2B5EF4-FFF2-40B4-BE49-F238E27FC236}">
                      <a16:creationId xmlns:a16="http://schemas.microsoft.com/office/drawing/2014/main" id="{719C8F7C-A467-DD4E-3619-D08188F125E9}"/>
                    </a:ext>
                  </a:extLst>
                </p14:cNvPr>
                <p14:cNvContentPartPr/>
                <p14:nvPr/>
              </p14:nvContentPartPr>
              <p14:xfrm>
                <a:off x="2713393" y="2423487"/>
                <a:ext cx="11520" cy="27000"/>
              </p14:xfrm>
            </p:contentPart>
          </mc:Choice>
          <mc:Fallback>
            <p:pic>
              <p:nvPicPr>
                <p:cNvPr id="1044" name="Ink 1043">
                  <a:extLst>
                    <a:ext uri="{FF2B5EF4-FFF2-40B4-BE49-F238E27FC236}">
                      <a16:creationId xmlns:a16="http://schemas.microsoft.com/office/drawing/2014/main" id="{719C8F7C-A467-DD4E-3619-D08188F125E9}"/>
                    </a:ext>
                  </a:extLst>
                </p:cNvPr>
                <p:cNvPicPr/>
                <p:nvPr/>
              </p:nvPicPr>
              <p:blipFill>
                <a:blip r:embed="rId75"/>
                <a:stretch>
                  <a:fillRect/>
                </a:stretch>
              </p:blipFill>
              <p:spPr>
                <a:xfrm>
                  <a:off x="2704393" y="2414847"/>
                  <a:ext cx="29160" cy="44640"/>
                </a:xfrm>
                <a:prstGeom prst="rect">
                  <a:avLst/>
                </a:prstGeom>
              </p:spPr>
            </p:pic>
          </mc:Fallback>
        </mc:AlternateContent>
      </p:grpSp>
    </p:spTree>
    <p:extLst>
      <p:ext uri="{BB962C8B-B14F-4D97-AF65-F5344CB8AC3E}">
        <p14:creationId xmlns:p14="http://schemas.microsoft.com/office/powerpoint/2010/main" val="5427995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extLst>
              <p:ext uri="{D42A27DB-BD31-4B8C-83A1-F6EECF244321}">
                <p14:modId xmlns:p14="http://schemas.microsoft.com/office/powerpoint/2010/main" val="13345022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7F96A204-15B2-9483-191E-90094F5FDB47}"/>
              </a:ext>
            </a:extLst>
          </p:cNvPr>
          <p:cNvSpPr>
            <a:spLocks noGrp="1"/>
          </p:cNvSpPr>
          <p:nvPr>
            <p:ph type="body" sz="quarter" idx="14"/>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dirty="0"/>
              <a:t>Template - Honeycomb chart</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7" name="Hexágono 6">
            <a:extLst>
              <a:ext uri="{FF2B5EF4-FFF2-40B4-BE49-F238E27FC236}">
                <a16:creationId xmlns:a16="http://schemas.microsoft.com/office/drawing/2014/main" id="{F0B54DCA-FEB1-2F42-B21C-C04A0207D6D2}"/>
              </a:ext>
            </a:extLst>
          </p:cNvPr>
          <p:cNvSpPr/>
          <p:nvPr/>
        </p:nvSpPr>
        <p:spPr>
          <a:xfrm rot="5400000">
            <a:off x="5305033" y="3137358"/>
            <a:ext cx="1621775" cy="1415845"/>
          </a:xfrm>
          <a:prstGeom prst="hexagon">
            <a:avLst/>
          </a:prstGeom>
          <a:gradFill>
            <a:gsLst>
              <a:gs pos="0">
                <a:schemeClr val="tx2"/>
              </a:gs>
              <a:gs pos="99000">
                <a:schemeClr val="accent1"/>
              </a:gs>
            </a:gsLst>
            <a:lin ang="2700000" scaled="0"/>
          </a:gradFill>
          <a:effectLst/>
        </p:spPr>
        <p:txBody>
          <a:bodyPr vert="vert" lIns="0" tIns="36000" rIns="0" bIns="36000" anchor="ctr"/>
          <a:lstStyle/>
          <a:p>
            <a:pPr algn="ctr" defTabSz="228554"/>
            <a:r>
              <a:rPr lang="en-US" sz="14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8" name="Hexágono 7">
            <a:extLst>
              <a:ext uri="{FF2B5EF4-FFF2-40B4-BE49-F238E27FC236}">
                <a16:creationId xmlns:a16="http://schemas.microsoft.com/office/drawing/2014/main" id="{76F76371-7F40-9093-14DB-D6F2A9B95F04}"/>
              </a:ext>
            </a:extLst>
          </p:cNvPr>
          <p:cNvSpPr/>
          <p:nvPr/>
        </p:nvSpPr>
        <p:spPr>
          <a:xfrm rot="5400000">
            <a:off x="4566124" y="178160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Hexágono 8">
            <a:extLst>
              <a:ext uri="{FF2B5EF4-FFF2-40B4-BE49-F238E27FC236}">
                <a16:creationId xmlns:a16="http://schemas.microsoft.com/office/drawing/2014/main" id="{18D95E91-2023-7C46-36BE-B5E9824E1CF5}"/>
              </a:ext>
            </a:extLst>
          </p:cNvPr>
          <p:cNvSpPr/>
          <p:nvPr/>
        </p:nvSpPr>
        <p:spPr>
          <a:xfrm rot="5400000">
            <a:off x="3813656"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0" name="Hexágono 9">
            <a:extLst>
              <a:ext uri="{FF2B5EF4-FFF2-40B4-BE49-F238E27FC236}">
                <a16:creationId xmlns:a16="http://schemas.microsoft.com/office/drawing/2014/main" id="{B5C20BE5-F3C0-289B-A531-2322A4782C6F}"/>
              </a:ext>
            </a:extLst>
          </p:cNvPr>
          <p:cNvSpPr/>
          <p:nvPr/>
        </p:nvSpPr>
        <p:spPr>
          <a:xfrm rot="5400000">
            <a:off x="6796410" y="3137358"/>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1" name="Hexágono 10">
            <a:extLst>
              <a:ext uri="{FF2B5EF4-FFF2-40B4-BE49-F238E27FC236}">
                <a16:creationId xmlns:a16="http://schemas.microsoft.com/office/drawing/2014/main" id="{5E391A80-66D3-434C-8DF8-9010ED3E7CFF}"/>
              </a:ext>
            </a:extLst>
          </p:cNvPr>
          <p:cNvSpPr/>
          <p:nvPr/>
        </p:nvSpPr>
        <p:spPr>
          <a:xfrm rot="5400000">
            <a:off x="6050722" y="4471435"/>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2" name="Hexágono 11">
            <a:extLst>
              <a:ext uri="{FF2B5EF4-FFF2-40B4-BE49-F238E27FC236}">
                <a16:creationId xmlns:a16="http://schemas.microsoft.com/office/drawing/2014/main" id="{893DC335-1031-D611-9772-D65E285EC7BF}"/>
              </a:ext>
            </a:extLst>
          </p:cNvPr>
          <p:cNvSpPr/>
          <p:nvPr/>
        </p:nvSpPr>
        <p:spPr>
          <a:xfrm rot="5400000">
            <a:off x="6057501" y="1781607"/>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Hexágono 12">
            <a:extLst>
              <a:ext uri="{FF2B5EF4-FFF2-40B4-BE49-F238E27FC236}">
                <a16:creationId xmlns:a16="http://schemas.microsoft.com/office/drawing/2014/main" id="{25B82539-1A4D-9DC9-D387-74C75CA2938A}"/>
              </a:ext>
            </a:extLst>
          </p:cNvPr>
          <p:cNvSpPr/>
          <p:nvPr/>
        </p:nvSpPr>
        <p:spPr>
          <a:xfrm rot="5400000">
            <a:off x="4562059" y="4467309"/>
            <a:ext cx="1621775" cy="1415845"/>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algn="ct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8" name="Conector recto 17">
            <a:extLst>
              <a:ext uri="{FF2B5EF4-FFF2-40B4-BE49-F238E27FC236}">
                <a16:creationId xmlns:a16="http://schemas.microsoft.com/office/drawing/2014/main" id="{B3C232C9-4B70-2F0F-C5BC-162CEF24FD53}"/>
              </a:ext>
            </a:extLst>
          </p:cNvPr>
          <p:cNvCxnSpPr>
            <a:cxnSpLocks/>
          </p:cNvCxnSpPr>
          <p:nvPr/>
        </p:nvCxnSpPr>
        <p:spPr>
          <a:xfrm>
            <a:off x="7707320"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B8A3A9F3-B7E0-2228-CD36-1C116A24E16D}"/>
              </a:ext>
            </a:extLst>
          </p:cNvPr>
          <p:cNvCxnSpPr>
            <a:cxnSpLocks/>
          </p:cNvCxnSpPr>
          <p:nvPr/>
        </p:nvCxnSpPr>
        <p:spPr>
          <a:xfrm>
            <a:off x="7707320"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21A0A1A1-65B1-638A-76DD-E7642BA3EC22}"/>
              </a:ext>
            </a:extLst>
          </p:cNvPr>
          <p:cNvCxnSpPr>
            <a:cxnSpLocks/>
          </p:cNvCxnSpPr>
          <p:nvPr/>
        </p:nvCxnSpPr>
        <p:spPr>
          <a:xfrm>
            <a:off x="384174" y="2980909"/>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FB78114B-AB62-184E-1610-9F9A0640BAC3}"/>
              </a:ext>
            </a:extLst>
          </p:cNvPr>
          <p:cNvCxnSpPr>
            <a:cxnSpLocks/>
          </p:cNvCxnSpPr>
          <p:nvPr/>
        </p:nvCxnSpPr>
        <p:spPr>
          <a:xfrm>
            <a:off x="384174" y="4726237"/>
            <a:ext cx="411320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Box 25">
            <a:extLst>
              <a:ext uri="{FF2B5EF4-FFF2-40B4-BE49-F238E27FC236}">
                <a16:creationId xmlns:a16="http://schemas.microsoft.com/office/drawing/2014/main" id="{C8D944BD-E771-0156-9A93-541AD5D74B44}"/>
              </a:ext>
            </a:extLst>
          </p:cNvPr>
          <p:cNvSpPr txBox="1"/>
          <p:nvPr/>
        </p:nvSpPr>
        <p:spPr>
          <a:xfrm>
            <a:off x="384174"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70286"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4" name="TextBox 25">
            <a:extLst>
              <a:ext uri="{FF2B5EF4-FFF2-40B4-BE49-F238E27FC236}">
                <a16:creationId xmlns:a16="http://schemas.microsoft.com/office/drawing/2014/main" id="{4FA9EBAC-2DF7-C7A7-DFD6-8A241C08E65B}"/>
              </a:ext>
            </a:extLst>
          </p:cNvPr>
          <p:cNvSpPr txBox="1"/>
          <p:nvPr/>
        </p:nvSpPr>
        <p:spPr>
          <a:xfrm>
            <a:off x="384174"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5" name="TextBox 25">
            <a:extLst>
              <a:ext uri="{FF2B5EF4-FFF2-40B4-BE49-F238E27FC236}">
                <a16:creationId xmlns:a16="http://schemas.microsoft.com/office/drawing/2014/main" id="{1E9E3ECD-51E5-E149-90F3-AB468DC57552}"/>
              </a:ext>
            </a:extLst>
          </p:cNvPr>
          <p:cNvSpPr txBox="1"/>
          <p:nvPr/>
        </p:nvSpPr>
        <p:spPr>
          <a:xfrm>
            <a:off x="9141241" y="3543303"/>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6" name="TextBox 25">
            <a:extLst>
              <a:ext uri="{FF2B5EF4-FFF2-40B4-BE49-F238E27FC236}">
                <a16:creationId xmlns:a16="http://schemas.microsoft.com/office/drawing/2014/main" id="{11A2B632-C24A-CB5A-98DD-61D36A180533}"/>
              </a:ext>
            </a:extLst>
          </p:cNvPr>
          <p:cNvSpPr txBox="1"/>
          <p:nvPr/>
        </p:nvSpPr>
        <p:spPr>
          <a:xfrm>
            <a:off x="9127353" y="2099791"/>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37" name="TextBox 25">
            <a:extLst>
              <a:ext uri="{FF2B5EF4-FFF2-40B4-BE49-F238E27FC236}">
                <a16:creationId xmlns:a16="http://schemas.microsoft.com/office/drawing/2014/main" id="{3128CD4A-FF3E-E768-D2D6-226BB9FD4A5E}"/>
              </a:ext>
            </a:extLst>
          </p:cNvPr>
          <p:cNvSpPr txBox="1"/>
          <p:nvPr/>
        </p:nvSpPr>
        <p:spPr>
          <a:xfrm>
            <a:off x="9141241" y="5140244"/>
            <a:ext cx="2679490" cy="738664"/>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a:p>
            <a:pPr marL="171450" indent="-171450">
              <a:buFont typeface="Arial" panose="020B0604020202020204" pitchFamily="34" charset="0"/>
              <a:buChar char="•"/>
            </a:pP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endParaRPr lang="en-US" sz="12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endParaRPr lang="en-US" sz="1200" dirty="0">
              <a:latin typeface="Franklin Gothic Medium" panose="020B0603020102020204" pitchFamily="34" charset="0"/>
              <a:cs typeface="Poppins" panose="02000000000000000000" pitchFamily="2" charset="0"/>
            </a:endParaRPr>
          </a:p>
        </p:txBody>
      </p:sp>
      <p:sp>
        <p:nvSpPr>
          <p:cNvPr id="5" name="Footer Placeholder 4">
            <a:extLst>
              <a:ext uri="{FF2B5EF4-FFF2-40B4-BE49-F238E27FC236}">
                <a16:creationId xmlns:a16="http://schemas.microsoft.com/office/drawing/2014/main" id="{35D1F1B5-A06B-87D0-6CEF-297ECAB0097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53256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Objeto 25" hidden="1">
            <a:extLst>
              <a:ext uri="{FF2B5EF4-FFF2-40B4-BE49-F238E27FC236}">
                <a16:creationId xmlns:a16="http://schemas.microsoft.com/office/drawing/2014/main" id="{FFF9AD64-446D-6883-2F34-23BE29779F9D}"/>
              </a:ext>
            </a:extLst>
          </p:cNvPr>
          <p:cNvGraphicFramePr>
            <a:graphicFrameLocks noChangeAspect="1"/>
          </p:cNvGraphicFramePr>
          <p:nvPr>
            <p:custDataLst>
              <p:tags r:id="rId1"/>
            </p:custDataLst>
            <p:extLst>
              <p:ext uri="{D42A27DB-BD31-4B8C-83A1-F6EECF244321}">
                <p14:modId xmlns:p14="http://schemas.microsoft.com/office/powerpoint/2010/main" val="9800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6" name="Objeto 25" hidden="1">
                        <a:extLst>
                          <a:ext uri="{FF2B5EF4-FFF2-40B4-BE49-F238E27FC236}">
                            <a16:creationId xmlns:a16="http://schemas.microsoft.com/office/drawing/2014/main" id="{FFF9AD64-446D-6883-2F34-23BE29779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4C029F0D-5344-C1A7-E0DB-0E6D0F3CC2A0}"/>
              </a:ext>
            </a:extLst>
          </p:cNvPr>
          <p:cNvSpPr>
            <a:spLocks noGrp="1"/>
          </p:cNvSpPr>
          <p:nvPr>
            <p:ph type="body" sz="quarter" idx="14"/>
          </p:nvPr>
        </p:nvSpPr>
        <p:spPr/>
        <p:txBody>
          <a:bodyPr/>
          <a:lstStyle/>
          <a:p>
            <a:r>
              <a:rPr lang="en-US" dirty="0"/>
              <a:t>Subtitle</a:t>
            </a:r>
            <a:endParaRPr lang="en-GB" dirty="0"/>
          </a:p>
        </p:txBody>
      </p:sp>
      <p:sp>
        <p:nvSpPr>
          <p:cNvPr id="3" name="Título 2">
            <a:extLst>
              <a:ext uri="{FF2B5EF4-FFF2-40B4-BE49-F238E27FC236}">
                <a16:creationId xmlns:a16="http://schemas.microsoft.com/office/drawing/2014/main" id="{89AB166E-02F7-9C83-240C-3BBCE19E5D6D}"/>
              </a:ext>
            </a:extLst>
          </p:cNvPr>
          <p:cNvSpPr>
            <a:spLocks noGrp="1"/>
          </p:cNvSpPr>
          <p:nvPr>
            <p:ph type="title"/>
          </p:nvPr>
        </p:nvSpPr>
        <p:spPr/>
        <p:txBody>
          <a:bodyPr vert="horz"/>
          <a:lstStyle/>
          <a:p>
            <a:r>
              <a:rPr lang="en-US" dirty="0"/>
              <a:t>Template - Journey Slide</a:t>
            </a:r>
            <a:endParaRPr lang="en-GB" dirty="0"/>
          </a:p>
        </p:txBody>
      </p:sp>
      <p:sp>
        <p:nvSpPr>
          <p:cNvPr id="4" name="Freeform 66">
            <a:extLst>
              <a:ext uri="{FF2B5EF4-FFF2-40B4-BE49-F238E27FC236}">
                <a16:creationId xmlns:a16="http://schemas.microsoft.com/office/drawing/2014/main" id="{5065F132-F4A0-4772-A176-BB475E8C79EC}"/>
              </a:ext>
            </a:extLst>
          </p:cNvPr>
          <p:cNvSpPr/>
          <p:nvPr/>
        </p:nvSpPr>
        <p:spPr>
          <a:xfrm>
            <a:off x="8977945" y="1520824"/>
            <a:ext cx="2826769" cy="2636780"/>
          </a:xfrm>
          <a:custGeom>
            <a:avLst/>
            <a:gdLst>
              <a:gd name="connsiteX0" fmla="*/ 2354192 w 5008036"/>
              <a:gd name="connsiteY0" fmla="*/ 0 h 4671442"/>
              <a:gd name="connsiteX1" fmla="*/ 2360338 w 5008036"/>
              <a:gd name="connsiteY1" fmla="*/ 310 h 4671442"/>
              <a:gd name="connsiteX2" fmla="*/ 2366818 w 5008036"/>
              <a:gd name="connsiteY2" fmla="*/ 3 h 4671442"/>
              <a:gd name="connsiteX3" fmla="*/ 2366818 w 5008036"/>
              <a:gd name="connsiteY3" fmla="*/ 638 h 4671442"/>
              <a:gd name="connsiteX4" fmla="*/ 2589872 w 5008036"/>
              <a:gd name="connsiteY4" fmla="*/ 11902 h 4671442"/>
              <a:gd name="connsiteX5" fmla="*/ 4704228 w 5008036"/>
              <a:gd name="connsiteY5" fmla="*/ 2139724 h 4671442"/>
              <a:gd name="connsiteX6" fmla="*/ 4714380 w 5008036"/>
              <a:gd name="connsiteY6" fmla="*/ 2354125 h 4671442"/>
              <a:gd name="connsiteX7" fmla="*/ 4714684 w 5008036"/>
              <a:gd name="connsiteY7" fmla="*/ 2354125 h 4671442"/>
              <a:gd name="connsiteX8" fmla="*/ 4714684 w 5008036"/>
              <a:gd name="connsiteY8" fmla="*/ 2360565 h 4671442"/>
              <a:gd name="connsiteX9" fmla="*/ 4714980 w 5008036"/>
              <a:gd name="connsiteY9" fmla="*/ 2366816 h 4671442"/>
              <a:gd name="connsiteX10" fmla="*/ 4714684 w 5008036"/>
              <a:gd name="connsiteY10" fmla="*/ 2366816 h 4671442"/>
              <a:gd name="connsiteX11" fmla="*/ 4714684 w 5008036"/>
              <a:gd name="connsiteY11" fmla="*/ 3928679 h 4671442"/>
              <a:gd name="connsiteX12" fmla="*/ 5008036 w 5008036"/>
              <a:gd name="connsiteY12" fmla="*/ 3928679 h 4671442"/>
              <a:gd name="connsiteX13" fmla="*/ 4265272 w 5008036"/>
              <a:gd name="connsiteY13" fmla="*/ 4671442 h 4671442"/>
              <a:gd name="connsiteX14" fmla="*/ 3522508 w 5008036"/>
              <a:gd name="connsiteY14" fmla="*/ 3928679 h 4671442"/>
              <a:gd name="connsiteX15" fmla="*/ 3803212 w 5008036"/>
              <a:gd name="connsiteY15" fmla="*/ 3928679 h 4671442"/>
              <a:gd name="connsiteX16" fmla="*/ 3803212 w 5008036"/>
              <a:gd name="connsiteY16" fmla="*/ 2366816 h 4671442"/>
              <a:gd name="connsiteX17" fmla="*/ 3801126 w 5008036"/>
              <a:gd name="connsiteY17" fmla="*/ 2366816 h 4671442"/>
              <a:gd name="connsiteX18" fmla="*/ 3801126 w 5008036"/>
              <a:gd name="connsiteY18" fmla="*/ 2366815 h 4671442"/>
              <a:gd name="connsiteX19" fmla="*/ 2496434 w 5008036"/>
              <a:gd name="connsiteY19" fmla="*/ 921037 h 4671442"/>
              <a:gd name="connsiteX20" fmla="*/ 2360358 w 5008036"/>
              <a:gd name="connsiteY20" fmla="*/ 914166 h 4671442"/>
              <a:gd name="connsiteX21" fmla="*/ 2227396 w 5008036"/>
              <a:gd name="connsiteY21" fmla="*/ 920461 h 4671442"/>
              <a:gd name="connsiteX22" fmla="*/ 921038 w 5008036"/>
              <a:gd name="connsiteY22" fmla="*/ 2218552 h 4671442"/>
              <a:gd name="connsiteX23" fmla="*/ 913856 w 5008036"/>
              <a:gd name="connsiteY23" fmla="*/ 2360795 h 4671442"/>
              <a:gd name="connsiteX24" fmla="*/ 911470 w 5008036"/>
              <a:gd name="connsiteY24" fmla="*/ 2360795 h 4671442"/>
              <a:gd name="connsiteX25" fmla="*/ 911470 w 5008036"/>
              <a:gd name="connsiteY25" fmla="*/ 4192352 h 4671442"/>
              <a:gd name="connsiteX26" fmla="*/ 0 w 5008036"/>
              <a:gd name="connsiteY26" fmla="*/ 4192352 h 4671442"/>
              <a:gd name="connsiteX27" fmla="*/ 0 w 5008036"/>
              <a:gd name="connsiteY27" fmla="*/ 2354123 h 4671442"/>
              <a:gd name="connsiteX28" fmla="*/ 338 w 5008036"/>
              <a:gd name="connsiteY28" fmla="*/ 2354123 h 4671442"/>
              <a:gd name="connsiteX29" fmla="*/ 11904 w 5008036"/>
              <a:gd name="connsiteY29" fmla="*/ 2125114 h 4671442"/>
              <a:gd name="connsiteX30" fmla="*/ 2139726 w 5008036"/>
              <a:gd name="connsiteY30" fmla="*/ 10756 h 4671442"/>
              <a:gd name="connsiteX31" fmla="*/ 2354192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2" y="0"/>
                </a:moveTo>
                <a:lnTo>
                  <a:pt x="2360338" y="310"/>
                </a:lnTo>
                <a:lnTo>
                  <a:pt x="2366818" y="3"/>
                </a:lnTo>
                <a:lnTo>
                  <a:pt x="2366818" y="638"/>
                </a:lnTo>
                <a:lnTo>
                  <a:pt x="2589872" y="11902"/>
                </a:lnTo>
                <a:cubicBezTo>
                  <a:pt x="3708912" y="125546"/>
                  <a:pt x="4597522" y="1018647"/>
                  <a:pt x="4704228" y="2139724"/>
                </a:cubicBezTo>
                <a:lnTo>
                  <a:pt x="4714380" y="2354125"/>
                </a:lnTo>
                <a:lnTo>
                  <a:pt x="4714684" y="2354125"/>
                </a:lnTo>
                <a:lnTo>
                  <a:pt x="4714684" y="2360565"/>
                </a:lnTo>
                <a:lnTo>
                  <a:pt x="4714980" y="2366816"/>
                </a:lnTo>
                <a:lnTo>
                  <a:pt x="4714684" y="2366816"/>
                </a:lnTo>
                <a:lnTo>
                  <a:pt x="4714684" y="3928679"/>
                </a:lnTo>
                <a:lnTo>
                  <a:pt x="5008036" y="3928679"/>
                </a:lnTo>
                <a:lnTo>
                  <a:pt x="4265272" y="4671442"/>
                </a:lnTo>
                <a:lnTo>
                  <a:pt x="3522508" y="3928679"/>
                </a:lnTo>
                <a:lnTo>
                  <a:pt x="3803212" y="3928679"/>
                </a:lnTo>
                <a:lnTo>
                  <a:pt x="3803212" y="2366816"/>
                </a:lnTo>
                <a:lnTo>
                  <a:pt x="3801126" y="2366816"/>
                </a:lnTo>
                <a:lnTo>
                  <a:pt x="3801126" y="2366815"/>
                </a:lnTo>
                <a:cubicBezTo>
                  <a:pt x="3801126" y="1614355"/>
                  <a:pt x="3229260" y="995460"/>
                  <a:pt x="2496434" y="921037"/>
                </a:cubicBezTo>
                <a:lnTo>
                  <a:pt x="2360358" y="914166"/>
                </a:lnTo>
                <a:lnTo>
                  <a:pt x="2227396" y="920461"/>
                </a:lnTo>
                <a:cubicBezTo>
                  <a:pt x="1539122" y="985972"/>
                  <a:pt x="990810" y="1531527"/>
                  <a:pt x="921038" y="2218552"/>
                </a:cubicBezTo>
                <a:lnTo>
                  <a:pt x="913856" y="2360795"/>
                </a:lnTo>
                <a:lnTo>
                  <a:pt x="911470" y="2360795"/>
                </a:lnTo>
                <a:lnTo>
                  <a:pt x="911470" y="4192352"/>
                </a:lnTo>
                <a:lnTo>
                  <a:pt x="0" y="4192352"/>
                </a:lnTo>
                <a:lnTo>
                  <a:pt x="0" y="2354123"/>
                </a:lnTo>
                <a:lnTo>
                  <a:pt x="338" y="2354123"/>
                </a:lnTo>
                <a:lnTo>
                  <a:pt x="11904" y="2125114"/>
                </a:lnTo>
                <a:cubicBezTo>
                  <a:pt x="125548" y="1006074"/>
                  <a:pt x="1018650" y="117461"/>
                  <a:pt x="2139726" y="10756"/>
                </a:cubicBezTo>
                <a:lnTo>
                  <a:pt x="2354192" y="60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5" name="Freeform 65">
            <a:extLst>
              <a:ext uri="{FF2B5EF4-FFF2-40B4-BE49-F238E27FC236}">
                <a16:creationId xmlns:a16="http://schemas.microsoft.com/office/drawing/2014/main" id="{4477A733-3871-FBEC-3836-0A76447641BA}"/>
              </a:ext>
            </a:extLst>
          </p:cNvPr>
          <p:cNvSpPr/>
          <p:nvPr/>
        </p:nvSpPr>
        <p:spPr>
          <a:xfrm rot="10800000" flipH="1">
            <a:off x="6821566" y="3590399"/>
            <a:ext cx="2825741" cy="2636780"/>
          </a:xfrm>
          <a:custGeom>
            <a:avLst/>
            <a:gdLst>
              <a:gd name="connsiteX0" fmla="*/ 4263450 w 5006214"/>
              <a:gd name="connsiteY0" fmla="*/ 4671443 h 4671443"/>
              <a:gd name="connsiteX1" fmla="*/ 5006214 w 5006214"/>
              <a:gd name="connsiteY1" fmla="*/ 3928679 h 4671443"/>
              <a:gd name="connsiteX2" fmla="*/ 4712860 w 5006214"/>
              <a:gd name="connsiteY2" fmla="*/ 3928679 h 4671443"/>
              <a:gd name="connsiteX3" fmla="*/ 4712860 w 5006214"/>
              <a:gd name="connsiteY3" fmla="*/ 2366816 h 4671443"/>
              <a:gd name="connsiteX4" fmla="*/ 4713158 w 5006214"/>
              <a:gd name="connsiteY4" fmla="*/ 2366816 h 4671443"/>
              <a:gd name="connsiteX5" fmla="*/ 4712860 w 5006214"/>
              <a:gd name="connsiteY5" fmla="*/ 2360522 h 4671443"/>
              <a:gd name="connsiteX6" fmla="*/ 4712860 w 5006214"/>
              <a:gd name="connsiteY6" fmla="*/ 2354127 h 4671443"/>
              <a:gd name="connsiteX7" fmla="*/ 4712558 w 5006214"/>
              <a:gd name="connsiteY7" fmla="*/ 2354127 h 4671443"/>
              <a:gd name="connsiteX8" fmla="*/ 4702406 w 5006214"/>
              <a:gd name="connsiteY8" fmla="*/ 2139724 h 4671443"/>
              <a:gd name="connsiteX9" fmla="*/ 2588047 w 5006214"/>
              <a:gd name="connsiteY9" fmla="*/ 11902 h 4671443"/>
              <a:gd name="connsiteX10" fmla="*/ 2366820 w 5006214"/>
              <a:gd name="connsiteY10" fmla="*/ 730 h 4671443"/>
              <a:gd name="connsiteX11" fmla="*/ 2366820 w 5006214"/>
              <a:gd name="connsiteY11" fmla="*/ 3 h 4671443"/>
              <a:gd name="connsiteX12" fmla="*/ 2359391 w 5006214"/>
              <a:gd name="connsiteY12" fmla="*/ 355 h 4671443"/>
              <a:gd name="connsiteX13" fmla="*/ 2352367 w 5006214"/>
              <a:gd name="connsiteY13" fmla="*/ 0 h 4671443"/>
              <a:gd name="connsiteX14" fmla="*/ 2352367 w 5006214"/>
              <a:gd name="connsiteY14" fmla="*/ 687 h 4671443"/>
              <a:gd name="connsiteX15" fmla="*/ 2139728 w 5006214"/>
              <a:gd name="connsiteY15" fmla="*/ 10755 h 4671443"/>
              <a:gd name="connsiteX16" fmla="*/ 11905 w 5006214"/>
              <a:gd name="connsiteY16" fmla="*/ 2125115 h 4671443"/>
              <a:gd name="connsiteX17" fmla="*/ 341 w 5006214"/>
              <a:gd name="connsiteY17" fmla="*/ 2354124 h 4671443"/>
              <a:gd name="connsiteX18" fmla="*/ 0 w 5006214"/>
              <a:gd name="connsiteY18" fmla="*/ 2354124 h 4671443"/>
              <a:gd name="connsiteX19" fmla="*/ 0 w 5006214"/>
              <a:gd name="connsiteY19" fmla="*/ 4192353 h 4671443"/>
              <a:gd name="connsiteX20" fmla="*/ 911470 w 5006214"/>
              <a:gd name="connsiteY20" fmla="*/ 4192353 h 4671443"/>
              <a:gd name="connsiteX21" fmla="*/ 911470 w 5006214"/>
              <a:gd name="connsiteY21" fmla="*/ 2360795 h 4671443"/>
              <a:gd name="connsiteX22" fmla="*/ 913858 w 5006214"/>
              <a:gd name="connsiteY22" fmla="*/ 2360795 h 4671443"/>
              <a:gd name="connsiteX23" fmla="*/ 921041 w 5006214"/>
              <a:gd name="connsiteY23" fmla="*/ 2218552 h 4671443"/>
              <a:gd name="connsiteX24" fmla="*/ 2227397 w 5006214"/>
              <a:gd name="connsiteY24" fmla="*/ 920461 h 4671443"/>
              <a:gd name="connsiteX25" fmla="*/ 2359421 w 5006214"/>
              <a:gd name="connsiteY25" fmla="*/ 914210 h 4671443"/>
              <a:gd name="connsiteX26" fmla="*/ 2494610 w 5006214"/>
              <a:gd name="connsiteY26" fmla="*/ 921037 h 4671443"/>
              <a:gd name="connsiteX27" fmla="*/ 3799302 w 5006214"/>
              <a:gd name="connsiteY27" fmla="*/ 2366815 h 4671443"/>
              <a:gd name="connsiteX28" fmla="*/ 3799302 w 5006214"/>
              <a:gd name="connsiteY28" fmla="*/ 2366816 h 4671443"/>
              <a:gd name="connsiteX29" fmla="*/ 3801392 w 5006214"/>
              <a:gd name="connsiteY29" fmla="*/ 2366816 h 4671443"/>
              <a:gd name="connsiteX30" fmla="*/ 3801392 w 5006214"/>
              <a:gd name="connsiteY30" fmla="*/ 3928679 h 4671443"/>
              <a:gd name="connsiteX31" fmla="*/ 3520686 w 5006214"/>
              <a:gd name="connsiteY31" fmla="*/ 3928679 h 467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6214" h="4671443">
                <a:moveTo>
                  <a:pt x="4263450" y="4671443"/>
                </a:moveTo>
                <a:lnTo>
                  <a:pt x="5006214" y="3928679"/>
                </a:lnTo>
                <a:lnTo>
                  <a:pt x="4712860" y="3928679"/>
                </a:lnTo>
                <a:lnTo>
                  <a:pt x="4712860" y="2366816"/>
                </a:lnTo>
                <a:lnTo>
                  <a:pt x="4713158" y="2366816"/>
                </a:lnTo>
                <a:lnTo>
                  <a:pt x="4712860" y="2360522"/>
                </a:lnTo>
                <a:lnTo>
                  <a:pt x="4712860" y="2354127"/>
                </a:lnTo>
                <a:lnTo>
                  <a:pt x="4712558" y="2354127"/>
                </a:lnTo>
                <a:lnTo>
                  <a:pt x="4702406" y="2139724"/>
                </a:lnTo>
                <a:cubicBezTo>
                  <a:pt x="4595700" y="1018648"/>
                  <a:pt x="3707088" y="125546"/>
                  <a:pt x="2588047" y="11902"/>
                </a:cubicBezTo>
                <a:lnTo>
                  <a:pt x="2366820" y="730"/>
                </a:lnTo>
                <a:lnTo>
                  <a:pt x="2366820" y="3"/>
                </a:lnTo>
                <a:lnTo>
                  <a:pt x="2359391" y="355"/>
                </a:lnTo>
                <a:lnTo>
                  <a:pt x="2352367" y="0"/>
                </a:lnTo>
                <a:lnTo>
                  <a:pt x="2352367" y="687"/>
                </a:lnTo>
                <a:lnTo>
                  <a:pt x="2139728" y="10755"/>
                </a:lnTo>
                <a:cubicBezTo>
                  <a:pt x="1018651" y="117461"/>
                  <a:pt x="125550" y="1006074"/>
                  <a:pt x="11905" y="2125115"/>
                </a:cubicBezTo>
                <a:lnTo>
                  <a:pt x="341" y="2354124"/>
                </a:lnTo>
                <a:lnTo>
                  <a:pt x="0" y="2354124"/>
                </a:lnTo>
                <a:lnTo>
                  <a:pt x="0" y="4192353"/>
                </a:lnTo>
                <a:lnTo>
                  <a:pt x="911470" y="4192353"/>
                </a:lnTo>
                <a:lnTo>
                  <a:pt x="911470" y="2360795"/>
                </a:lnTo>
                <a:lnTo>
                  <a:pt x="913858" y="2360795"/>
                </a:lnTo>
                <a:lnTo>
                  <a:pt x="921041" y="2218552"/>
                </a:lnTo>
                <a:cubicBezTo>
                  <a:pt x="990813" y="1531528"/>
                  <a:pt x="1539123" y="985972"/>
                  <a:pt x="2227397" y="920461"/>
                </a:cubicBezTo>
                <a:lnTo>
                  <a:pt x="2359421" y="914210"/>
                </a:lnTo>
                <a:lnTo>
                  <a:pt x="2494610" y="921037"/>
                </a:lnTo>
                <a:cubicBezTo>
                  <a:pt x="3227436" y="995460"/>
                  <a:pt x="3799302" y="1614355"/>
                  <a:pt x="3799302" y="2366815"/>
                </a:cubicBezTo>
                <a:lnTo>
                  <a:pt x="3799302" y="2366816"/>
                </a:lnTo>
                <a:lnTo>
                  <a:pt x="3801392" y="2366816"/>
                </a:lnTo>
                <a:lnTo>
                  <a:pt x="3801392" y="3928679"/>
                </a:lnTo>
                <a:lnTo>
                  <a:pt x="3520686" y="3928679"/>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6" name="Freeform 64">
            <a:extLst>
              <a:ext uri="{FF2B5EF4-FFF2-40B4-BE49-F238E27FC236}">
                <a16:creationId xmlns:a16="http://schemas.microsoft.com/office/drawing/2014/main" id="{87D99230-24DF-AB90-5BD3-68C84252C680}"/>
              </a:ext>
            </a:extLst>
          </p:cNvPr>
          <p:cNvSpPr/>
          <p:nvPr/>
        </p:nvSpPr>
        <p:spPr>
          <a:xfrm>
            <a:off x="4674853" y="1520824"/>
            <a:ext cx="2826769" cy="2636780"/>
          </a:xfrm>
          <a:custGeom>
            <a:avLst/>
            <a:gdLst>
              <a:gd name="connsiteX0" fmla="*/ 2354193 w 5008036"/>
              <a:gd name="connsiteY0" fmla="*/ 0 h 4671442"/>
              <a:gd name="connsiteX1" fmla="*/ 2360333 w 5008036"/>
              <a:gd name="connsiteY1" fmla="*/ 310 h 4671442"/>
              <a:gd name="connsiteX2" fmla="*/ 2366818 w 5008036"/>
              <a:gd name="connsiteY2" fmla="*/ 3 h 4671442"/>
              <a:gd name="connsiteX3" fmla="*/ 2366818 w 5008036"/>
              <a:gd name="connsiteY3" fmla="*/ 637 h 4671442"/>
              <a:gd name="connsiteX4" fmla="*/ 2589873 w 5008036"/>
              <a:gd name="connsiteY4" fmla="*/ 11902 h 4671442"/>
              <a:gd name="connsiteX5" fmla="*/ 4704230 w 5008036"/>
              <a:gd name="connsiteY5" fmla="*/ 2139724 h 4671442"/>
              <a:gd name="connsiteX6" fmla="*/ 4714381 w 5008036"/>
              <a:gd name="connsiteY6" fmla="*/ 2354125 h 4671442"/>
              <a:gd name="connsiteX7" fmla="*/ 4714686 w 5008036"/>
              <a:gd name="connsiteY7" fmla="*/ 2354125 h 4671442"/>
              <a:gd name="connsiteX8" fmla="*/ 4714686 w 5008036"/>
              <a:gd name="connsiteY8" fmla="*/ 2360565 h 4671442"/>
              <a:gd name="connsiteX9" fmla="*/ 4714982 w 5008036"/>
              <a:gd name="connsiteY9" fmla="*/ 2366816 h 4671442"/>
              <a:gd name="connsiteX10" fmla="*/ 4714686 w 5008036"/>
              <a:gd name="connsiteY10" fmla="*/ 2366816 h 4671442"/>
              <a:gd name="connsiteX11" fmla="*/ 4714686 w 5008036"/>
              <a:gd name="connsiteY11" fmla="*/ 3928679 h 4671442"/>
              <a:gd name="connsiteX12" fmla="*/ 5008036 w 5008036"/>
              <a:gd name="connsiteY12" fmla="*/ 3928679 h 4671442"/>
              <a:gd name="connsiteX13" fmla="*/ 4265273 w 5008036"/>
              <a:gd name="connsiteY13" fmla="*/ 4671442 h 4671442"/>
              <a:gd name="connsiteX14" fmla="*/ 3522510 w 5008036"/>
              <a:gd name="connsiteY14" fmla="*/ 3928679 h 4671442"/>
              <a:gd name="connsiteX15" fmla="*/ 3803215 w 5008036"/>
              <a:gd name="connsiteY15" fmla="*/ 3928679 h 4671442"/>
              <a:gd name="connsiteX16" fmla="*/ 3803215 w 5008036"/>
              <a:gd name="connsiteY16" fmla="*/ 2366816 h 4671442"/>
              <a:gd name="connsiteX17" fmla="*/ 3801126 w 5008036"/>
              <a:gd name="connsiteY17" fmla="*/ 2366816 h 4671442"/>
              <a:gd name="connsiteX18" fmla="*/ 3801126 w 5008036"/>
              <a:gd name="connsiteY18" fmla="*/ 2366815 h 4671442"/>
              <a:gd name="connsiteX19" fmla="*/ 2496435 w 5008036"/>
              <a:gd name="connsiteY19" fmla="*/ 921037 h 4671442"/>
              <a:gd name="connsiteX20" fmla="*/ 2360353 w 5008036"/>
              <a:gd name="connsiteY20" fmla="*/ 914165 h 4671442"/>
              <a:gd name="connsiteX21" fmla="*/ 2227396 w 5008036"/>
              <a:gd name="connsiteY21" fmla="*/ 920461 h 4671442"/>
              <a:gd name="connsiteX22" fmla="*/ 921040 w 5008036"/>
              <a:gd name="connsiteY22" fmla="*/ 2218551 h 4671442"/>
              <a:gd name="connsiteX23" fmla="*/ 913857 w 5008036"/>
              <a:gd name="connsiteY23" fmla="*/ 2360794 h 4671442"/>
              <a:gd name="connsiteX24" fmla="*/ 911471 w 5008036"/>
              <a:gd name="connsiteY24" fmla="*/ 2360794 h 4671442"/>
              <a:gd name="connsiteX25" fmla="*/ 911471 w 5008036"/>
              <a:gd name="connsiteY25" fmla="*/ 4192352 h 4671442"/>
              <a:gd name="connsiteX26" fmla="*/ 0 w 5008036"/>
              <a:gd name="connsiteY26" fmla="*/ 4192352 h 4671442"/>
              <a:gd name="connsiteX27" fmla="*/ 0 w 5008036"/>
              <a:gd name="connsiteY27" fmla="*/ 2354123 h 4671442"/>
              <a:gd name="connsiteX28" fmla="*/ 340 w 5008036"/>
              <a:gd name="connsiteY28" fmla="*/ 2354123 h 4671442"/>
              <a:gd name="connsiteX29" fmla="*/ 11905 w 5008036"/>
              <a:gd name="connsiteY29" fmla="*/ 2125114 h 4671442"/>
              <a:gd name="connsiteX30" fmla="*/ 2139726 w 5008036"/>
              <a:gd name="connsiteY30" fmla="*/ 10755 h 4671442"/>
              <a:gd name="connsiteX31" fmla="*/ 2354193 w 5008036"/>
              <a:gd name="connsiteY31" fmla="*/ 601 h 467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36" h="4671442">
                <a:moveTo>
                  <a:pt x="2354193" y="0"/>
                </a:moveTo>
                <a:lnTo>
                  <a:pt x="2360333" y="310"/>
                </a:lnTo>
                <a:lnTo>
                  <a:pt x="2366818" y="3"/>
                </a:lnTo>
                <a:lnTo>
                  <a:pt x="2366818" y="637"/>
                </a:lnTo>
                <a:lnTo>
                  <a:pt x="2589873" y="11902"/>
                </a:lnTo>
                <a:cubicBezTo>
                  <a:pt x="3708912" y="125546"/>
                  <a:pt x="4597525" y="1018647"/>
                  <a:pt x="4704230" y="2139724"/>
                </a:cubicBezTo>
                <a:lnTo>
                  <a:pt x="4714381" y="2354125"/>
                </a:lnTo>
                <a:lnTo>
                  <a:pt x="4714686" y="2354125"/>
                </a:lnTo>
                <a:lnTo>
                  <a:pt x="4714686" y="2360565"/>
                </a:lnTo>
                <a:lnTo>
                  <a:pt x="4714982" y="2366816"/>
                </a:lnTo>
                <a:lnTo>
                  <a:pt x="4714686" y="2366816"/>
                </a:lnTo>
                <a:lnTo>
                  <a:pt x="4714686" y="3928679"/>
                </a:lnTo>
                <a:lnTo>
                  <a:pt x="5008036" y="3928679"/>
                </a:lnTo>
                <a:lnTo>
                  <a:pt x="4265273" y="4671442"/>
                </a:lnTo>
                <a:lnTo>
                  <a:pt x="3522510" y="3928679"/>
                </a:lnTo>
                <a:lnTo>
                  <a:pt x="3803215" y="3928679"/>
                </a:lnTo>
                <a:lnTo>
                  <a:pt x="3803215" y="2366816"/>
                </a:lnTo>
                <a:lnTo>
                  <a:pt x="3801126" y="2366816"/>
                </a:lnTo>
                <a:lnTo>
                  <a:pt x="3801126" y="2366815"/>
                </a:lnTo>
                <a:cubicBezTo>
                  <a:pt x="3801126" y="1614355"/>
                  <a:pt x="3229261" y="995460"/>
                  <a:pt x="2496435" y="921037"/>
                </a:cubicBezTo>
                <a:lnTo>
                  <a:pt x="2360353" y="914165"/>
                </a:lnTo>
                <a:lnTo>
                  <a:pt x="2227396" y="920461"/>
                </a:lnTo>
                <a:cubicBezTo>
                  <a:pt x="1539122" y="985971"/>
                  <a:pt x="990812" y="1531526"/>
                  <a:pt x="921040" y="2218551"/>
                </a:cubicBezTo>
                <a:lnTo>
                  <a:pt x="913857" y="2360794"/>
                </a:lnTo>
                <a:lnTo>
                  <a:pt x="911471" y="2360794"/>
                </a:lnTo>
                <a:lnTo>
                  <a:pt x="911471" y="4192352"/>
                </a:lnTo>
                <a:lnTo>
                  <a:pt x="0" y="4192352"/>
                </a:lnTo>
                <a:lnTo>
                  <a:pt x="0" y="2354123"/>
                </a:lnTo>
                <a:lnTo>
                  <a:pt x="340" y="2354123"/>
                </a:lnTo>
                <a:lnTo>
                  <a:pt x="11905" y="2125114"/>
                </a:lnTo>
                <a:cubicBezTo>
                  <a:pt x="125549" y="1006073"/>
                  <a:pt x="1018650" y="117461"/>
                  <a:pt x="2139726" y="10755"/>
                </a:cubicBezTo>
                <a:lnTo>
                  <a:pt x="2354193" y="601"/>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sz="4000" dirty="0"/>
          </a:p>
        </p:txBody>
      </p:sp>
      <p:sp>
        <p:nvSpPr>
          <p:cNvPr id="7" name="Freeform 63">
            <a:extLst>
              <a:ext uri="{FF2B5EF4-FFF2-40B4-BE49-F238E27FC236}">
                <a16:creationId xmlns:a16="http://schemas.microsoft.com/office/drawing/2014/main" id="{D3F66CCA-605E-4DD8-36CC-0084B21E5111}"/>
              </a:ext>
            </a:extLst>
          </p:cNvPr>
          <p:cNvSpPr/>
          <p:nvPr/>
        </p:nvSpPr>
        <p:spPr>
          <a:xfrm rot="16200000" flipH="1">
            <a:off x="2625364" y="3495919"/>
            <a:ext cx="2636780" cy="2825741"/>
          </a:xfrm>
          <a:custGeom>
            <a:avLst/>
            <a:gdLst>
              <a:gd name="connsiteX0" fmla="*/ 0 w 4671443"/>
              <a:gd name="connsiteY0" fmla="*/ 4263451 h 5006214"/>
              <a:gd name="connsiteX1" fmla="*/ 742763 w 4671443"/>
              <a:gd name="connsiteY1" fmla="*/ 5006214 h 5006214"/>
              <a:gd name="connsiteX2" fmla="*/ 742763 w 4671443"/>
              <a:gd name="connsiteY2" fmla="*/ 4712862 h 5006214"/>
              <a:gd name="connsiteX3" fmla="*/ 2304626 w 4671443"/>
              <a:gd name="connsiteY3" fmla="*/ 4712862 h 5006214"/>
              <a:gd name="connsiteX4" fmla="*/ 2304626 w 4671443"/>
              <a:gd name="connsiteY4" fmla="*/ 4713159 h 5006214"/>
              <a:gd name="connsiteX5" fmla="*/ 2310900 w 4671443"/>
              <a:gd name="connsiteY5" fmla="*/ 4712862 h 5006214"/>
              <a:gd name="connsiteX6" fmla="*/ 2317316 w 4671443"/>
              <a:gd name="connsiteY6" fmla="*/ 4712862 h 5006214"/>
              <a:gd name="connsiteX7" fmla="*/ 2317316 w 4671443"/>
              <a:gd name="connsiteY7" fmla="*/ 4712558 h 5006214"/>
              <a:gd name="connsiteX8" fmla="*/ 2531719 w 4671443"/>
              <a:gd name="connsiteY8" fmla="*/ 4702407 h 5006214"/>
              <a:gd name="connsiteX9" fmla="*/ 4659541 w 4671443"/>
              <a:gd name="connsiteY9" fmla="*/ 2588048 h 5006214"/>
              <a:gd name="connsiteX10" fmla="*/ 4670713 w 4671443"/>
              <a:gd name="connsiteY10" fmla="*/ 2366820 h 5006214"/>
              <a:gd name="connsiteX11" fmla="*/ 4671440 w 4671443"/>
              <a:gd name="connsiteY11" fmla="*/ 2366820 h 5006214"/>
              <a:gd name="connsiteX12" fmla="*/ 4671088 w 4671443"/>
              <a:gd name="connsiteY12" fmla="*/ 2359392 h 5006214"/>
              <a:gd name="connsiteX13" fmla="*/ 4671443 w 4671443"/>
              <a:gd name="connsiteY13" fmla="*/ 2352368 h 5006214"/>
              <a:gd name="connsiteX14" fmla="*/ 4670756 w 4671443"/>
              <a:gd name="connsiteY14" fmla="*/ 2352368 h 5006214"/>
              <a:gd name="connsiteX15" fmla="*/ 4660688 w 4671443"/>
              <a:gd name="connsiteY15" fmla="*/ 2139729 h 5006214"/>
              <a:gd name="connsiteX16" fmla="*/ 2546328 w 4671443"/>
              <a:gd name="connsiteY16" fmla="*/ 11906 h 5006214"/>
              <a:gd name="connsiteX17" fmla="*/ 2317319 w 4671443"/>
              <a:gd name="connsiteY17" fmla="*/ 341 h 5006214"/>
              <a:gd name="connsiteX18" fmla="*/ 2317319 w 4671443"/>
              <a:gd name="connsiteY18" fmla="*/ 0 h 5006214"/>
              <a:gd name="connsiteX19" fmla="*/ 479089 w 4671443"/>
              <a:gd name="connsiteY19" fmla="*/ 0 h 5006214"/>
              <a:gd name="connsiteX20" fmla="*/ 479089 w 4671443"/>
              <a:gd name="connsiteY20" fmla="*/ 911471 h 5006214"/>
              <a:gd name="connsiteX21" fmla="*/ 2310647 w 4671443"/>
              <a:gd name="connsiteY21" fmla="*/ 911471 h 5006214"/>
              <a:gd name="connsiteX22" fmla="*/ 2310647 w 4671443"/>
              <a:gd name="connsiteY22" fmla="*/ 913859 h 5006214"/>
              <a:gd name="connsiteX23" fmla="*/ 2452891 w 4671443"/>
              <a:gd name="connsiteY23" fmla="*/ 921041 h 5006214"/>
              <a:gd name="connsiteX24" fmla="*/ 3750982 w 4671443"/>
              <a:gd name="connsiteY24" fmla="*/ 2227398 h 5006214"/>
              <a:gd name="connsiteX25" fmla="*/ 3757233 w 4671443"/>
              <a:gd name="connsiteY25" fmla="*/ 2359422 h 5006214"/>
              <a:gd name="connsiteX26" fmla="*/ 3750406 w 4671443"/>
              <a:gd name="connsiteY26" fmla="*/ 2494611 h 5006214"/>
              <a:gd name="connsiteX27" fmla="*/ 2304627 w 4671443"/>
              <a:gd name="connsiteY27" fmla="*/ 3799303 h 5006214"/>
              <a:gd name="connsiteX28" fmla="*/ 2304626 w 4671443"/>
              <a:gd name="connsiteY28" fmla="*/ 3799303 h 5006214"/>
              <a:gd name="connsiteX29" fmla="*/ 2304626 w 4671443"/>
              <a:gd name="connsiteY29" fmla="*/ 3801392 h 5006214"/>
              <a:gd name="connsiteX30" fmla="*/ 742763 w 4671443"/>
              <a:gd name="connsiteY30" fmla="*/ 3801392 h 5006214"/>
              <a:gd name="connsiteX31" fmla="*/ 742763 w 4671443"/>
              <a:gd name="connsiteY31" fmla="*/ 3520688 h 500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71443" h="5006214">
                <a:moveTo>
                  <a:pt x="0" y="4263451"/>
                </a:moveTo>
                <a:lnTo>
                  <a:pt x="742763" y="5006214"/>
                </a:lnTo>
                <a:lnTo>
                  <a:pt x="742763" y="4712862"/>
                </a:lnTo>
                <a:lnTo>
                  <a:pt x="2304626" y="4712862"/>
                </a:lnTo>
                <a:lnTo>
                  <a:pt x="2304626" y="4713159"/>
                </a:lnTo>
                <a:lnTo>
                  <a:pt x="2310900" y="4712862"/>
                </a:lnTo>
                <a:lnTo>
                  <a:pt x="2317316" y="4712862"/>
                </a:lnTo>
                <a:lnTo>
                  <a:pt x="2317316" y="4712558"/>
                </a:lnTo>
                <a:lnTo>
                  <a:pt x="2531719" y="4702407"/>
                </a:lnTo>
                <a:cubicBezTo>
                  <a:pt x="3652795" y="4595701"/>
                  <a:pt x="4545897" y="3707088"/>
                  <a:pt x="4659541" y="2588048"/>
                </a:cubicBezTo>
                <a:lnTo>
                  <a:pt x="4670713" y="2366820"/>
                </a:lnTo>
                <a:lnTo>
                  <a:pt x="4671440" y="2366820"/>
                </a:lnTo>
                <a:lnTo>
                  <a:pt x="4671088" y="2359392"/>
                </a:lnTo>
                <a:lnTo>
                  <a:pt x="4671443" y="2352368"/>
                </a:lnTo>
                <a:lnTo>
                  <a:pt x="4670756" y="2352368"/>
                </a:lnTo>
                <a:lnTo>
                  <a:pt x="4660688" y="2139729"/>
                </a:lnTo>
                <a:cubicBezTo>
                  <a:pt x="4553982" y="1018652"/>
                  <a:pt x="3665369" y="125551"/>
                  <a:pt x="2546328" y="11906"/>
                </a:cubicBezTo>
                <a:lnTo>
                  <a:pt x="2317319" y="341"/>
                </a:lnTo>
                <a:lnTo>
                  <a:pt x="2317319" y="0"/>
                </a:lnTo>
                <a:lnTo>
                  <a:pt x="479089" y="0"/>
                </a:lnTo>
                <a:lnTo>
                  <a:pt x="479089" y="911471"/>
                </a:lnTo>
                <a:lnTo>
                  <a:pt x="2310647" y="911471"/>
                </a:lnTo>
                <a:lnTo>
                  <a:pt x="2310647" y="913859"/>
                </a:lnTo>
                <a:lnTo>
                  <a:pt x="2452891" y="921041"/>
                </a:lnTo>
                <a:cubicBezTo>
                  <a:pt x="3139915" y="990813"/>
                  <a:pt x="3685471" y="1539124"/>
                  <a:pt x="3750982" y="2227398"/>
                </a:cubicBezTo>
                <a:lnTo>
                  <a:pt x="3757233" y="2359422"/>
                </a:lnTo>
                <a:lnTo>
                  <a:pt x="3750406" y="2494611"/>
                </a:lnTo>
                <a:cubicBezTo>
                  <a:pt x="3675983" y="3227437"/>
                  <a:pt x="3057088" y="3799303"/>
                  <a:pt x="2304627" y="3799303"/>
                </a:cubicBezTo>
                <a:lnTo>
                  <a:pt x="2304626" y="3799303"/>
                </a:lnTo>
                <a:lnTo>
                  <a:pt x="2304626" y="3801392"/>
                </a:lnTo>
                <a:lnTo>
                  <a:pt x="742763" y="3801392"/>
                </a:lnTo>
                <a:lnTo>
                  <a:pt x="742763" y="352068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8" name="Freeform 62">
            <a:extLst>
              <a:ext uri="{FF2B5EF4-FFF2-40B4-BE49-F238E27FC236}">
                <a16:creationId xmlns:a16="http://schemas.microsoft.com/office/drawing/2014/main" id="{A541B054-E005-DED0-D76D-89608E552E85}"/>
              </a:ext>
            </a:extLst>
          </p:cNvPr>
          <p:cNvSpPr/>
          <p:nvPr/>
        </p:nvSpPr>
        <p:spPr>
          <a:xfrm>
            <a:off x="384174" y="1520824"/>
            <a:ext cx="2826772" cy="2636781"/>
          </a:xfrm>
          <a:custGeom>
            <a:avLst/>
            <a:gdLst>
              <a:gd name="connsiteX0" fmla="*/ 2354193 w 5008041"/>
              <a:gd name="connsiteY0" fmla="*/ 0 h 4671444"/>
              <a:gd name="connsiteX1" fmla="*/ 2360354 w 5008041"/>
              <a:gd name="connsiteY1" fmla="*/ 311 h 4671444"/>
              <a:gd name="connsiteX2" fmla="*/ 2366818 w 5008041"/>
              <a:gd name="connsiteY2" fmla="*/ 5 h 4671444"/>
              <a:gd name="connsiteX3" fmla="*/ 2366818 w 5008041"/>
              <a:gd name="connsiteY3" fmla="*/ 638 h 4671444"/>
              <a:gd name="connsiteX4" fmla="*/ 2589873 w 5008041"/>
              <a:gd name="connsiteY4" fmla="*/ 11902 h 4671444"/>
              <a:gd name="connsiteX5" fmla="*/ 4704230 w 5008041"/>
              <a:gd name="connsiteY5" fmla="*/ 2139725 h 4671444"/>
              <a:gd name="connsiteX6" fmla="*/ 4714381 w 5008041"/>
              <a:gd name="connsiteY6" fmla="*/ 2354123 h 4671444"/>
              <a:gd name="connsiteX7" fmla="*/ 4714684 w 5008041"/>
              <a:gd name="connsiteY7" fmla="*/ 2354123 h 4671444"/>
              <a:gd name="connsiteX8" fmla="*/ 4714684 w 5008041"/>
              <a:gd name="connsiteY8" fmla="*/ 2360523 h 4671444"/>
              <a:gd name="connsiteX9" fmla="*/ 4714982 w 5008041"/>
              <a:gd name="connsiteY9" fmla="*/ 2366816 h 4671444"/>
              <a:gd name="connsiteX10" fmla="*/ 4714684 w 5008041"/>
              <a:gd name="connsiteY10" fmla="*/ 2366816 h 4671444"/>
              <a:gd name="connsiteX11" fmla="*/ 4714684 w 5008041"/>
              <a:gd name="connsiteY11" fmla="*/ 3928681 h 4671444"/>
              <a:gd name="connsiteX12" fmla="*/ 5008041 w 5008041"/>
              <a:gd name="connsiteY12" fmla="*/ 3928681 h 4671444"/>
              <a:gd name="connsiteX13" fmla="*/ 4265277 w 5008041"/>
              <a:gd name="connsiteY13" fmla="*/ 4671444 h 4671444"/>
              <a:gd name="connsiteX14" fmla="*/ 3522514 w 5008041"/>
              <a:gd name="connsiteY14" fmla="*/ 3928681 h 4671444"/>
              <a:gd name="connsiteX15" fmla="*/ 3803213 w 5008041"/>
              <a:gd name="connsiteY15" fmla="*/ 3928681 h 4671444"/>
              <a:gd name="connsiteX16" fmla="*/ 3803213 w 5008041"/>
              <a:gd name="connsiteY16" fmla="*/ 2366816 h 4671444"/>
              <a:gd name="connsiteX17" fmla="*/ 3801127 w 5008041"/>
              <a:gd name="connsiteY17" fmla="*/ 2366816 h 4671444"/>
              <a:gd name="connsiteX18" fmla="*/ 3801127 w 5008041"/>
              <a:gd name="connsiteY18" fmla="*/ 2366815 h 4671444"/>
              <a:gd name="connsiteX19" fmla="*/ 2496436 w 5008041"/>
              <a:gd name="connsiteY19" fmla="*/ 921037 h 4671444"/>
              <a:gd name="connsiteX20" fmla="*/ 2360374 w 5008041"/>
              <a:gd name="connsiteY20" fmla="*/ 914167 h 4671444"/>
              <a:gd name="connsiteX21" fmla="*/ 2227396 w 5008041"/>
              <a:gd name="connsiteY21" fmla="*/ 920463 h 4671444"/>
              <a:gd name="connsiteX22" fmla="*/ 921040 w 5008041"/>
              <a:gd name="connsiteY22" fmla="*/ 2218554 h 4671444"/>
              <a:gd name="connsiteX23" fmla="*/ 913857 w 5008041"/>
              <a:gd name="connsiteY23" fmla="*/ 2360796 h 4671444"/>
              <a:gd name="connsiteX24" fmla="*/ 911471 w 5008041"/>
              <a:gd name="connsiteY24" fmla="*/ 2360796 h 4671444"/>
              <a:gd name="connsiteX25" fmla="*/ 911471 w 5008041"/>
              <a:gd name="connsiteY25" fmla="*/ 4192352 h 4671444"/>
              <a:gd name="connsiteX26" fmla="*/ 0 w 5008041"/>
              <a:gd name="connsiteY26" fmla="*/ 4192352 h 4671444"/>
              <a:gd name="connsiteX27" fmla="*/ 0 w 5008041"/>
              <a:gd name="connsiteY27" fmla="*/ 2354123 h 4671444"/>
              <a:gd name="connsiteX28" fmla="*/ 340 w 5008041"/>
              <a:gd name="connsiteY28" fmla="*/ 2354123 h 4671444"/>
              <a:gd name="connsiteX29" fmla="*/ 11905 w 5008041"/>
              <a:gd name="connsiteY29" fmla="*/ 2125116 h 4671444"/>
              <a:gd name="connsiteX30" fmla="*/ 2139726 w 5008041"/>
              <a:gd name="connsiteY30" fmla="*/ 10757 h 4671444"/>
              <a:gd name="connsiteX31" fmla="*/ 2354193 w 5008041"/>
              <a:gd name="connsiteY31" fmla="*/ 603 h 467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008041" h="4671444">
                <a:moveTo>
                  <a:pt x="2354193" y="0"/>
                </a:moveTo>
                <a:lnTo>
                  <a:pt x="2360354" y="311"/>
                </a:lnTo>
                <a:lnTo>
                  <a:pt x="2366818" y="5"/>
                </a:lnTo>
                <a:lnTo>
                  <a:pt x="2366818" y="638"/>
                </a:lnTo>
                <a:lnTo>
                  <a:pt x="2589873" y="11902"/>
                </a:lnTo>
                <a:cubicBezTo>
                  <a:pt x="3708913" y="125546"/>
                  <a:pt x="4597525" y="1018648"/>
                  <a:pt x="4704230" y="2139725"/>
                </a:cubicBezTo>
                <a:lnTo>
                  <a:pt x="4714381" y="2354123"/>
                </a:lnTo>
                <a:lnTo>
                  <a:pt x="4714684" y="2354123"/>
                </a:lnTo>
                <a:lnTo>
                  <a:pt x="4714684" y="2360523"/>
                </a:lnTo>
                <a:lnTo>
                  <a:pt x="4714982" y="2366816"/>
                </a:lnTo>
                <a:lnTo>
                  <a:pt x="4714684" y="2366816"/>
                </a:lnTo>
                <a:lnTo>
                  <a:pt x="4714684" y="3928681"/>
                </a:lnTo>
                <a:lnTo>
                  <a:pt x="5008041" y="3928681"/>
                </a:lnTo>
                <a:lnTo>
                  <a:pt x="4265277" y="4671444"/>
                </a:lnTo>
                <a:lnTo>
                  <a:pt x="3522514" y="3928681"/>
                </a:lnTo>
                <a:lnTo>
                  <a:pt x="3803213" y="3928681"/>
                </a:lnTo>
                <a:lnTo>
                  <a:pt x="3803213" y="2366816"/>
                </a:lnTo>
                <a:lnTo>
                  <a:pt x="3801127" y="2366816"/>
                </a:lnTo>
                <a:lnTo>
                  <a:pt x="3801127" y="2366815"/>
                </a:lnTo>
                <a:cubicBezTo>
                  <a:pt x="3801127" y="1614355"/>
                  <a:pt x="3229261" y="995460"/>
                  <a:pt x="2496436" y="921037"/>
                </a:cubicBezTo>
                <a:lnTo>
                  <a:pt x="2360374" y="914167"/>
                </a:lnTo>
                <a:lnTo>
                  <a:pt x="2227396" y="920463"/>
                </a:lnTo>
                <a:cubicBezTo>
                  <a:pt x="1539122" y="985974"/>
                  <a:pt x="990811" y="1531529"/>
                  <a:pt x="921040" y="2218554"/>
                </a:cubicBezTo>
                <a:lnTo>
                  <a:pt x="913857" y="2360796"/>
                </a:lnTo>
                <a:lnTo>
                  <a:pt x="911471" y="2360796"/>
                </a:lnTo>
                <a:lnTo>
                  <a:pt x="911471" y="4192352"/>
                </a:lnTo>
                <a:lnTo>
                  <a:pt x="0" y="4192352"/>
                </a:lnTo>
                <a:lnTo>
                  <a:pt x="0" y="2354123"/>
                </a:lnTo>
                <a:lnTo>
                  <a:pt x="340" y="2354123"/>
                </a:lnTo>
                <a:lnTo>
                  <a:pt x="11905" y="2125116"/>
                </a:lnTo>
                <a:cubicBezTo>
                  <a:pt x="125549" y="1006076"/>
                  <a:pt x="1018650" y="117463"/>
                  <a:pt x="2139726" y="10757"/>
                </a:cubicBezTo>
                <a:lnTo>
                  <a:pt x="2354193" y="60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p>
        </p:txBody>
      </p:sp>
      <p:sp>
        <p:nvSpPr>
          <p:cNvPr id="9" name="Freeform 984">
            <a:extLst>
              <a:ext uri="{FF2B5EF4-FFF2-40B4-BE49-F238E27FC236}">
                <a16:creationId xmlns:a16="http://schemas.microsoft.com/office/drawing/2014/main" id="{E618E375-6072-17C8-BE59-F53E279572CF}"/>
              </a:ext>
            </a:extLst>
          </p:cNvPr>
          <p:cNvSpPr>
            <a:spLocks noChangeAspect="1" noChangeArrowheads="1"/>
          </p:cNvSpPr>
          <p:nvPr/>
        </p:nvSpPr>
        <p:spPr bwMode="auto">
          <a:xfrm>
            <a:off x="1510354" y="3368955"/>
            <a:ext cx="450142" cy="591428"/>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accent1"/>
          </a:solidFill>
          <a:ln>
            <a:noFill/>
          </a:ln>
          <a:effectLst/>
        </p:spPr>
        <p:txBody>
          <a:bodyPr anchor="ctr"/>
          <a:lstStyle/>
          <a:p>
            <a:endParaRPr lang="en-US" sz="1000" dirty="0"/>
          </a:p>
        </p:txBody>
      </p:sp>
      <p:sp>
        <p:nvSpPr>
          <p:cNvPr id="10" name="Freeform 985">
            <a:extLst>
              <a:ext uri="{FF2B5EF4-FFF2-40B4-BE49-F238E27FC236}">
                <a16:creationId xmlns:a16="http://schemas.microsoft.com/office/drawing/2014/main" id="{7F15DA6F-5407-1F67-4C71-15E342D18504}"/>
              </a:ext>
            </a:extLst>
          </p:cNvPr>
          <p:cNvSpPr>
            <a:spLocks noChangeAspect="1" noChangeArrowheads="1"/>
          </p:cNvSpPr>
          <p:nvPr/>
        </p:nvSpPr>
        <p:spPr bwMode="auto">
          <a:xfrm>
            <a:off x="3600215" y="3368954"/>
            <a:ext cx="591432" cy="59143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tx2"/>
          </a:solidFill>
          <a:ln>
            <a:noFill/>
          </a:ln>
          <a:effectLst/>
        </p:spPr>
        <p:txBody>
          <a:bodyPr anchor="ctr"/>
          <a:lstStyle/>
          <a:p>
            <a:endParaRPr lang="en-US" sz="1000" dirty="0"/>
          </a:p>
        </p:txBody>
      </p:sp>
      <p:sp>
        <p:nvSpPr>
          <p:cNvPr id="11" name="Freeform 986">
            <a:extLst>
              <a:ext uri="{FF2B5EF4-FFF2-40B4-BE49-F238E27FC236}">
                <a16:creationId xmlns:a16="http://schemas.microsoft.com/office/drawing/2014/main" id="{0F0C55E7-55F4-0F0A-C95F-2C14FEAF2AFC}"/>
              </a:ext>
            </a:extLst>
          </p:cNvPr>
          <p:cNvSpPr>
            <a:spLocks noChangeAspect="1" noChangeArrowheads="1"/>
          </p:cNvSpPr>
          <p:nvPr/>
        </p:nvSpPr>
        <p:spPr bwMode="auto">
          <a:xfrm>
            <a:off x="5708974" y="3368954"/>
            <a:ext cx="591432" cy="59143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accent2"/>
          </a:solidFill>
          <a:ln>
            <a:noFill/>
          </a:ln>
          <a:effectLst/>
        </p:spPr>
        <p:txBody>
          <a:bodyPr anchor="ctr"/>
          <a:lstStyle/>
          <a:p>
            <a:endParaRPr lang="en-US" sz="1000" dirty="0"/>
          </a:p>
        </p:txBody>
      </p:sp>
      <p:sp>
        <p:nvSpPr>
          <p:cNvPr id="12" name="Freeform 987">
            <a:extLst>
              <a:ext uri="{FF2B5EF4-FFF2-40B4-BE49-F238E27FC236}">
                <a16:creationId xmlns:a16="http://schemas.microsoft.com/office/drawing/2014/main" id="{5095D311-0DDA-26F4-65A8-A50112D14F54}"/>
              </a:ext>
            </a:extLst>
          </p:cNvPr>
          <p:cNvSpPr>
            <a:spLocks noChangeAspect="1" noChangeArrowheads="1"/>
          </p:cNvSpPr>
          <p:nvPr/>
        </p:nvSpPr>
        <p:spPr bwMode="auto">
          <a:xfrm>
            <a:off x="7864577" y="3368954"/>
            <a:ext cx="591432" cy="59143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accent3"/>
          </a:solidFill>
          <a:ln>
            <a:noFill/>
          </a:ln>
          <a:effectLst/>
        </p:spPr>
        <p:txBody>
          <a:bodyPr anchor="ctr"/>
          <a:lstStyle/>
          <a:p>
            <a:endParaRPr lang="en-US" sz="1000" dirty="0"/>
          </a:p>
        </p:txBody>
      </p:sp>
      <p:sp>
        <p:nvSpPr>
          <p:cNvPr id="13" name="Freeform 988">
            <a:extLst>
              <a:ext uri="{FF2B5EF4-FFF2-40B4-BE49-F238E27FC236}">
                <a16:creationId xmlns:a16="http://schemas.microsoft.com/office/drawing/2014/main" id="{D5A8F165-6E78-27FB-0B44-D430454BE206}"/>
              </a:ext>
            </a:extLst>
          </p:cNvPr>
          <p:cNvSpPr>
            <a:spLocks noChangeAspect="1" noChangeArrowheads="1"/>
          </p:cNvSpPr>
          <p:nvPr/>
        </p:nvSpPr>
        <p:spPr bwMode="auto">
          <a:xfrm>
            <a:off x="10017301" y="3368954"/>
            <a:ext cx="591432" cy="59143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accent4"/>
          </a:solidFill>
          <a:ln>
            <a:noFill/>
          </a:ln>
          <a:effectLst/>
        </p:spPr>
        <p:txBody>
          <a:bodyPr anchor="ctr"/>
          <a:lstStyle/>
          <a:p>
            <a:endParaRPr lang="en-US" sz="1000" dirty="0"/>
          </a:p>
        </p:txBody>
      </p:sp>
      <p:sp>
        <p:nvSpPr>
          <p:cNvPr id="14" name="TextBox 74">
            <a:extLst>
              <a:ext uri="{FF2B5EF4-FFF2-40B4-BE49-F238E27FC236}">
                <a16:creationId xmlns:a16="http://schemas.microsoft.com/office/drawing/2014/main" id="{0771551C-2672-4411-D7A0-D2FD2D5005E4}"/>
              </a:ext>
            </a:extLst>
          </p:cNvPr>
          <p:cNvSpPr txBox="1"/>
          <p:nvPr/>
        </p:nvSpPr>
        <p:spPr>
          <a:xfrm>
            <a:off x="1215958" y="4434362"/>
            <a:ext cx="1398645" cy="369332"/>
          </a:xfrm>
          <a:prstGeom prst="rect">
            <a:avLst/>
          </a:prstGeom>
          <a:noFill/>
        </p:spPr>
        <p:txBody>
          <a:bodyPr wrap="square" lIns="0" tIns="0" rIns="0" bIns="0" rtlCol="0" anchor="b">
            <a:noAutofit/>
          </a:bodyPr>
          <a:lstStyle>
            <a:defPPr>
              <a:defRPr lang="en-US"/>
            </a:defPPr>
            <a:lvl1pPr algn="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5" name="Subtitle 2">
            <a:extLst>
              <a:ext uri="{FF2B5EF4-FFF2-40B4-BE49-F238E27FC236}">
                <a16:creationId xmlns:a16="http://schemas.microsoft.com/office/drawing/2014/main" id="{35D0B00D-1541-93B2-A23F-6F0D61D79CA4}"/>
              </a:ext>
            </a:extLst>
          </p:cNvPr>
          <p:cNvSpPr txBox="1">
            <a:spLocks/>
          </p:cNvSpPr>
          <p:nvPr/>
        </p:nvSpPr>
        <p:spPr>
          <a:xfrm>
            <a:off x="1215958" y="4844506"/>
            <a:ext cx="1398645" cy="738664"/>
          </a:xfrm>
          <a:prstGeom prst="rect">
            <a:avLst/>
          </a:prstGeom>
          <a:noFill/>
        </p:spPr>
        <p:txBody>
          <a:bodyPr wrap="square" lIns="0" tIns="0" rIns="0" bIns="0" rtlCol="0">
            <a:spAutoFit/>
          </a:bodyPr>
          <a:lstStyle>
            <a:defPPr>
              <a:defRPr lang="en-US"/>
            </a:defPPr>
            <a:lvl1pPr algn="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6" name="TextBox 77">
            <a:extLst>
              <a:ext uri="{FF2B5EF4-FFF2-40B4-BE49-F238E27FC236}">
                <a16:creationId xmlns:a16="http://schemas.microsoft.com/office/drawing/2014/main" id="{D8149F31-BB3F-6A16-8A0D-429E1EE048AB}"/>
              </a:ext>
            </a:extLst>
          </p:cNvPr>
          <p:cNvSpPr txBox="1"/>
          <p:nvPr/>
        </p:nvSpPr>
        <p:spPr>
          <a:xfrm>
            <a:off x="5534889"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7" name="Subtitle 2">
            <a:extLst>
              <a:ext uri="{FF2B5EF4-FFF2-40B4-BE49-F238E27FC236}">
                <a16:creationId xmlns:a16="http://schemas.microsoft.com/office/drawing/2014/main" id="{1FD26C69-6929-D25A-E5B1-10AABA02B3BD}"/>
              </a:ext>
            </a:extLst>
          </p:cNvPr>
          <p:cNvSpPr txBox="1">
            <a:spLocks/>
          </p:cNvSpPr>
          <p:nvPr/>
        </p:nvSpPr>
        <p:spPr>
          <a:xfrm>
            <a:off x="5505735"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8" name="TextBox 79">
            <a:extLst>
              <a:ext uri="{FF2B5EF4-FFF2-40B4-BE49-F238E27FC236}">
                <a16:creationId xmlns:a16="http://schemas.microsoft.com/office/drawing/2014/main" id="{11DF0662-4ABF-6595-525F-02416FE6A6C6}"/>
              </a:ext>
            </a:extLst>
          </p:cNvPr>
          <p:cNvSpPr txBox="1"/>
          <p:nvPr/>
        </p:nvSpPr>
        <p:spPr>
          <a:xfrm>
            <a:off x="9839455" y="4434362"/>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19" name="Subtitle 2">
            <a:extLst>
              <a:ext uri="{FF2B5EF4-FFF2-40B4-BE49-F238E27FC236}">
                <a16:creationId xmlns:a16="http://schemas.microsoft.com/office/drawing/2014/main" id="{7244A4AA-C6B6-E2C8-2A89-1AAB816271F0}"/>
              </a:ext>
            </a:extLst>
          </p:cNvPr>
          <p:cNvSpPr txBox="1">
            <a:spLocks/>
          </p:cNvSpPr>
          <p:nvPr/>
        </p:nvSpPr>
        <p:spPr>
          <a:xfrm>
            <a:off x="9810301" y="4844506"/>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Box 81">
            <a:extLst>
              <a:ext uri="{FF2B5EF4-FFF2-40B4-BE49-F238E27FC236}">
                <a16:creationId xmlns:a16="http://schemas.microsoft.com/office/drawing/2014/main" id="{667C3244-7F89-D570-0707-E8E88084FA7B}"/>
              </a:ext>
            </a:extLst>
          </p:cNvPr>
          <p:cNvSpPr txBox="1"/>
          <p:nvPr/>
        </p:nvSpPr>
        <p:spPr>
          <a:xfrm>
            <a:off x="3389665"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1" name="Subtitle 2">
            <a:extLst>
              <a:ext uri="{FF2B5EF4-FFF2-40B4-BE49-F238E27FC236}">
                <a16:creationId xmlns:a16="http://schemas.microsoft.com/office/drawing/2014/main" id="{A5DE56E0-59AB-B60E-B23E-B18C488BB28F}"/>
              </a:ext>
            </a:extLst>
          </p:cNvPr>
          <p:cNvSpPr txBox="1">
            <a:spLocks/>
          </p:cNvSpPr>
          <p:nvPr/>
        </p:nvSpPr>
        <p:spPr>
          <a:xfrm>
            <a:off x="3360510"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TextBox 83">
            <a:extLst>
              <a:ext uri="{FF2B5EF4-FFF2-40B4-BE49-F238E27FC236}">
                <a16:creationId xmlns:a16="http://schemas.microsoft.com/office/drawing/2014/main" id="{025FAD5D-0395-6B79-69C7-6CBFCA401BA2}"/>
              </a:ext>
            </a:extLst>
          </p:cNvPr>
          <p:cNvSpPr txBox="1"/>
          <p:nvPr/>
        </p:nvSpPr>
        <p:spPr>
          <a:xfrm>
            <a:off x="7694459" y="2028853"/>
            <a:ext cx="1398645" cy="369332"/>
          </a:xfrm>
          <a:prstGeom prst="rect">
            <a:avLst/>
          </a:prstGeom>
          <a:noFill/>
        </p:spPr>
        <p:txBody>
          <a:bodyPr wrap="square" lIns="0" tIns="0" rIns="0" bIns="0" rtlCol="0" anchor="b">
            <a:noAutofit/>
          </a:bodyPr>
          <a:lstStyle>
            <a:defPPr>
              <a:defRPr lang="en-US"/>
            </a:defPPr>
            <a:lvl1pPr algn="ctr">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dirty="0">
                <a:solidFill>
                  <a:schemeClr val="tx1"/>
                </a:solidFill>
              </a:rPr>
              <a:t>YOUR</a:t>
            </a:r>
          </a:p>
          <a:p>
            <a:pPr algn="l"/>
            <a:r>
              <a:rPr lang="en-US" dirty="0">
                <a:solidFill>
                  <a:schemeClr val="tx1"/>
                </a:solidFill>
              </a:rPr>
              <a:t>TITLE</a:t>
            </a:r>
          </a:p>
        </p:txBody>
      </p:sp>
      <p:sp>
        <p:nvSpPr>
          <p:cNvPr id="23" name="Subtitle 2">
            <a:extLst>
              <a:ext uri="{FF2B5EF4-FFF2-40B4-BE49-F238E27FC236}">
                <a16:creationId xmlns:a16="http://schemas.microsoft.com/office/drawing/2014/main" id="{E44A6F9F-61E3-6B4A-7CD9-E3D47FBB9A7B}"/>
              </a:ext>
            </a:extLst>
          </p:cNvPr>
          <p:cNvSpPr txBox="1">
            <a:spLocks/>
          </p:cNvSpPr>
          <p:nvPr/>
        </p:nvSpPr>
        <p:spPr>
          <a:xfrm>
            <a:off x="7665304" y="2438997"/>
            <a:ext cx="1398645" cy="73866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4" name="Footer Placeholder 23">
            <a:extLst>
              <a:ext uri="{FF2B5EF4-FFF2-40B4-BE49-F238E27FC236}">
                <a16:creationId xmlns:a16="http://schemas.microsoft.com/office/drawing/2014/main" id="{B5E2C9CA-23B0-B1C2-82F4-78622EECCFD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9668215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DE1E2AB5-FFBC-86DA-B96D-4B5E280BC80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lang="en-US" dirty="0"/>
              <a:t>Template - Linear Process</a:t>
            </a:r>
          </a:p>
        </p:txBody>
      </p:sp>
      <p:sp>
        <p:nvSpPr>
          <p:cNvPr id="24" name="Subtitle 2">
            <a:extLst>
              <a:ext uri="{FF2B5EF4-FFF2-40B4-BE49-F238E27FC236}">
                <a16:creationId xmlns:a16="http://schemas.microsoft.com/office/drawing/2014/main" id="{4A4BE251-D533-CD8C-EDE9-0467E9449479}"/>
              </a:ext>
            </a:extLst>
          </p:cNvPr>
          <p:cNvSpPr txBox="1">
            <a:spLocks/>
          </p:cNvSpPr>
          <p:nvPr/>
        </p:nvSpPr>
        <p:spPr>
          <a:xfrm>
            <a:off x="525215"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5" name="Subtitle 2">
            <a:extLst>
              <a:ext uri="{FF2B5EF4-FFF2-40B4-BE49-F238E27FC236}">
                <a16:creationId xmlns:a16="http://schemas.microsoft.com/office/drawing/2014/main" id="{286C679E-963C-433E-4F66-F051094624F9}"/>
              </a:ext>
            </a:extLst>
          </p:cNvPr>
          <p:cNvSpPr txBox="1">
            <a:spLocks/>
          </p:cNvSpPr>
          <p:nvPr/>
        </p:nvSpPr>
        <p:spPr>
          <a:xfrm>
            <a:off x="2816633"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Subtitle 2">
            <a:extLst>
              <a:ext uri="{FF2B5EF4-FFF2-40B4-BE49-F238E27FC236}">
                <a16:creationId xmlns:a16="http://schemas.microsoft.com/office/drawing/2014/main" id="{E1B3FD20-3F71-F6CD-2C25-0BC8204B1178}"/>
              </a:ext>
            </a:extLst>
          </p:cNvPr>
          <p:cNvSpPr txBox="1">
            <a:spLocks/>
          </p:cNvSpPr>
          <p:nvPr/>
        </p:nvSpPr>
        <p:spPr>
          <a:xfrm>
            <a:off x="5108051"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7" name="Subtitle 2">
            <a:extLst>
              <a:ext uri="{FF2B5EF4-FFF2-40B4-BE49-F238E27FC236}">
                <a16:creationId xmlns:a16="http://schemas.microsoft.com/office/drawing/2014/main" id="{5AB885F5-9170-5B16-534A-975AE25B3C45}"/>
              </a:ext>
            </a:extLst>
          </p:cNvPr>
          <p:cNvSpPr txBox="1">
            <a:spLocks/>
          </p:cNvSpPr>
          <p:nvPr/>
        </p:nvSpPr>
        <p:spPr>
          <a:xfrm>
            <a:off x="7399469"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8" name="Subtitle 2">
            <a:extLst>
              <a:ext uri="{FF2B5EF4-FFF2-40B4-BE49-F238E27FC236}">
                <a16:creationId xmlns:a16="http://schemas.microsoft.com/office/drawing/2014/main" id="{4A258877-C4B6-D54B-5E81-13D0BC7DCB77}"/>
              </a:ext>
            </a:extLst>
          </p:cNvPr>
          <p:cNvSpPr txBox="1">
            <a:spLocks/>
          </p:cNvSpPr>
          <p:nvPr/>
        </p:nvSpPr>
        <p:spPr>
          <a:xfrm>
            <a:off x="9690886" y="4879881"/>
            <a:ext cx="1812606"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43" name="Group 42">
            <a:extLst>
              <a:ext uri="{FF2B5EF4-FFF2-40B4-BE49-F238E27FC236}">
                <a16:creationId xmlns:a16="http://schemas.microsoft.com/office/drawing/2014/main" id="{500C5059-DDC7-FE5D-89B6-719EAF3C7F1B}"/>
              </a:ext>
            </a:extLst>
          </p:cNvPr>
          <p:cNvGrpSpPr/>
          <p:nvPr/>
        </p:nvGrpSpPr>
        <p:grpSpPr>
          <a:xfrm>
            <a:off x="7306962" y="2231929"/>
            <a:ext cx="2224641" cy="2387441"/>
            <a:chOff x="7306962" y="2231929"/>
            <a:chExt cx="2224641" cy="2387441"/>
          </a:xfrm>
          <a:effectLst/>
        </p:grpSpPr>
        <p:sp>
          <p:nvSpPr>
            <p:cNvPr id="5" name="Side 1">
              <a:extLst>
                <a:ext uri="{FF2B5EF4-FFF2-40B4-BE49-F238E27FC236}">
                  <a16:creationId xmlns:a16="http://schemas.microsoft.com/office/drawing/2014/main" id="{1CEDC1C9-F41E-250D-A8F6-E3D9B8173250}"/>
                </a:ext>
              </a:extLst>
            </p:cNvPr>
            <p:cNvSpPr>
              <a:spLocks/>
            </p:cNvSpPr>
            <p:nvPr/>
          </p:nvSpPr>
          <p:spPr bwMode="auto">
            <a:xfrm rot="16200000">
              <a:off x="7894565"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6" name="Side 2">
              <a:extLst>
                <a:ext uri="{FF2B5EF4-FFF2-40B4-BE49-F238E27FC236}">
                  <a16:creationId xmlns:a16="http://schemas.microsoft.com/office/drawing/2014/main" id="{5D26D32D-05A1-1562-D3D1-30EE08F0C8E0}"/>
                </a:ext>
              </a:extLst>
            </p:cNvPr>
            <p:cNvSpPr>
              <a:spLocks/>
            </p:cNvSpPr>
            <p:nvPr/>
          </p:nvSpPr>
          <p:spPr bwMode="auto">
            <a:xfrm rot="5400000">
              <a:off x="789510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4" name="Line 1">
              <a:extLst>
                <a:ext uri="{FF2B5EF4-FFF2-40B4-BE49-F238E27FC236}">
                  <a16:creationId xmlns:a16="http://schemas.microsoft.com/office/drawing/2014/main" id="{1B2CE785-853C-8874-1503-065ABBB413DB}"/>
                </a:ext>
              </a:extLst>
            </p:cNvPr>
            <p:cNvSpPr>
              <a:spLocks/>
            </p:cNvSpPr>
            <p:nvPr/>
          </p:nvSpPr>
          <p:spPr bwMode="auto">
            <a:xfrm>
              <a:off x="7306962"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T TITLE</a:t>
              </a:r>
            </a:p>
          </p:txBody>
        </p:sp>
      </p:grpSp>
      <p:sp>
        <p:nvSpPr>
          <p:cNvPr id="7" name="Oval 1">
            <a:extLst>
              <a:ext uri="{FF2B5EF4-FFF2-40B4-BE49-F238E27FC236}">
                <a16:creationId xmlns:a16="http://schemas.microsoft.com/office/drawing/2014/main" id="{443AEDA3-0885-1FF2-AC48-6519C0F986C6}"/>
              </a:ext>
            </a:extLst>
          </p:cNvPr>
          <p:cNvSpPr>
            <a:spLocks noChangeArrowheads="1"/>
          </p:cNvSpPr>
          <p:nvPr/>
        </p:nvSpPr>
        <p:spPr bwMode="auto">
          <a:xfrm>
            <a:off x="883779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4</a:t>
            </a:r>
          </a:p>
        </p:txBody>
      </p:sp>
      <p:grpSp>
        <p:nvGrpSpPr>
          <p:cNvPr id="42" name="Group 41">
            <a:extLst>
              <a:ext uri="{FF2B5EF4-FFF2-40B4-BE49-F238E27FC236}">
                <a16:creationId xmlns:a16="http://schemas.microsoft.com/office/drawing/2014/main" id="{D03440B9-4D5E-4003-1A54-6A0BDC49AC89}"/>
              </a:ext>
            </a:extLst>
          </p:cNvPr>
          <p:cNvGrpSpPr/>
          <p:nvPr/>
        </p:nvGrpSpPr>
        <p:grpSpPr>
          <a:xfrm>
            <a:off x="5005463" y="2231929"/>
            <a:ext cx="2224641" cy="2387441"/>
            <a:chOff x="5005463" y="2231929"/>
            <a:chExt cx="2224641" cy="2387441"/>
          </a:xfrm>
          <a:effectLst/>
        </p:grpSpPr>
        <p:sp>
          <p:nvSpPr>
            <p:cNvPr id="9" name="Side 1">
              <a:extLst>
                <a:ext uri="{FF2B5EF4-FFF2-40B4-BE49-F238E27FC236}">
                  <a16:creationId xmlns:a16="http://schemas.microsoft.com/office/drawing/2014/main" id="{0A6579F2-734E-9DA3-7A5D-3BA12D91939F}"/>
                </a:ext>
              </a:extLst>
            </p:cNvPr>
            <p:cNvSpPr>
              <a:spLocks/>
            </p:cNvSpPr>
            <p:nvPr/>
          </p:nvSpPr>
          <p:spPr bwMode="auto">
            <a:xfrm rot="16200000">
              <a:off x="5593067"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0" name="Side 2">
              <a:extLst>
                <a:ext uri="{FF2B5EF4-FFF2-40B4-BE49-F238E27FC236}">
                  <a16:creationId xmlns:a16="http://schemas.microsoft.com/office/drawing/2014/main" id="{EBB1E644-EEAC-EEBE-B63E-4D3BC07500E0}"/>
                </a:ext>
              </a:extLst>
            </p:cNvPr>
            <p:cNvSpPr>
              <a:spLocks/>
            </p:cNvSpPr>
            <p:nvPr/>
          </p:nvSpPr>
          <p:spPr bwMode="auto">
            <a:xfrm rot="5400000">
              <a:off x="5593603"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8" name="Line 1">
              <a:extLst>
                <a:ext uri="{FF2B5EF4-FFF2-40B4-BE49-F238E27FC236}">
                  <a16:creationId xmlns:a16="http://schemas.microsoft.com/office/drawing/2014/main" id="{7F3A8063-0E6E-DCBA-1C6D-D00BE7D67FB3}"/>
                </a:ext>
              </a:extLst>
            </p:cNvPr>
            <p:cNvSpPr>
              <a:spLocks/>
            </p:cNvSpPr>
            <p:nvPr/>
          </p:nvSpPr>
          <p:spPr bwMode="auto">
            <a:xfrm>
              <a:off x="5005463"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1" name="Oval 1">
            <a:extLst>
              <a:ext uri="{FF2B5EF4-FFF2-40B4-BE49-F238E27FC236}">
                <a16:creationId xmlns:a16="http://schemas.microsoft.com/office/drawing/2014/main" id="{459AC308-A02F-0D32-3D04-795E63FA617F}"/>
              </a:ext>
            </a:extLst>
          </p:cNvPr>
          <p:cNvSpPr>
            <a:spLocks noChangeArrowheads="1"/>
          </p:cNvSpPr>
          <p:nvPr/>
        </p:nvSpPr>
        <p:spPr bwMode="auto">
          <a:xfrm>
            <a:off x="6536293"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3</a:t>
            </a:r>
          </a:p>
        </p:txBody>
      </p:sp>
      <p:grpSp>
        <p:nvGrpSpPr>
          <p:cNvPr id="41" name="Group 40">
            <a:extLst>
              <a:ext uri="{FF2B5EF4-FFF2-40B4-BE49-F238E27FC236}">
                <a16:creationId xmlns:a16="http://schemas.microsoft.com/office/drawing/2014/main" id="{4262915A-B25A-25ED-C148-488DE8EE7FB3}"/>
              </a:ext>
            </a:extLst>
          </p:cNvPr>
          <p:cNvGrpSpPr/>
          <p:nvPr/>
        </p:nvGrpSpPr>
        <p:grpSpPr>
          <a:xfrm>
            <a:off x="2691771" y="2231929"/>
            <a:ext cx="2224642" cy="2387441"/>
            <a:chOff x="2691771" y="2231929"/>
            <a:chExt cx="2224642" cy="2387441"/>
          </a:xfrm>
          <a:effectLst/>
        </p:grpSpPr>
        <p:sp>
          <p:nvSpPr>
            <p:cNvPr id="13" name="Side 1">
              <a:extLst>
                <a:ext uri="{FF2B5EF4-FFF2-40B4-BE49-F238E27FC236}">
                  <a16:creationId xmlns:a16="http://schemas.microsoft.com/office/drawing/2014/main" id="{9EE46325-1BFD-8EF1-95FE-AD9FADCF94A2}"/>
                </a:ext>
              </a:extLst>
            </p:cNvPr>
            <p:cNvSpPr>
              <a:spLocks/>
            </p:cNvSpPr>
            <p:nvPr/>
          </p:nvSpPr>
          <p:spPr bwMode="auto">
            <a:xfrm rot="16200000">
              <a:off x="3279374"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4" name="Side 2">
              <a:extLst>
                <a:ext uri="{FF2B5EF4-FFF2-40B4-BE49-F238E27FC236}">
                  <a16:creationId xmlns:a16="http://schemas.microsoft.com/office/drawing/2014/main" id="{E1536E55-966A-5823-6B43-DE1107B5794F}"/>
                </a:ext>
              </a:extLst>
            </p:cNvPr>
            <p:cNvSpPr>
              <a:spLocks/>
            </p:cNvSpPr>
            <p:nvPr/>
          </p:nvSpPr>
          <p:spPr bwMode="auto">
            <a:xfrm rot="5400000">
              <a:off x="3279912"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2" name="Line 1">
              <a:extLst>
                <a:ext uri="{FF2B5EF4-FFF2-40B4-BE49-F238E27FC236}">
                  <a16:creationId xmlns:a16="http://schemas.microsoft.com/office/drawing/2014/main" id="{10D08093-7BCE-CF79-B9AE-FE4EF1AA6C8F}"/>
                </a:ext>
              </a:extLst>
            </p:cNvPr>
            <p:cNvSpPr>
              <a:spLocks/>
            </p:cNvSpPr>
            <p:nvPr/>
          </p:nvSpPr>
          <p:spPr bwMode="auto">
            <a:xfrm>
              <a:off x="2691771"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5" name="Oval 1">
            <a:extLst>
              <a:ext uri="{FF2B5EF4-FFF2-40B4-BE49-F238E27FC236}">
                <a16:creationId xmlns:a16="http://schemas.microsoft.com/office/drawing/2014/main" id="{8CE4F839-F4FC-BEF8-31F1-B6739640DCC2}"/>
              </a:ext>
            </a:extLst>
          </p:cNvPr>
          <p:cNvSpPr>
            <a:spLocks noChangeArrowheads="1"/>
          </p:cNvSpPr>
          <p:nvPr/>
        </p:nvSpPr>
        <p:spPr bwMode="auto">
          <a:xfrm>
            <a:off x="4222602"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2</a:t>
            </a:r>
          </a:p>
        </p:txBody>
      </p:sp>
      <p:grpSp>
        <p:nvGrpSpPr>
          <p:cNvPr id="40" name="Group 39">
            <a:extLst>
              <a:ext uri="{FF2B5EF4-FFF2-40B4-BE49-F238E27FC236}">
                <a16:creationId xmlns:a16="http://schemas.microsoft.com/office/drawing/2014/main" id="{03929D02-2610-919A-AD67-9FFF8504989A}"/>
              </a:ext>
            </a:extLst>
          </p:cNvPr>
          <p:cNvGrpSpPr/>
          <p:nvPr/>
        </p:nvGrpSpPr>
        <p:grpSpPr>
          <a:xfrm>
            <a:off x="384175" y="2231929"/>
            <a:ext cx="2224641" cy="2387441"/>
            <a:chOff x="384175" y="2231929"/>
            <a:chExt cx="2224641" cy="2387441"/>
          </a:xfrm>
          <a:effectLst/>
        </p:grpSpPr>
        <p:sp>
          <p:nvSpPr>
            <p:cNvPr id="17" name="Side 1">
              <a:extLst>
                <a:ext uri="{FF2B5EF4-FFF2-40B4-BE49-F238E27FC236}">
                  <a16:creationId xmlns:a16="http://schemas.microsoft.com/office/drawing/2014/main" id="{5AF147B2-4B3F-38EC-D1D8-369A9974D856}"/>
                </a:ext>
              </a:extLst>
            </p:cNvPr>
            <p:cNvSpPr>
              <a:spLocks/>
            </p:cNvSpPr>
            <p:nvPr/>
          </p:nvSpPr>
          <p:spPr bwMode="auto">
            <a:xfrm rot="16200000">
              <a:off x="971778" y="2984543"/>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8" name="Side 2">
              <a:extLst>
                <a:ext uri="{FF2B5EF4-FFF2-40B4-BE49-F238E27FC236}">
                  <a16:creationId xmlns:a16="http://schemas.microsoft.com/office/drawing/2014/main" id="{B4E54461-1BC4-4418-E802-2F278CEF1AED}"/>
                </a:ext>
              </a:extLst>
            </p:cNvPr>
            <p:cNvSpPr>
              <a:spLocks/>
            </p:cNvSpPr>
            <p:nvPr/>
          </p:nvSpPr>
          <p:spPr bwMode="auto">
            <a:xfrm rot="5400000">
              <a:off x="972315" y="2226069"/>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tx2"/>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16" name="Line 1">
              <a:extLst>
                <a:ext uri="{FF2B5EF4-FFF2-40B4-BE49-F238E27FC236}">
                  <a16:creationId xmlns:a16="http://schemas.microsoft.com/office/drawing/2014/main" id="{B84A7DC0-94BB-D1DD-EAE9-8731676A55F7}"/>
                </a:ext>
              </a:extLst>
            </p:cNvPr>
            <p:cNvSpPr>
              <a:spLocks/>
            </p:cNvSpPr>
            <p:nvPr/>
          </p:nvSpPr>
          <p:spPr bwMode="auto">
            <a:xfrm>
              <a:off x="384175"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tx2"/>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19" name="Oval 1">
            <a:extLst>
              <a:ext uri="{FF2B5EF4-FFF2-40B4-BE49-F238E27FC236}">
                <a16:creationId xmlns:a16="http://schemas.microsoft.com/office/drawing/2014/main" id="{BD316369-043C-54A7-6747-117ACB496E5B}"/>
              </a:ext>
            </a:extLst>
          </p:cNvPr>
          <p:cNvSpPr>
            <a:spLocks noChangeArrowheads="1"/>
          </p:cNvSpPr>
          <p:nvPr/>
        </p:nvSpPr>
        <p:spPr bwMode="auto">
          <a:xfrm>
            <a:off x="1915006"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1</a:t>
            </a:r>
          </a:p>
        </p:txBody>
      </p:sp>
      <p:grpSp>
        <p:nvGrpSpPr>
          <p:cNvPr id="44" name="Group 43">
            <a:extLst>
              <a:ext uri="{FF2B5EF4-FFF2-40B4-BE49-F238E27FC236}">
                <a16:creationId xmlns:a16="http://schemas.microsoft.com/office/drawing/2014/main" id="{DB52AA6F-9A83-E12C-5575-B664BE4DC425}"/>
              </a:ext>
            </a:extLst>
          </p:cNvPr>
          <p:cNvGrpSpPr/>
          <p:nvPr/>
        </p:nvGrpSpPr>
        <p:grpSpPr>
          <a:xfrm>
            <a:off x="9595884" y="2231852"/>
            <a:ext cx="2224641" cy="2387442"/>
            <a:chOff x="9595884" y="2231852"/>
            <a:chExt cx="2224641" cy="2387442"/>
          </a:xfrm>
          <a:effectLst/>
        </p:grpSpPr>
        <p:sp>
          <p:nvSpPr>
            <p:cNvPr id="21" name="Side 1">
              <a:extLst>
                <a:ext uri="{FF2B5EF4-FFF2-40B4-BE49-F238E27FC236}">
                  <a16:creationId xmlns:a16="http://schemas.microsoft.com/office/drawing/2014/main" id="{BD88A550-42DC-3456-5D42-22A67FCEFADF}"/>
                </a:ext>
              </a:extLst>
            </p:cNvPr>
            <p:cNvSpPr>
              <a:spLocks/>
            </p:cNvSpPr>
            <p:nvPr/>
          </p:nvSpPr>
          <p:spPr bwMode="auto">
            <a:xfrm rot="16200000">
              <a:off x="10183487" y="2984467"/>
              <a:ext cx="1630641" cy="1639013"/>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2" name="Side 2">
              <a:extLst>
                <a:ext uri="{FF2B5EF4-FFF2-40B4-BE49-F238E27FC236}">
                  <a16:creationId xmlns:a16="http://schemas.microsoft.com/office/drawing/2014/main" id="{F7F1C054-B7C2-1CA5-C1DA-2A521033289B}"/>
                </a:ext>
              </a:extLst>
            </p:cNvPr>
            <p:cNvSpPr>
              <a:spLocks/>
            </p:cNvSpPr>
            <p:nvPr/>
          </p:nvSpPr>
          <p:spPr bwMode="auto">
            <a:xfrm rot="5400000">
              <a:off x="10184024" y="2225992"/>
              <a:ext cx="1630641" cy="1642361"/>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solidFill>
            <a:ln>
              <a:noFill/>
            </a:ln>
            <a:effectLst/>
          </p:spPr>
          <p:txBody>
            <a:bodyPr vert="horz" wrap="square" lIns="182832" tIns="91418" rIns="182832" bIns="91418" numCol="1" anchor="t" anchorCtr="0" compatLnSpc="1">
              <a:prstTxWarp prst="textNoShape">
                <a:avLst/>
              </a:prstTxWarp>
            </a:bodyPr>
            <a:lstStyle/>
            <a:p>
              <a:endParaRPr lang="en-US" sz="1000" dirty="0"/>
            </a:p>
          </p:txBody>
        </p:sp>
        <p:sp>
          <p:nvSpPr>
            <p:cNvPr id="20" name="Line 1">
              <a:extLst>
                <a:ext uri="{FF2B5EF4-FFF2-40B4-BE49-F238E27FC236}">
                  <a16:creationId xmlns:a16="http://schemas.microsoft.com/office/drawing/2014/main" id="{7FF8919E-6D2D-6828-74F7-D5DF315225EB}"/>
                </a:ext>
              </a:extLst>
            </p:cNvPr>
            <p:cNvSpPr>
              <a:spLocks/>
            </p:cNvSpPr>
            <p:nvPr/>
          </p:nvSpPr>
          <p:spPr bwMode="auto">
            <a:xfrm>
              <a:off x="9595884" y="3021995"/>
              <a:ext cx="2181443" cy="806951"/>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solidFill>
            <a:ln>
              <a:noFill/>
            </a:ln>
            <a:effectLst/>
          </p:spPr>
          <p:txBody>
            <a:bodyPr vert="horz" wrap="square" lIns="182832" tIns="91418" rIns="182832" bIns="91418" numCol="1" anchor="ctr" anchorCtr="0" compatLnSpc="1">
              <a:prstTxWarp prst="textNoShape">
                <a:avLst/>
              </a:prstTxWarp>
            </a:bodyPr>
            <a:lstStyle/>
            <a:p>
              <a:r>
                <a:rPr lang="en-US" sz="1400" b="1" dirty="0">
                  <a:solidFill>
                    <a:schemeClr val="bg1"/>
                  </a:solidFill>
                </a:rPr>
                <a:t>YOUR TITLE</a:t>
              </a:r>
            </a:p>
          </p:txBody>
        </p:sp>
      </p:grpSp>
      <p:sp>
        <p:nvSpPr>
          <p:cNvPr id="23" name="Oval 1">
            <a:extLst>
              <a:ext uri="{FF2B5EF4-FFF2-40B4-BE49-F238E27FC236}">
                <a16:creationId xmlns:a16="http://schemas.microsoft.com/office/drawing/2014/main" id="{192F695D-A182-FE30-D250-C76F90773938}"/>
              </a:ext>
            </a:extLst>
          </p:cNvPr>
          <p:cNvSpPr>
            <a:spLocks noChangeArrowheads="1"/>
          </p:cNvSpPr>
          <p:nvPr/>
        </p:nvSpPr>
        <p:spPr bwMode="auto">
          <a:xfrm>
            <a:off x="11126714" y="3173304"/>
            <a:ext cx="499302" cy="504332"/>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182832" tIns="91418" rIns="182832" bIns="91418" numCol="1" anchor="ctr" anchorCtr="0" compatLnSpc="1">
            <a:prstTxWarp prst="textNoShape">
              <a:avLst/>
            </a:prstTxWarp>
          </a:bodyPr>
          <a:lstStyle/>
          <a:p>
            <a:pPr algn="ctr"/>
            <a:r>
              <a:rPr lang="en-US" sz="1400" b="1" dirty="0"/>
              <a:t>5</a:t>
            </a:r>
          </a:p>
        </p:txBody>
      </p:sp>
      <p:sp>
        <p:nvSpPr>
          <p:cNvPr id="29" name="Footer Placeholder 28">
            <a:extLst>
              <a:ext uri="{FF2B5EF4-FFF2-40B4-BE49-F238E27FC236}">
                <a16:creationId xmlns:a16="http://schemas.microsoft.com/office/drawing/2014/main" id="{4B30AFD1-B2F0-9F16-9045-C085EF8FBD21}"/>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7908031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7" name="Objeto 26" hidden="1">
            <a:extLst>
              <a:ext uri="{FF2B5EF4-FFF2-40B4-BE49-F238E27FC236}">
                <a16:creationId xmlns:a16="http://schemas.microsoft.com/office/drawing/2014/main" id="{BBC21C71-5D14-ADB2-EB5E-118DEB783E46}"/>
              </a:ext>
            </a:extLst>
          </p:cNvPr>
          <p:cNvGraphicFramePr>
            <a:graphicFrameLocks noChangeAspect="1"/>
          </p:cNvGraphicFramePr>
          <p:nvPr>
            <p:custDataLst>
              <p:tags r:id="rId1"/>
            </p:custDataLst>
            <p:extLst>
              <p:ext uri="{D42A27DB-BD31-4B8C-83A1-F6EECF244321}">
                <p14:modId xmlns:p14="http://schemas.microsoft.com/office/powerpoint/2010/main" val="23696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7" name="Objeto 26" hidden="1">
                        <a:extLst>
                          <a:ext uri="{FF2B5EF4-FFF2-40B4-BE49-F238E27FC236}">
                            <a16:creationId xmlns:a16="http://schemas.microsoft.com/office/drawing/2014/main" id="{BBC21C71-5D14-ADB2-EB5E-118DEB783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7D1E1DD-58F3-2CA5-55F9-92D082681B19}"/>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30BEACC9-0DF1-DA6D-BF7B-C669CA208145}"/>
              </a:ext>
            </a:extLst>
          </p:cNvPr>
          <p:cNvSpPr>
            <a:spLocks noGrp="1"/>
          </p:cNvSpPr>
          <p:nvPr>
            <p:ph type="title"/>
          </p:nvPr>
        </p:nvSpPr>
        <p:spPr/>
        <p:txBody>
          <a:bodyPr vert="horz"/>
          <a:lstStyle/>
          <a:p>
            <a:r>
              <a:rPr lang="en-US" dirty="0"/>
              <a:t>Template - Linear Process</a:t>
            </a:r>
          </a:p>
        </p:txBody>
      </p:sp>
      <p:sp>
        <p:nvSpPr>
          <p:cNvPr id="4" name="Shape 3152">
            <a:extLst>
              <a:ext uri="{FF2B5EF4-FFF2-40B4-BE49-F238E27FC236}">
                <a16:creationId xmlns:a16="http://schemas.microsoft.com/office/drawing/2014/main" id="{961F9836-AF82-4180-A330-81AA40451104}"/>
              </a:ext>
            </a:extLst>
          </p:cNvPr>
          <p:cNvSpPr/>
          <p:nvPr/>
        </p:nvSpPr>
        <p:spPr>
          <a:xfrm>
            <a:off x="8650820"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5" name="Shape 3156">
            <a:extLst>
              <a:ext uri="{FF2B5EF4-FFF2-40B4-BE49-F238E27FC236}">
                <a16:creationId xmlns:a16="http://schemas.microsoft.com/office/drawing/2014/main" id="{2B93A6AF-DCDE-85C2-65E7-9950A27F7F14}"/>
              </a:ext>
            </a:extLst>
          </p:cNvPr>
          <p:cNvSpPr/>
          <p:nvPr/>
        </p:nvSpPr>
        <p:spPr>
          <a:xfrm>
            <a:off x="6498507" y="1520825"/>
            <a:ext cx="3107941" cy="2662389"/>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6" name="Shape 3160">
            <a:extLst>
              <a:ext uri="{FF2B5EF4-FFF2-40B4-BE49-F238E27FC236}">
                <a16:creationId xmlns:a16="http://schemas.microsoft.com/office/drawing/2014/main" id="{A230A1ED-29FF-BC0B-31C0-AD5152F787BE}"/>
              </a:ext>
            </a:extLst>
          </p:cNvPr>
          <p:cNvSpPr/>
          <p:nvPr/>
        </p:nvSpPr>
        <p:spPr>
          <a:xfrm>
            <a:off x="4354802" y="1520825"/>
            <a:ext cx="3107941" cy="26623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7" name="Shape 3164">
            <a:extLst>
              <a:ext uri="{FF2B5EF4-FFF2-40B4-BE49-F238E27FC236}">
                <a16:creationId xmlns:a16="http://schemas.microsoft.com/office/drawing/2014/main" id="{48957A09-CD38-6466-5D95-D858C02E953B}"/>
              </a:ext>
            </a:extLst>
          </p:cNvPr>
          <p:cNvSpPr/>
          <p:nvPr/>
        </p:nvSpPr>
        <p:spPr>
          <a:xfrm>
            <a:off x="2200764" y="1524419"/>
            <a:ext cx="3107941" cy="26623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8" name="Shape 3167">
            <a:extLst>
              <a:ext uri="{FF2B5EF4-FFF2-40B4-BE49-F238E27FC236}">
                <a16:creationId xmlns:a16="http://schemas.microsoft.com/office/drawing/2014/main" id="{E28AF0C7-6C4A-BD4C-7203-1EB78D2C8FF5}"/>
              </a:ext>
            </a:extLst>
          </p:cNvPr>
          <p:cNvSpPr>
            <a:spLocks noChangeAspect="1"/>
          </p:cNvSpPr>
          <p:nvPr/>
        </p:nvSpPr>
        <p:spPr>
          <a:xfrm>
            <a:off x="317776" y="1520825"/>
            <a:ext cx="2847224" cy="2662348"/>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121850" tIns="60908" rIns="121850" bIns="60908" anchor="t" anchorCtr="0">
            <a:noAutofit/>
          </a:bodyPr>
          <a:lstStyle/>
          <a:p>
            <a:pPr algn="just">
              <a:buClr>
                <a:srgbClr val="000000"/>
              </a:buClr>
            </a:pPr>
            <a:endParaRPr sz="1200" dirty="0">
              <a:solidFill>
                <a:schemeClr val="dk1"/>
              </a:solidFill>
              <a:ea typeface="Lato Light" panose="020F0502020204030203" pitchFamily="34" charset="0"/>
              <a:cs typeface="Lato Light" panose="020F0502020204030203" pitchFamily="34" charset="0"/>
              <a:sym typeface="Arial"/>
            </a:endParaRPr>
          </a:p>
        </p:txBody>
      </p:sp>
      <p:sp>
        <p:nvSpPr>
          <p:cNvPr id="9" name="Freeform 984">
            <a:extLst>
              <a:ext uri="{FF2B5EF4-FFF2-40B4-BE49-F238E27FC236}">
                <a16:creationId xmlns:a16="http://schemas.microsoft.com/office/drawing/2014/main" id="{0432AB0C-4E3B-47BE-41C3-8AA56AC095A5}"/>
              </a:ext>
            </a:extLst>
          </p:cNvPr>
          <p:cNvSpPr>
            <a:spLocks noChangeAspect="1" noChangeArrowheads="1"/>
          </p:cNvSpPr>
          <p:nvPr/>
        </p:nvSpPr>
        <p:spPr bwMode="auto">
          <a:xfrm>
            <a:off x="1590796" y="2370075"/>
            <a:ext cx="455227" cy="59811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10" name="Freeform 985">
            <a:extLst>
              <a:ext uri="{FF2B5EF4-FFF2-40B4-BE49-F238E27FC236}">
                <a16:creationId xmlns:a16="http://schemas.microsoft.com/office/drawing/2014/main" id="{F24EFFFB-DA8A-F95C-443F-B04E32784251}"/>
              </a:ext>
            </a:extLst>
          </p:cNvPr>
          <p:cNvSpPr>
            <a:spLocks noChangeAspect="1" noChangeArrowheads="1"/>
          </p:cNvSpPr>
          <p:nvPr/>
        </p:nvSpPr>
        <p:spPr bwMode="auto">
          <a:xfrm>
            <a:off x="3711037" y="2370075"/>
            <a:ext cx="598110" cy="598110"/>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11" name="Freeform 986">
            <a:extLst>
              <a:ext uri="{FF2B5EF4-FFF2-40B4-BE49-F238E27FC236}">
                <a16:creationId xmlns:a16="http://schemas.microsoft.com/office/drawing/2014/main" id="{54BF3D36-0FC5-2968-FFD4-D9534C95138A}"/>
              </a:ext>
            </a:extLst>
          </p:cNvPr>
          <p:cNvSpPr>
            <a:spLocks noChangeAspect="1" noChangeArrowheads="1"/>
          </p:cNvSpPr>
          <p:nvPr/>
        </p:nvSpPr>
        <p:spPr bwMode="auto">
          <a:xfrm>
            <a:off x="5842390" y="2370075"/>
            <a:ext cx="598110" cy="598110"/>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p>
        </p:txBody>
      </p:sp>
      <p:sp>
        <p:nvSpPr>
          <p:cNvPr id="12" name="Freeform 987">
            <a:extLst>
              <a:ext uri="{FF2B5EF4-FFF2-40B4-BE49-F238E27FC236}">
                <a16:creationId xmlns:a16="http://schemas.microsoft.com/office/drawing/2014/main" id="{0999A2C4-06DA-3E8C-1C96-90E9442C4B71}"/>
              </a:ext>
            </a:extLst>
          </p:cNvPr>
          <p:cNvSpPr>
            <a:spLocks noChangeAspect="1" noChangeArrowheads="1"/>
          </p:cNvSpPr>
          <p:nvPr/>
        </p:nvSpPr>
        <p:spPr bwMode="auto">
          <a:xfrm>
            <a:off x="7991124" y="2370075"/>
            <a:ext cx="598110" cy="598110"/>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13" name="Freeform 988">
            <a:extLst>
              <a:ext uri="{FF2B5EF4-FFF2-40B4-BE49-F238E27FC236}">
                <a16:creationId xmlns:a16="http://schemas.microsoft.com/office/drawing/2014/main" id="{E40713A0-B347-9CC5-2CB6-8F11BA690049}"/>
              </a:ext>
            </a:extLst>
          </p:cNvPr>
          <p:cNvSpPr>
            <a:spLocks noChangeAspect="1" noChangeArrowheads="1"/>
          </p:cNvSpPr>
          <p:nvPr/>
        </p:nvSpPr>
        <p:spPr bwMode="auto">
          <a:xfrm>
            <a:off x="10144769" y="2370075"/>
            <a:ext cx="598110" cy="598110"/>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14" name="TextBox 37">
            <a:extLst>
              <a:ext uri="{FF2B5EF4-FFF2-40B4-BE49-F238E27FC236}">
                <a16:creationId xmlns:a16="http://schemas.microsoft.com/office/drawing/2014/main" id="{39B48684-D21D-391F-DF27-B1E932837E3B}"/>
              </a:ext>
            </a:extLst>
          </p:cNvPr>
          <p:cNvSpPr txBox="1"/>
          <p:nvPr/>
        </p:nvSpPr>
        <p:spPr>
          <a:xfrm>
            <a:off x="1029903"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5" name="TextBox 38">
            <a:extLst>
              <a:ext uri="{FF2B5EF4-FFF2-40B4-BE49-F238E27FC236}">
                <a16:creationId xmlns:a16="http://schemas.microsoft.com/office/drawing/2014/main" id="{1EAEC09C-AFFE-63A0-1EA6-E1D9E7F2EC27}"/>
              </a:ext>
            </a:extLst>
          </p:cNvPr>
          <p:cNvSpPr txBox="1"/>
          <p:nvPr/>
        </p:nvSpPr>
        <p:spPr>
          <a:xfrm>
            <a:off x="3221586"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6" name="TextBox 39">
            <a:extLst>
              <a:ext uri="{FF2B5EF4-FFF2-40B4-BE49-F238E27FC236}">
                <a16:creationId xmlns:a16="http://schemas.microsoft.com/office/drawing/2014/main" id="{3C8AA747-93A5-C08A-F27B-7637E598BF8D}"/>
              </a:ext>
            </a:extLst>
          </p:cNvPr>
          <p:cNvSpPr txBox="1"/>
          <p:nvPr/>
        </p:nvSpPr>
        <p:spPr>
          <a:xfrm>
            <a:off x="5352939"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7" name="TextBox 40">
            <a:extLst>
              <a:ext uri="{FF2B5EF4-FFF2-40B4-BE49-F238E27FC236}">
                <a16:creationId xmlns:a16="http://schemas.microsoft.com/office/drawing/2014/main" id="{2F1E9827-CBEF-19F1-3CC4-F6B14124B5A1}"/>
              </a:ext>
            </a:extLst>
          </p:cNvPr>
          <p:cNvSpPr txBox="1"/>
          <p:nvPr/>
        </p:nvSpPr>
        <p:spPr>
          <a:xfrm>
            <a:off x="750073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8" name="TextBox 41">
            <a:extLst>
              <a:ext uri="{FF2B5EF4-FFF2-40B4-BE49-F238E27FC236}">
                <a16:creationId xmlns:a16="http://schemas.microsoft.com/office/drawing/2014/main" id="{C8E68394-6E80-BF69-B30A-D8EA317DD49A}"/>
              </a:ext>
            </a:extLst>
          </p:cNvPr>
          <p:cNvSpPr txBox="1"/>
          <p:nvPr/>
        </p:nvSpPr>
        <p:spPr>
          <a:xfrm>
            <a:off x="9654707" y="3103144"/>
            <a:ext cx="1577011" cy="271638"/>
          </a:xfrm>
          <a:prstGeom prst="rect">
            <a:avLst/>
          </a:prstGeom>
          <a:noFill/>
        </p:spPr>
        <p:txBody>
          <a:bodyPr wrap="square" lIns="0" tIns="0" rIns="0" bIns="0" rtlCol="0" anchor="ctr">
            <a:noAutofit/>
          </a:bodyPr>
          <a:lstStyle>
            <a:defPPr>
              <a:defRPr lang="en-US"/>
            </a:defPPr>
            <a:lvl1pPr algn="ctr">
              <a:defRPr sz="14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YOUR TITLE</a:t>
            </a:r>
          </a:p>
        </p:txBody>
      </p:sp>
      <p:sp>
        <p:nvSpPr>
          <p:cNvPr id="19" name="Subtitle 2">
            <a:extLst>
              <a:ext uri="{FF2B5EF4-FFF2-40B4-BE49-F238E27FC236}">
                <a16:creationId xmlns:a16="http://schemas.microsoft.com/office/drawing/2014/main" id="{F64175F6-42E4-067E-EFBE-5CD7D4A17D22}"/>
              </a:ext>
            </a:extLst>
          </p:cNvPr>
          <p:cNvSpPr txBox="1">
            <a:spLocks/>
          </p:cNvSpPr>
          <p:nvPr/>
        </p:nvSpPr>
        <p:spPr>
          <a:xfrm>
            <a:off x="610874"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Subtitle 2">
            <a:extLst>
              <a:ext uri="{FF2B5EF4-FFF2-40B4-BE49-F238E27FC236}">
                <a16:creationId xmlns:a16="http://schemas.microsoft.com/office/drawing/2014/main" id="{04D9A0F4-7454-1006-A8A0-3DA1586DC8B4}"/>
              </a:ext>
            </a:extLst>
          </p:cNvPr>
          <p:cNvSpPr txBox="1">
            <a:spLocks/>
          </p:cNvSpPr>
          <p:nvPr/>
        </p:nvSpPr>
        <p:spPr>
          <a:xfrm>
            <a:off x="2916876"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1" name="Subtitle 2">
            <a:extLst>
              <a:ext uri="{FF2B5EF4-FFF2-40B4-BE49-F238E27FC236}">
                <a16:creationId xmlns:a16="http://schemas.microsoft.com/office/drawing/2014/main" id="{0E0A8882-781D-B8B6-4040-EFEC2ED0104D}"/>
              </a:ext>
            </a:extLst>
          </p:cNvPr>
          <p:cNvSpPr txBox="1">
            <a:spLocks/>
          </p:cNvSpPr>
          <p:nvPr/>
        </p:nvSpPr>
        <p:spPr>
          <a:xfrm>
            <a:off x="526335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2" name="Subtitle 2">
            <a:extLst>
              <a:ext uri="{FF2B5EF4-FFF2-40B4-BE49-F238E27FC236}">
                <a16:creationId xmlns:a16="http://schemas.microsoft.com/office/drawing/2014/main" id="{6D00BF5D-4CAB-7C43-1666-E2B912F8C0F2}"/>
              </a:ext>
            </a:extLst>
          </p:cNvPr>
          <p:cNvSpPr txBox="1">
            <a:spLocks/>
          </p:cNvSpPr>
          <p:nvPr/>
        </p:nvSpPr>
        <p:spPr>
          <a:xfrm>
            <a:off x="7522919"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3" name="Subtitle 2">
            <a:extLst>
              <a:ext uri="{FF2B5EF4-FFF2-40B4-BE49-F238E27FC236}">
                <a16:creationId xmlns:a16="http://schemas.microsoft.com/office/drawing/2014/main" id="{665F37DD-762D-3BBA-A92F-7D19EF0F4B09}"/>
              </a:ext>
            </a:extLst>
          </p:cNvPr>
          <p:cNvSpPr txBox="1">
            <a:spLocks/>
          </p:cNvSpPr>
          <p:nvPr/>
        </p:nvSpPr>
        <p:spPr>
          <a:xfrm>
            <a:off x="9780257" y="4398358"/>
            <a:ext cx="1813341" cy="55399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6" name="Text Placeholder 6">
            <a:extLst>
              <a:ext uri="{FF2B5EF4-FFF2-40B4-BE49-F238E27FC236}">
                <a16:creationId xmlns:a16="http://schemas.microsoft.com/office/drawing/2014/main" id="{E4171961-1E7F-E8A7-F144-F1C757A432CC}"/>
              </a:ext>
            </a:extLst>
          </p:cNvPr>
          <p:cNvSpPr txBox="1">
            <a:spLocks/>
          </p:cNvSpPr>
          <p:nvPr/>
        </p:nvSpPr>
        <p:spPr>
          <a:xfrm>
            <a:off x="371474" y="5333581"/>
            <a:ext cx="11449051" cy="975144"/>
          </a:xfrm>
          <a:prstGeom prst="rect">
            <a:avLst/>
          </a:prstGeom>
          <a:solidFill>
            <a:schemeClr val="bg1"/>
          </a:solidFill>
          <a:effectLst>
            <a:outerShdw blurRad="381000" dist="38100" dir="2700000" algn="ctr" rotWithShape="0">
              <a:prstClr val="black">
                <a:alpha val="40000"/>
              </a:prstClr>
            </a:outerShdw>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algn="ctr"/>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p>
        </p:txBody>
      </p:sp>
      <p:sp>
        <p:nvSpPr>
          <p:cNvPr id="24" name="Footer Placeholder 23">
            <a:extLst>
              <a:ext uri="{FF2B5EF4-FFF2-40B4-BE49-F238E27FC236}">
                <a16:creationId xmlns:a16="http://schemas.microsoft.com/office/drawing/2014/main" id="{2A89AFB4-605B-01B2-59C2-D3BB5FCF4F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42174027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5" name="Objeto 24" hidden="1">
            <a:extLst>
              <a:ext uri="{FF2B5EF4-FFF2-40B4-BE49-F238E27FC236}">
                <a16:creationId xmlns:a16="http://schemas.microsoft.com/office/drawing/2014/main" id="{D370833E-DBD9-385A-D6D3-4B4A3B768FB4}"/>
              </a:ext>
            </a:extLst>
          </p:cNvPr>
          <p:cNvGraphicFramePr>
            <a:graphicFrameLocks noChangeAspect="1"/>
          </p:cNvGraphicFramePr>
          <p:nvPr>
            <p:custDataLst>
              <p:tags r:id="rId1"/>
            </p:custDataLst>
            <p:extLst>
              <p:ext uri="{D42A27DB-BD31-4B8C-83A1-F6EECF244321}">
                <p14:modId xmlns:p14="http://schemas.microsoft.com/office/powerpoint/2010/main" val="1504996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Objeto 24" hidden="1">
                        <a:extLst>
                          <a:ext uri="{FF2B5EF4-FFF2-40B4-BE49-F238E27FC236}">
                            <a16:creationId xmlns:a16="http://schemas.microsoft.com/office/drawing/2014/main" id="{D370833E-DBD9-385A-D6D3-4B4A3B768F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BF2F14-1CED-5A4E-2597-EC0C29D6068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A019C190-4233-3988-E27E-85289F14EF8F}"/>
              </a:ext>
            </a:extLst>
          </p:cNvPr>
          <p:cNvSpPr>
            <a:spLocks noGrp="1"/>
          </p:cNvSpPr>
          <p:nvPr>
            <p:ph type="title"/>
          </p:nvPr>
        </p:nvSpPr>
        <p:spPr/>
        <p:txBody>
          <a:bodyPr vert="horz"/>
          <a:lstStyle/>
          <a:p>
            <a:r>
              <a:rPr lang="en-US" dirty="0"/>
              <a:t>Template - Snake process</a:t>
            </a:r>
          </a:p>
        </p:txBody>
      </p:sp>
      <p:sp>
        <p:nvSpPr>
          <p:cNvPr id="5" name="Freeform 6">
            <a:extLst>
              <a:ext uri="{FF2B5EF4-FFF2-40B4-BE49-F238E27FC236}">
                <a16:creationId xmlns:a16="http://schemas.microsoft.com/office/drawing/2014/main" id="{DCFF1A15-DEC6-3F6C-F3C3-FFD8339CE869}"/>
              </a:ext>
            </a:extLst>
          </p:cNvPr>
          <p:cNvSpPr>
            <a:spLocks/>
          </p:cNvSpPr>
          <p:nvPr/>
        </p:nvSpPr>
        <p:spPr bwMode="auto">
          <a:xfrm>
            <a:off x="685892" y="3493299"/>
            <a:ext cx="2072611" cy="2072614"/>
          </a:xfrm>
          <a:custGeom>
            <a:avLst/>
            <a:gdLst>
              <a:gd name="T0" fmla="*/ 67 w 526"/>
              <a:gd name="T1" fmla="*/ 160 h 525"/>
              <a:gd name="T2" fmla="*/ 205 w 526"/>
              <a:gd name="T3" fmla="*/ 22 h 525"/>
              <a:gd name="T4" fmla="*/ 285 w 526"/>
              <a:gd name="T5" fmla="*/ 22 h 525"/>
              <a:gd name="T6" fmla="*/ 504 w 526"/>
              <a:gd name="T7" fmla="*/ 241 h 525"/>
              <a:gd name="T8" fmla="*/ 504 w 526"/>
              <a:gd name="T9" fmla="*/ 321 h 525"/>
              <a:gd name="T10" fmla="*/ 366 w 526"/>
              <a:gd name="T11" fmla="*/ 459 h 525"/>
              <a:gd name="T12" fmla="*/ 125 w 526"/>
              <a:gd name="T13" fmla="*/ 459 h 525"/>
              <a:gd name="T14" fmla="*/ 67 w 526"/>
              <a:gd name="T15" fmla="*/ 401 h 525"/>
              <a:gd name="T16" fmla="*/ 67 w 526"/>
              <a:gd name="T17" fmla="*/ 16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5">
                <a:moveTo>
                  <a:pt x="67" y="160"/>
                </a:moveTo>
                <a:cubicBezTo>
                  <a:pt x="205" y="22"/>
                  <a:pt x="205" y="22"/>
                  <a:pt x="205" y="22"/>
                </a:cubicBezTo>
                <a:cubicBezTo>
                  <a:pt x="227" y="0"/>
                  <a:pt x="263" y="0"/>
                  <a:pt x="285" y="22"/>
                </a:cubicBezTo>
                <a:cubicBezTo>
                  <a:pt x="504" y="241"/>
                  <a:pt x="504" y="241"/>
                  <a:pt x="504" y="241"/>
                </a:cubicBezTo>
                <a:cubicBezTo>
                  <a:pt x="526" y="263"/>
                  <a:pt x="526" y="299"/>
                  <a:pt x="504" y="321"/>
                </a:cubicBezTo>
                <a:cubicBezTo>
                  <a:pt x="366" y="459"/>
                  <a:pt x="366" y="459"/>
                  <a:pt x="366" y="459"/>
                </a:cubicBezTo>
                <a:cubicBezTo>
                  <a:pt x="299" y="525"/>
                  <a:pt x="191" y="525"/>
                  <a:pt x="125" y="459"/>
                </a:cubicBezTo>
                <a:cubicBezTo>
                  <a:pt x="67" y="401"/>
                  <a:pt x="67" y="401"/>
                  <a:pt x="67" y="401"/>
                </a:cubicBezTo>
                <a:cubicBezTo>
                  <a:pt x="0" y="335"/>
                  <a:pt x="0" y="226"/>
                  <a:pt x="67" y="160"/>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6" name="Freeform 8">
            <a:extLst>
              <a:ext uri="{FF2B5EF4-FFF2-40B4-BE49-F238E27FC236}">
                <a16:creationId xmlns:a16="http://schemas.microsoft.com/office/drawing/2014/main" id="{9C25841F-A92B-D049-BCDE-B6C8B1C6C2CB}"/>
              </a:ext>
            </a:extLst>
          </p:cNvPr>
          <p:cNvSpPr>
            <a:spLocks/>
          </p:cNvSpPr>
          <p:nvPr/>
        </p:nvSpPr>
        <p:spPr bwMode="auto">
          <a:xfrm>
            <a:off x="3002444" y="3493300"/>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7" name="Freeform 10">
            <a:extLst>
              <a:ext uri="{FF2B5EF4-FFF2-40B4-BE49-F238E27FC236}">
                <a16:creationId xmlns:a16="http://schemas.microsoft.com/office/drawing/2014/main" id="{36A7A707-CDA2-416F-9ED7-91738A2E9476}"/>
              </a:ext>
            </a:extLst>
          </p:cNvPr>
          <p:cNvSpPr>
            <a:spLocks/>
          </p:cNvSpPr>
          <p:nvPr/>
        </p:nvSpPr>
        <p:spPr bwMode="auto">
          <a:xfrm>
            <a:off x="5459943" y="3493298"/>
            <a:ext cx="2209942" cy="2072614"/>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8" name="Freeform 11">
            <a:extLst>
              <a:ext uri="{FF2B5EF4-FFF2-40B4-BE49-F238E27FC236}">
                <a16:creationId xmlns:a16="http://schemas.microsoft.com/office/drawing/2014/main" id="{1A09C8A6-21DE-B42B-E37D-30E4CE7C5836}"/>
              </a:ext>
            </a:extLst>
          </p:cNvPr>
          <p:cNvSpPr>
            <a:spLocks/>
          </p:cNvSpPr>
          <p:nvPr/>
        </p:nvSpPr>
        <p:spPr bwMode="auto">
          <a:xfrm>
            <a:off x="7921055" y="3493299"/>
            <a:ext cx="2213556" cy="2072614"/>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9" name="Freeform 7">
            <a:extLst>
              <a:ext uri="{FF2B5EF4-FFF2-40B4-BE49-F238E27FC236}">
                <a16:creationId xmlns:a16="http://schemas.microsoft.com/office/drawing/2014/main" id="{03ABDDB0-95F2-7274-5D24-FAE9C33112A3}"/>
              </a:ext>
            </a:extLst>
          </p:cNvPr>
          <p:cNvSpPr>
            <a:spLocks/>
          </p:cNvSpPr>
          <p:nvPr/>
        </p:nvSpPr>
        <p:spPr bwMode="auto">
          <a:xfrm>
            <a:off x="4227580" y="2396458"/>
            <a:ext cx="2213556" cy="2072614"/>
          </a:xfrm>
          <a:custGeom>
            <a:avLst/>
            <a:gdLst>
              <a:gd name="T0" fmla="*/ 23 w 562"/>
              <a:gd name="T1" fmla="*/ 285 h 525"/>
              <a:gd name="T2" fmla="*/ 241 w 562"/>
              <a:gd name="T3" fmla="*/ 503 h 525"/>
              <a:gd name="T4" fmla="*/ 321 w 562"/>
              <a:gd name="T5" fmla="*/ 503 h 525"/>
              <a:gd name="T6" fmla="*/ 540 w 562"/>
              <a:gd name="T7" fmla="*/ 285 h 525"/>
              <a:gd name="T8" fmla="*/ 540 w 562"/>
              <a:gd name="T9" fmla="*/ 204 h 525"/>
              <a:gd name="T10" fmla="*/ 402 w 562"/>
              <a:gd name="T11" fmla="*/ 66 h 525"/>
              <a:gd name="T12" fmla="*/ 161 w 562"/>
              <a:gd name="T13" fmla="*/ 66 h 525"/>
              <a:gd name="T14" fmla="*/ 23 w 562"/>
              <a:gd name="T15" fmla="*/ 204 h 525"/>
              <a:gd name="T16" fmla="*/ 23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3"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2" y="66"/>
                  <a:pt x="402" y="66"/>
                  <a:pt x="402" y="66"/>
                </a:cubicBezTo>
                <a:cubicBezTo>
                  <a:pt x="335" y="0"/>
                  <a:pt x="227" y="0"/>
                  <a:pt x="161" y="66"/>
                </a:cubicBezTo>
                <a:cubicBezTo>
                  <a:pt x="23" y="204"/>
                  <a:pt x="23" y="204"/>
                  <a:pt x="23" y="204"/>
                </a:cubicBezTo>
                <a:cubicBezTo>
                  <a:pt x="0" y="227"/>
                  <a:pt x="0" y="263"/>
                  <a:pt x="23" y="285"/>
                </a:cubicBezTo>
                <a:close/>
              </a:path>
            </a:pathLst>
          </a:cu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0" name="Freeform 18">
            <a:extLst>
              <a:ext uri="{FF2B5EF4-FFF2-40B4-BE49-F238E27FC236}">
                <a16:creationId xmlns:a16="http://schemas.microsoft.com/office/drawing/2014/main" id="{821A5D11-AFA8-35CB-3620-94C6FCCF3BB4}"/>
              </a:ext>
            </a:extLst>
          </p:cNvPr>
          <p:cNvSpPr>
            <a:spLocks/>
          </p:cNvSpPr>
          <p:nvPr/>
        </p:nvSpPr>
        <p:spPr bwMode="auto">
          <a:xfrm>
            <a:off x="9216663" y="2396458"/>
            <a:ext cx="2068997" cy="2072614"/>
          </a:xfrm>
          <a:custGeom>
            <a:avLst/>
            <a:gdLst>
              <a:gd name="T0" fmla="*/ 22 w 525"/>
              <a:gd name="T1" fmla="*/ 285 h 525"/>
              <a:gd name="T2" fmla="*/ 240 w 525"/>
              <a:gd name="T3" fmla="*/ 503 h 525"/>
              <a:gd name="T4" fmla="*/ 320 w 525"/>
              <a:gd name="T5" fmla="*/ 503 h 525"/>
              <a:gd name="T6" fmla="*/ 459 w 525"/>
              <a:gd name="T7" fmla="*/ 365 h 525"/>
              <a:gd name="T8" fmla="*/ 459 w 525"/>
              <a:gd name="T9" fmla="*/ 124 h 525"/>
              <a:gd name="T10" fmla="*/ 401 w 525"/>
              <a:gd name="T11" fmla="*/ 66 h 525"/>
              <a:gd name="T12" fmla="*/ 160 w 525"/>
              <a:gd name="T13" fmla="*/ 66 h 525"/>
              <a:gd name="T14" fmla="*/ 22 w 525"/>
              <a:gd name="T15" fmla="*/ 204 h 525"/>
              <a:gd name="T16" fmla="*/ 22 w 525"/>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525">
                <a:moveTo>
                  <a:pt x="22" y="285"/>
                </a:moveTo>
                <a:cubicBezTo>
                  <a:pt x="240" y="503"/>
                  <a:pt x="240" y="503"/>
                  <a:pt x="240" y="503"/>
                </a:cubicBezTo>
                <a:cubicBezTo>
                  <a:pt x="262" y="525"/>
                  <a:pt x="298" y="525"/>
                  <a:pt x="320" y="503"/>
                </a:cubicBezTo>
                <a:cubicBezTo>
                  <a:pt x="459" y="365"/>
                  <a:pt x="459" y="365"/>
                  <a:pt x="459" y="365"/>
                </a:cubicBezTo>
                <a:cubicBezTo>
                  <a:pt x="525" y="299"/>
                  <a:pt x="525" y="190"/>
                  <a:pt x="459" y="124"/>
                </a:cubicBezTo>
                <a:cubicBezTo>
                  <a:pt x="401" y="66"/>
                  <a:pt x="401" y="66"/>
                  <a:pt x="401" y="66"/>
                </a:cubicBezTo>
                <a:cubicBezTo>
                  <a:pt x="334" y="0"/>
                  <a:pt x="226" y="0"/>
                  <a:pt x="160" y="66"/>
                </a:cubicBezTo>
                <a:cubicBezTo>
                  <a:pt x="22" y="204"/>
                  <a:pt x="22" y="204"/>
                  <a:pt x="22" y="204"/>
                </a:cubicBezTo>
                <a:cubicBezTo>
                  <a:pt x="0" y="227"/>
                  <a:pt x="0" y="263"/>
                  <a:pt x="22" y="285"/>
                </a:cubicBezTo>
                <a:close/>
              </a:path>
            </a:pathLst>
          </a:custGeom>
          <a:solidFill>
            <a:schemeClr val="accent3"/>
          </a:solidFill>
          <a:ln/>
          <a:effectLst/>
        </p:spPr>
        <p:style>
          <a:lnRef idx="0">
            <a:schemeClr val="accent5"/>
          </a:lnRef>
          <a:fillRef idx="3">
            <a:schemeClr val="accent5"/>
          </a:fillRef>
          <a:effectRef idx="3">
            <a:schemeClr val="accent5"/>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1" name="Freeform 5">
            <a:extLst>
              <a:ext uri="{FF2B5EF4-FFF2-40B4-BE49-F238E27FC236}">
                <a16:creationId xmlns:a16="http://schemas.microsoft.com/office/drawing/2014/main" id="{7954497C-CDF4-975D-C42E-14D7BEADA6BE}"/>
              </a:ext>
            </a:extLst>
          </p:cNvPr>
          <p:cNvSpPr>
            <a:spLocks/>
          </p:cNvSpPr>
          <p:nvPr/>
        </p:nvSpPr>
        <p:spPr bwMode="auto">
          <a:xfrm>
            <a:off x="1773695"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0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0" y="66"/>
                </a:cubicBezTo>
                <a:cubicBezTo>
                  <a:pt x="22" y="204"/>
                  <a:pt x="22" y="204"/>
                  <a:pt x="22" y="204"/>
                </a:cubicBezTo>
                <a:cubicBezTo>
                  <a:pt x="0" y="227"/>
                  <a:pt x="0" y="263"/>
                  <a:pt x="22" y="285"/>
                </a:cubicBezTo>
                <a:close/>
              </a:path>
            </a:pathLst>
          </a:custGeom>
          <a:solidFill>
            <a:schemeClr val="tx2"/>
          </a:solidFill>
          <a:ln/>
          <a:effectLst/>
        </p:spPr>
        <p:style>
          <a:lnRef idx="0">
            <a:schemeClr val="accent1"/>
          </a:lnRef>
          <a:fillRef idx="3">
            <a:schemeClr val="accent1"/>
          </a:fillRef>
          <a:effectRef idx="3">
            <a:schemeClr val="accent1"/>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2" name="Freeform 24">
            <a:extLst>
              <a:ext uri="{FF2B5EF4-FFF2-40B4-BE49-F238E27FC236}">
                <a16:creationId xmlns:a16="http://schemas.microsoft.com/office/drawing/2014/main" id="{6698CD09-C9AC-3832-D71C-ED4BAA2A5FFE}"/>
              </a:ext>
            </a:extLst>
          </p:cNvPr>
          <p:cNvSpPr>
            <a:spLocks/>
          </p:cNvSpPr>
          <p:nvPr/>
        </p:nvSpPr>
        <p:spPr bwMode="auto">
          <a:xfrm>
            <a:off x="6685078" y="2396458"/>
            <a:ext cx="2213556" cy="2072614"/>
          </a:xfrm>
          <a:custGeom>
            <a:avLst/>
            <a:gdLst>
              <a:gd name="T0" fmla="*/ 22 w 562"/>
              <a:gd name="T1" fmla="*/ 285 h 525"/>
              <a:gd name="T2" fmla="*/ 241 w 562"/>
              <a:gd name="T3" fmla="*/ 503 h 525"/>
              <a:gd name="T4" fmla="*/ 321 w 562"/>
              <a:gd name="T5" fmla="*/ 503 h 525"/>
              <a:gd name="T6" fmla="*/ 540 w 562"/>
              <a:gd name="T7" fmla="*/ 285 h 525"/>
              <a:gd name="T8" fmla="*/ 540 w 562"/>
              <a:gd name="T9" fmla="*/ 204 h 525"/>
              <a:gd name="T10" fmla="*/ 401 w 562"/>
              <a:gd name="T11" fmla="*/ 66 h 525"/>
              <a:gd name="T12" fmla="*/ 161 w 562"/>
              <a:gd name="T13" fmla="*/ 66 h 525"/>
              <a:gd name="T14" fmla="*/ 22 w 562"/>
              <a:gd name="T15" fmla="*/ 204 h 525"/>
              <a:gd name="T16" fmla="*/ 22 w 562"/>
              <a:gd name="T17" fmla="*/ 28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85"/>
                </a:moveTo>
                <a:cubicBezTo>
                  <a:pt x="241" y="503"/>
                  <a:pt x="241" y="503"/>
                  <a:pt x="241" y="503"/>
                </a:cubicBezTo>
                <a:cubicBezTo>
                  <a:pt x="263" y="525"/>
                  <a:pt x="299" y="525"/>
                  <a:pt x="321" y="503"/>
                </a:cubicBezTo>
                <a:cubicBezTo>
                  <a:pt x="540" y="285"/>
                  <a:pt x="540" y="285"/>
                  <a:pt x="540" y="285"/>
                </a:cubicBezTo>
                <a:cubicBezTo>
                  <a:pt x="562" y="263"/>
                  <a:pt x="562" y="227"/>
                  <a:pt x="540" y="204"/>
                </a:cubicBezTo>
                <a:cubicBezTo>
                  <a:pt x="401" y="66"/>
                  <a:pt x="401" y="66"/>
                  <a:pt x="401" y="66"/>
                </a:cubicBezTo>
                <a:cubicBezTo>
                  <a:pt x="335" y="0"/>
                  <a:pt x="227" y="0"/>
                  <a:pt x="161" y="66"/>
                </a:cubicBezTo>
                <a:cubicBezTo>
                  <a:pt x="22" y="204"/>
                  <a:pt x="22" y="204"/>
                  <a:pt x="22" y="204"/>
                </a:cubicBezTo>
                <a:cubicBezTo>
                  <a:pt x="0" y="227"/>
                  <a:pt x="0" y="263"/>
                  <a:pt x="22" y="285"/>
                </a:cubicBezTo>
                <a:close/>
              </a:path>
            </a:pathLst>
          </a:custGeom>
          <a:solidFill>
            <a:schemeClr val="accent2"/>
          </a:solidFill>
          <a:ln/>
          <a:effectLst/>
        </p:spPr>
        <p:style>
          <a:lnRef idx="0">
            <a:schemeClr val="accent4"/>
          </a:lnRef>
          <a:fillRef idx="3">
            <a:schemeClr val="accent4"/>
          </a:fillRef>
          <a:effectRef idx="3">
            <a:schemeClr val="accent4"/>
          </a:effectRef>
          <a:fontRef idx="minor">
            <a:schemeClr val="lt1"/>
          </a:fontRef>
        </p:style>
        <p:txBody>
          <a:bodyPr vert="horz" wrap="square" lIns="182832" tIns="91416" rIns="182832" bIns="91416" numCol="1" anchor="t" anchorCtr="0" compatLnSpc="1">
            <a:prstTxWarp prst="textNoShape">
              <a:avLst/>
            </a:prstTxWarp>
          </a:bodyPr>
          <a:lstStyle/>
          <a:p>
            <a:endParaRPr lang="en-US" sz="1200" dirty="0">
              <a:latin typeface="+mj-lt"/>
            </a:endParaRPr>
          </a:p>
        </p:txBody>
      </p:sp>
      <p:sp>
        <p:nvSpPr>
          <p:cNvPr id="13" name="Freeform 985">
            <a:extLst>
              <a:ext uri="{FF2B5EF4-FFF2-40B4-BE49-F238E27FC236}">
                <a16:creationId xmlns:a16="http://schemas.microsoft.com/office/drawing/2014/main" id="{1C085617-5816-734E-D97E-BB92346F6633}"/>
              </a:ext>
            </a:extLst>
          </p:cNvPr>
          <p:cNvSpPr>
            <a:spLocks noChangeAspect="1" noChangeArrowheads="1"/>
          </p:cNvSpPr>
          <p:nvPr/>
        </p:nvSpPr>
        <p:spPr bwMode="auto">
          <a:xfrm>
            <a:off x="2527546" y="3076330"/>
            <a:ext cx="705854" cy="705852"/>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latin typeface="+mj-lt"/>
            </a:endParaRPr>
          </a:p>
        </p:txBody>
      </p:sp>
      <p:sp>
        <p:nvSpPr>
          <p:cNvPr id="14" name="Freeform 986">
            <a:extLst>
              <a:ext uri="{FF2B5EF4-FFF2-40B4-BE49-F238E27FC236}">
                <a16:creationId xmlns:a16="http://schemas.microsoft.com/office/drawing/2014/main" id="{AF39705A-A5C4-16B5-E8D6-A497D1AD1BD0}"/>
              </a:ext>
            </a:extLst>
          </p:cNvPr>
          <p:cNvSpPr>
            <a:spLocks noChangeAspect="1" noChangeArrowheads="1"/>
          </p:cNvSpPr>
          <p:nvPr/>
        </p:nvSpPr>
        <p:spPr bwMode="auto">
          <a:xfrm>
            <a:off x="4979624" y="3076330"/>
            <a:ext cx="705854" cy="705852"/>
          </a:xfrm>
          <a:custGeom>
            <a:avLst/>
            <a:gdLst>
              <a:gd name="T0" fmla="*/ 46297 w 285390"/>
              <a:gd name="T1" fmla="*/ 240173 h 285390"/>
              <a:gd name="T2" fmla="*/ 108588 w 285390"/>
              <a:gd name="T3" fmla="*/ 237734 h 285390"/>
              <a:gd name="T4" fmla="*/ 68154 w 285390"/>
              <a:gd name="T5" fmla="*/ 246924 h 285390"/>
              <a:gd name="T6" fmla="*/ 68169 w 285390"/>
              <a:gd name="T7" fmla="*/ 209014 h 285390"/>
              <a:gd name="T8" fmla="*/ 126123 w 285390"/>
              <a:gd name="T9" fmla="*/ 218205 h 285390"/>
              <a:gd name="T10" fmla="*/ 68169 w 285390"/>
              <a:gd name="T11" fmla="*/ 209014 h 285390"/>
              <a:gd name="T12" fmla="*/ 49098 w 285390"/>
              <a:gd name="T13" fmla="*/ 213609 h 285390"/>
              <a:gd name="T14" fmla="*/ 28719 w 285390"/>
              <a:gd name="T15" fmla="*/ 213609 h 285390"/>
              <a:gd name="T16" fmla="*/ 254566 w 285390"/>
              <a:gd name="T17" fmla="*/ 206242 h 285390"/>
              <a:gd name="T18" fmla="*/ 219688 w 285390"/>
              <a:gd name="T19" fmla="*/ 235834 h 285390"/>
              <a:gd name="T20" fmla="*/ 161081 w 285390"/>
              <a:gd name="T21" fmla="*/ 261819 h 285390"/>
              <a:gd name="T22" fmla="*/ 154968 w 285390"/>
              <a:gd name="T23" fmla="*/ 255684 h 285390"/>
              <a:gd name="T24" fmla="*/ 212497 w 285390"/>
              <a:gd name="T25" fmla="*/ 229699 h 285390"/>
              <a:gd name="T26" fmla="*/ 249173 w 285390"/>
              <a:gd name="T27" fmla="*/ 202993 h 285390"/>
              <a:gd name="T28" fmla="*/ 112921 w 285390"/>
              <a:gd name="T29" fmla="*/ 185273 h 285390"/>
              <a:gd name="T30" fmla="*/ 63820 w 285390"/>
              <a:gd name="T31" fmla="*/ 185273 h 285390"/>
              <a:gd name="T32" fmla="*/ 44729 w 285390"/>
              <a:gd name="T33" fmla="*/ 180295 h 285390"/>
              <a:gd name="T34" fmla="*/ 33087 w 285390"/>
              <a:gd name="T35" fmla="*/ 189485 h 285390"/>
              <a:gd name="T36" fmla="*/ 227958 w 285390"/>
              <a:gd name="T37" fmla="*/ 170722 h 285390"/>
              <a:gd name="T38" fmla="*/ 249531 w 285390"/>
              <a:gd name="T39" fmla="*/ 184713 h 285390"/>
              <a:gd name="T40" fmla="*/ 195958 w 285390"/>
              <a:gd name="T41" fmla="*/ 206069 h 285390"/>
              <a:gd name="T42" fmla="*/ 157845 w 285390"/>
              <a:gd name="T43" fmla="*/ 213433 h 285390"/>
              <a:gd name="T44" fmla="*/ 178699 w 285390"/>
              <a:gd name="T45" fmla="*/ 186554 h 285390"/>
              <a:gd name="T46" fmla="*/ 224363 w 285390"/>
              <a:gd name="T47" fmla="*/ 171826 h 285390"/>
              <a:gd name="T48" fmla="*/ 126123 w 285390"/>
              <a:gd name="T49" fmla="*/ 149979 h 285390"/>
              <a:gd name="T50" fmla="*/ 68169 w 285390"/>
              <a:gd name="T51" fmla="*/ 159185 h 285390"/>
              <a:gd name="T52" fmla="*/ 33087 w 285390"/>
              <a:gd name="T53" fmla="*/ 149979 h 285390"/>
              <a:gd name="T54" fmla="*/ 44729 w 285390"/>
              <a:gd name="T55" fmla="*/ 159185 h 285390"/>
              <a:gd name="T56" fmla="*/ 33087 w 285390"/>
              <a:gd name="T57" fmla="*/ 149979 h 285390"/>
              <a:gd name="T58" fmla="*/ 128881 w 285390"/>
              <a:gd name="T59" fmla="*/ 127451 h 285390"/>
              <a:gd name="T60" fmla="*/ 86158 w 285390"/>
              <a:gd name="T61" fmla="*/ 127451 h 285390"/>
              <a:gd name="T62" fmla="*/ 67170 w 285390"/>
              <a:gd name="T63" fmla="*/ 122856 h 285390"/>
              <a:gd name="T64" fmla="*/ 32992 w 285390"/>
              <a:gd name="T65" fmla="*/ 132046 h 285390"/>
              <a:gd name="T66" fmla="*/ 206400 w 285390"/>
              <a:gd name="T67" fmla="*/ 118389 h 285390"/>
              <a:gd name="T68" fmla="*/ 245870 w 285390"/>
              <a:gd name="T69" fmla="*/ 118389 h 285390"/>
              <a:gd name="T70" fmla="*/ 126123 w 285390"/>
              <a:gd name="T71" fmla="*/ 92540 h 285390"/>
              <a:gd name="T72" fmla="*/ 68169 w 285390"/>
              <a:gd name="T73" fmla="*/ 101731 h 285390"/>
              <a:gd name="T74" fmla="*/ 33087 w 285390"/>
              <a:gd name="T75" fmla="*/ 92540 h 285390"/>
              <a:gd name="T76" fmla="*/ 44729 w 285390"/>
              <a:gd name="T77" fmla="*/ 101731 h 285390"/>
              <a:gd name="T78" fmla="*/ 33087 w 285390"/>
              <a:gd name="T79" fmla="*/ 92540 h 285390"/>
              <a:gd name="T80" fmla="*/ 245870 w 285390"/>
              <a:gd name="T81" fmla="*/ 109772 h 285390"/>
              <a:gd name="T82" fmla="*/ 162223 w 285390"/>
              <a:gd name="T83" fmla="*/ 114080 h 285390"/>
              <a:gd name="T84" fmla="*/ 199520 w 285390"/>
              <a:gd name="T85" fmla="*/ 72436 h 285390"/>
              <a:gd name="T86" fmla="*/ 204227 w 285390"/>
              <a:gd name="T87" fmla="*/ 163981 h 285390"/>
              <a:gd name="T88" fmla="*/ 68169 w 285390"/>
              <a:gd name="T89" fmla="*/ 63820 h 285390"/>
              <a:gd name="T90" fmla="*/ 126123 w 285390"/>
              <a:gd name="T91" fmla="*/ 73012 h 285390"/>
              <a:gd name="T92" fmla="*/ 68169 w 285390"/>
              <a:gd name="T93" fmla="*/ 63820 h 285390"/>
              <a:gd name="T94" fmla="*/ 49098 w 285390"/>
              <a:gd name="T95" fmla="*/ 68416 h 285390"/>
              <a:gd name="T96" fmla="*/ 28719 w 285390"/>
              <a:gd name="T97" fmla="*/ 68416 h 285390"/>
              <a:gd name="T98" fmla="*/ 213853 w 285390"/>
              <a:gd name="T99" fmla="*/ 35101 h 285390"/>
              <a:gd name="T100" fmla="*/ 168708 w 285390"/>
              <a:gd name="T101" fmla="*/ 44293 h 285390"/>
              <a:gd name="T102" fmla="*/ 72920 w 285390"/>
              <a:gd name="T103" fmla="*/ 35101 h 285390"/>
              <a:gd name="T104" fmla="*/ 143352 w 285390"/>
              <a:gd name="T105" fmla="*/ 44293 h 285390"/>
              <a:gd name="T106" fmla="*/ 72920 w 285390"/>
              <a:gd name="T107" fmla="*/ 35101 h 285390"/>
              <a:gd name="T108" fmla="*/ 50640 w 285390"/>
              <a:gd name="T109" fmla="*/ 231853 h 285390"/>
              <a:gd name="T110" fmla="*/ 278152 w 285390"/>
              <a:gd name="T111" fmla="*/ 278152 h 285390"/>
              <a:gd name="T112" fmla="*/ 4338 w 285390"/>
              <a:gd name="T113" fmla="*/ 0 h 285390"/>
              <a:gd name="T114" fmla="*/ 286832 w 285390"/>
              <a:gd name="T115" fmla="*/ 282493 h 285390"/>
              <a:gd name="T116" fmla="*/ 47384 w 285390"/>
              <a:gd name="T117" fmla="*/ 285387 h 285390"/>
              <a:gd name="T118" fmla="*/ 0 w 285390"/>
              <a:gd name="T119" fmla="*/ 470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chemeClr val="bg1"/>
          </a:solidFill>
          <a:ln>
            <a:noFill/>
          </a:ln>
          <a:effectLst/>
        </p:spPr>
        <p:txBody>
          <a:bodyPr anchor="ctr"/>
          <a:lstStyle/>
          <a:p>
            <a:endParaRPr lang="en-US" sz="1200" dirty="0">
              <a:latin typeface="+mj-lt"/>
            </a:endParaRPr>
          </a:p>
        </p:txBody>
      </p:sp>
      <p:sp>
        <p:nvSpPr>
          <p:cNvPr id="15" name="Freeform 987">
            <a:extLst>
              <a:ext uri="{FF2B5EF4-FFF2-40B4-BE49-F238E27FC236}">
                <a16:creationId xmlns:a16="http://schemas.microsoft.com/office/drawing/2014/main" id="{19B36AD7-F6E4-0441-C3F3-D5195F732603}"/>
              </a:ext>
            </a:extLst>
          </p:cNvPr>
          <p:cNvSpPr>
            <a:spLocks noChangeAspect="1" noChangeArrowheads="1"/>
          </p:cNvSpPr>
          <p:nvPr/>
        </p:nvSpPr>
        <p:spPr bwMode="auto">
          <a:xfrm>
            <a:off x="7430301" y="3076329"/>
            <a:ext cx="705854" cy="705852"/>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latin typeface="+mj-lt"/>
            </a:endParaRPr>
          </a:p>
        </p:txBody>
      </p:sp>
      <p:sp>
        <p:nvSpPr>
          <p:cNvPr id="16" name="Freeform 988">
            <a:extLst>
              <a:ext uri="{FF2B5EF4-FFF2-40B4-BE49-F238E27FC236}">
                <a16:creationId xmlns:a16="http://schemas.microsoft.com/office/drawing/2014/main" id="{1E92B64F-E924-5380-7ABE-83D1ED5BAFEB}"/>
              </a:ext>
            </a:extLst>
          </p:cNvPr>
          <p:cNvSpPr>
            <a:spLocks noChangeAspect="1" noChangeArrowheads="1"/>
          </p:cNvSpPr>
          <p:nvPr/>
        </p:nvSpPr>
        <p:spPr bwMode="auto">
          <a:xfrm>
            <a:off x="9937920" y="3073401"/>
            <a:ext cx="705854" cy="705852"/>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latin typeface="+mj-lt"/>
            </a:endParaRPr>
          </a:p>
        </p:txBody>
      </p:sp>
      <p:sp>
        <p:nvSpPr>
          <p:cNvPr id="17" name="Subtitle 2">
            <a:extLst>
              <a:ext uri="{FF2B5EF4-FFF2-40B4-BE49-F238E27FC236}">
                <a16:creationId xmlns:a16="http://schemas.microsoft.com/office/drawing/2014/main" id="{642C3EB4-876C-2997-0831-6F59CEEED61F}"/>
              </a:ext>
            </a:extLst>
          </p:cNvPr>
          <p:cNvSpPr txBox="1">
            <a:spLocks/>
          </p:cNvSpPr>
          <p:nvPr/>
        </p:nvSpPr>
        <p:spPr>
          <a:xfrm>
            <a:off x="986914" y="4179233"/>
            <a:ext cx="1413111" cy="92333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pPr algn="l"/>
            <a:endParaRPr lang="en-US" dirty="0">
              <a:solidFill>
                <a:schemeClr val="bg1"/>
              </a:solidFill>
            </a:endParaRPr>
          </a:p>
        </p:txBody>
      </p:sp>
      <p:sp>
        <p:nvSpPr>
          <p:cNvPr id="18" name="Subtitle 2">
            <a:extLst>
              <a:ext uri="{FF2B5EF4-FFF2-40B4-BE49-F238E27FC236}">
                <a16:creationId xmlns:a16="http://schemas.microsoft.com/office/drawing/2014/main" id="{5EDAC2A8-2539-F5CC-1D7F-2B5FBFA4C68D}"/>
              </a:ext>
            </a:extLst>
          </p:cNvPr>
          <p:cNvSpPr txBox="1">
            <a:spLocks/>
          </p:cNvSpPr>
          <p:nvPr/>
        </p:nvSpPr>
        <p:spPr>
          <a:xfrm>
            <a:off x="3437184"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9" name="Subtitle 2">
            <a:extLst>
              <a:ext uri="{FF2B5EF4-FFF2-40B4-BE49-F238E27FC236}">
                <a16:creationId xmlns:a16="http://schemas.microsoft.com/office/drawing/2014/main" id="{1F5467D9-720E-98F1-65A5-AC01E53E4BF4}"/>
              </a:ext>
            </a:extLst>
          </p:cNvPr>
          <p:cNvSpPr txBox="1">
            <a:spLocks/>
          </p:cNvSpPr>
          <p:nvPr/>
        </p:nvSpPr>
        <p:spPr>
          <a:xfrm>
            <a:off x="5907498"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Subtitle 2">
            <a:extLst>
              <a:ext uri="{FF2B5EF4-FFF2-40B4-BE49-F238E27FC236}">
                <a16:creationId xmlns:a16="http://schemas.microsoft.com/office/drawing/2014/main" id="{EEFEFC1C-EE5C-21CA-3F21-976B1102EFB3}"/>
              </a:ext>
            </a:extLst>
          </p:cNvPr>
          <p:cNvSpPr txBox="1">
            <a:spLocks/>
          </p:cNvSpPr>
          <p:nvPr/>
        </p:nvSpPr>
        <p:spPr>
          <a:xfrm>
            <a:off x="8392837" y="4179233"/>
            <a:ext cx="1413111" cy="923330"/>
          </a:xfrm>
          <a:prstGeom prst="rect">
            <a:avLst/>
          </a:prstGeom>
          <a:noFill/>
        </p:spPr>
        <p:txBody>
          <a:bodyPr wrap="square" lIns="0" tIns="0" rIns="0" bIns="0" rtlCol="0">
            <a:spAutoFit/>
          </a:bodyPr>
          <a:lstStyle>
            <a:defPPr>
              <a:defRPr lang="en-US"/>
            </a:defPPr>
            <a:lvl1pPr algn="ct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9B42B44D-0BA5-DDCA-BA5C-2BA7291084CA}"/>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89763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extLst>
              <p:ext uri="{D42A27DB-BD31-4B8C-83A1-F6EECF244321}">
                <p14:modId xmlns:p14="http://schemas.microsoft.com/office/powerpoint/2010/main" val="597914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a:off x="882502" y="2583712"/>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0F84744B-433A-594D-30CD-83A9F28ADDB1}"/>
              </a:ext>
            </a:extLst>
          </p:cNvPr>
          <p:cNvSpPr>
            <a:spLocks noGrp="1"/>
          </p:cNvSpPr>
          <p:nvPr>
            <p:ph type="body" sz="quarter" idx="14"/>
          </p:nvPr>
        </p:nvSpPr>
        <p:spPr/>
        <p:txBody>
          <a:bodyPr/>
          <a:lstStyle/>
          <a:p>
            <a:r>
              <a:rPr lang="en-US" dirty="0"/>
              <a:t>Subtitle</a:t>
            </a:r>
          </a:p>
        </p:txBody>
      </p:sp>
      <p:sp>
        <p:nvSpPr>
          <p:cNvPr id="4" name="Oval 1">
            <a:extLst>
              <a:ext uri="{FF2B5EF4-FFF2-40B4-BE49-F238E27FC236}">
                <a16:creationId xmlns:a16="http://schemas.microsoft.com/office/drawing/2014/main" id="{CF7DCCB9-5223-79F9-F49E-1B4C2CA82836}"/>
              </a:ext>
            </a:extLst>
          </p:cNvPr>
          <p:cNvSpPr/>
          <p:nvPr/>
        </p:nvSpPr>
        <p:spPr>
          <a:xfrm>
            <a:off x="1393663" y="196382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a:t>
            </a:r>
          </a:p>
        </p:txBody>
      </p:sp>
      <p:sp>
        <p:nvSpPr>
          <p:cNvPr id="6" name="Oval 5">
            <a:extLst>
              <a:ext uri="{FF2B5EF4-FFF2-40B4-BE49-F238E27FC236}">
                <a16:creationId xmlns:a16="http://schemas.microsoft.com/office/drawing/2014/main" id="{0E207E1F-9C83-9EA5-1A79-FFAAE91972DD}"/>
              </a:ext>
            </a:extLst>
          </p:cNvPr>
          <p:cNvSpPr/>
          <p:nvPr/>
        </p:nvSpPr>
        <p:spPr>
          <a:xfrm>
            <a:off x="3396787" y="1963826"/>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t>
            </a:r>
          </a:p>
        </p:txBody>
      </p:sp>
      <p:sp>
        <p:nvSpPr>
          <p:cNvPr id="8" name="Oval 8">
            <a:extLst>
              <a:ext uri="{FF2B5EF4-FFF2-40B4-BE49-F238E27FC236}">
                <a16:creationId xmlns:a16="http://schemas.microsoft.com/office/drawing/2014/main" id="{B6EFEE3A-45C5-1D55-DE56-9AD9A37B4109}"/>
              </a:ext>
            </a:extLst>
          </p:cNvPr>
          <p:cNvSpPr/>
          <p:nvPr/>
        </p:nvSpPr>
        <p:spPr>
          <a:xfrm>
            <a:off x="5399911" y="1963826"/>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t>
            </a:r>
          </a:p>
        </p:txBody>
      </p:sp>
      <p:sp>
        <p:nvSpPr>
          <p:cNvPr id="10" name="Oval 11">
            <a:extLst>
              <a:ext uri="{FF2B5EF4-FFF2-40B4-BE49-F238E27FC236}">
                <a16:creationId xmlns:a16="http://schemas.microsoft.com/office/drawing/2014/main" id="{712B86D7-A76B-F738-2055-D07430D9F599}"/>
              </a:ext>
            </a:extLst>
          </p:cNvPr>
          <p:cNvSpPr/>
          <p:nvPr/>
        </p:nvSpPr>
        <p:spPr>
          <a:xfrm>
            <a:off x="7403035" y="1963826"/>
            <a:ext cx="1249302" cy="12493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
            </a:r>
          </a:p>
        </p:txBody>
      </p:sp>
      <p:sp>
        <p:nvSpPr>
          <p:cNvPr id="12" name="Oval 14">
            <a:extLst>
              <a:ext uri="{FF2B5EF4-FFF2-40B4-BE49-F238E27FC236}">
                <a16:creationId xmlns:a16="http://schemas.microsoft.com/office/drawing/2014/main" id="{E21B7047-35FE-F1D9-6740-E719D436E4BE}"/>
              </a:ext>
            </a:extLst>
          </p:cNvPr>
          <p:cNvSpPr/>
          <p:nvPr/>
        </p:nvSpPr>
        <p:spPr>
          <a:xfrm>
            <a:off x="9406159" y="1963826"/>
            <a:ext cx="1249302" cy="12493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a:t>
            </a:r>
          </a:p>
        </p:txBody>
      </p:sp>
      <p:sp>
        <p:nvSpPr>
          <p:cNvPr id="14" name="TextBox 16">
            <a:extLst>
              <a:ext uri="{FF2B5EF4-FFF2-40B4-BE49-F238E27FC236}">
                <a16:creationId xmlns:a16="http://schemas.microsoft.com/office/drawing/2014/main" id="{98882F0F-395F-5B91-5D34-B56C16234267}"/>
              </a:ext>
            </a:extLst>
          </p:cNvPr>
          <p:cNvSpPr txBox="1"/>
          <p:nvPr/>
        </p:nvSpPr>
        <p:spPr>
          <a:xfrm>
            <a:off x="1477943"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1</a:t>
            </a:r>
          </a:p>
        </p:txBody>
      </p:sp>
      <p:sp>
        <p:nvSpPr>
          <p:cNvPr id="15" name="TextBox 17">
            <a:extLst>
              <a:ext uri="{FF2B5EF4-FFF2-40B4-BE49-F238E27FC236}">
                <a16:creationId xmlns:a16="http://schemas.microsoft.com/office/drawing/2014/main" id="{464CB634-D9CA-B587-39C6-B89627BDC63E}"/>
              </a:ext>
            </a:extLst>
          </p:cNvPr>
          <p:cNvSpPr txBox="1"/>
          <p:nvPr/>
        </p:nvSpPr>
        <p:spPr>
          <a:xfrm>
            <a:off x="3481067"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2</a:t>
            </a:r>
          </a:p>
        </p:txBody>
      </p:sp>
      <p:sp>
        <p:nvSpPr>
          <p:cNvPr id="16" name="TextBox 18">
            <a:extLst>
              <a:ext uri="{FF2B5EF4-FFF2-40B4-BE49-F238E27FC236}">
                <a16:creationId xmlns:a16="http://schemas.microsoft.com/office/drawing/2014/main" id="{25945564-19AF-A611-4699-E1A508A98DB4}"/>
              </a:ext>
            </a:extLst>
          </p:cNvPr>
          <p:cNvSpPr txBox="1"/>
          <p:nvPr/>
        </p:nvSpPr>
        <p:spPr>
          <a:xfrm>
            <a:off x="5484192"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3</a:t>
            </a:r>
          </a:p>
        </p:txBody>
      </p:sp>
      <p:sp>
        <p:nvSpPr>
          <p:cNvPr id="17" name="TextBox 19">
            <a:extLst>
              <a:ext uri="{FF2B5EF4-FFF2-40B4-BE49-F238E27FC236}">
                <a16:creationId xmlns:a16="http://schemas.microsoft.com/office/drawing/2014/main" id="{66B76E9E-8158-6872-6343-45A00B654E4D}"/>
              </a:ext>
            </a:extLst>
          </p:cNvPr>
          <p:cNvSpPr txBox="1"/>
          <p:nvPr/>
        </p:nvSpPr>
        <p:spPr>
          <a:xfrm>
            <a:off x="7487315"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4</a:t>
            </a:r>
          </a:p>
        </p:txBody>
      </p:sp>
      <p:sp>
        <p:nvSpPr>
          <p:cNvPr id="18" name="TextBox 20">
            <a:extLst>
              <a:ext uri="{FF2B5EF4-FFF2-40B4-BE49-F238E27FC236}">
                <a16:creationId xmlns:a16="http://schemas.microsoft.com/office/drawing/2014/main" id="{0B3996B8-01CE-98F2-1104-A4C754A5EF06}"/>
              </a:ext>
            </a:extLst>
          </p:cNvPr>
          <p:cNvSpPr txBox="1"/>
          <p:nvPr/>
        </p:nvSpPr>
        <p:spPr>
          <a:xfrm>
            <a:off x="9490440" y="3359999"/>
            <a:ext cx="1080744" cy="307777"/>
          </a:xfrm>
          <a:prstGeom prst="rect">
            <a:avLst/>
          </a:prstGeom>
          <a:noFill/>
        </p:spPr>
        <p:txBody>
          <a:bodyPr wrap="none" rtlCol="0" anchor="ctr">
            <a:spAutoFit/>
          </a:bodyPr>
          <a:lstStyle/>
          <a:p>
            <a:pPr algn="ctr"/>
            <a:r>
              <a:rPr lang="en-US" sz="1400" b="1" dirty="0">
                <a:solidFill>
                  <a:schemeClr val="tx2"/>
                </a:solidFill>
                <a:cs typeface="Poppins" pitchFamily="2" charset="77"/>
              </a:rPr>
              <a:t>TITLE 05</a:t>
            </a:r>
          </a:p>
        </p:txBody>
      </p:sp>
      <p:sp>
        <p:nvSpPr>
          <p:cNvPr id="19" name="Right Arrow 25">
            <a:extLst>
              <a:ext uri="{FF2B5EF4-FFF2-40B4-BE49-F238E27FC236}">
                <a16:creationId xmlns:a16="http://schemas.microsoft.com/office/drawing/2014/main" id="{A05F97E1-54C8-5578-AEB3-7194248CCFB6}"/>
              </a:ext>
            </a:extLst>
          </p:cNvPr>
          <p:cNvSpPr/>
          <p:nvPr/>
        </p:nvSpPr>
        <p:spPr>
          <a:xfrm>
            <a:off x="8789991" y="1376363"/>
            <a:ext cx="2481640" cy="507781"/>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E</a:t>
            </a:r>
          </a:p>
        </p:txBody>
      </p:sp>
      <p:sp>
        <p:nvSpPr>
          <p:cNvPr id="20" name="Right Arrow 24">
            <a:extLst>
              <a:ext uri="{FF2B5EF4-FFF2-40B4-BE49-F238E27FC236}">
                <a16:creationId xmlns:a16="http://schemas.microsoft.com/office/drawing/2014/main" id="{80931129-A0E4-7262-5800-53EE879BAB6A}"/>
              </a:ext>
            </a:extLst>
          </p:cNvPr>
          <p:cNvSpPr/>
          <p:nvPr/>
        </p:nvSpPr>
        <p:spPr>
          <a:xfrm>
            <a:off x="6786866" y="1376363"/>
            <a:ext cx="2481640" cy="507781"/>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D</a:t>
            </a:r>
          </a:p>
        </p:txBody>
      </p:sp>
      <p:sp>
        <p:nvSpPr>
          <p:cNvPr id="21" name="Right Arrow 23">
            <a:extLst>
              <a:ext uri="{FF2B5EF4-FFF2-40B4-BE49-F238E27FC236}">
                <a16:creationId xmlns:a16="http://schemas.microsoft.com/office/drawing/2014/main" id="{7EABCFE2-9C42-3B4D-E66B-652133D74331}"/>
              </a:ext>
            </a:extLst>
          </p:cNvPr>
          <p:cNvSpPr/>
          <p:nvPr/>
        </p:nvSpPr>
        <p:spPr>
          <a:xfrm>
            <a:off x="4783742" y="1376363"/>
            <a:ext cx="2481640" cy="507781"/>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C</a:t>
            </a:r>
          </a:p>
        </p:txBody>
      </p:sp>
      <p:sp>
        <p:nvSpPr>
          <p:cNvPr id="22" name="Right Arrow 22">
            <a:extLst>
              <a:ext uri="{FF2B5EF4-FFF2-40B4-BE49-F238E27FC236}">
                <a16:creationId xmlns:a16="http://schemas.microsoft.com/office/drawing/2014/main" id="{745E8E89-C03A-43B9-B2BA-499DC67B5185}"/>
              </a:ext>
            </a:extLst>
          </p:cNvPr>
          <p:cNvSpPr/>
          <p:nvPr/>
        </p:nvSpPr>
        <p:spPr>
          <a:xfrm>
            <a:off x="2780618" y="1376363"/>
            <a:ext cx="2481640" cy="507781"/>
          </a:xfrm>
          <a:prstGeom prst="rightArrow">
            <a:avLst>
              <a:gd name="adj1" fmla="val 50000"/>
              <a:gd name="adj2" fmla="val 6285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B</a:t>
            </a:r>
          </a:p>
        </p:txBody>
      </p:sp>
      <p:sp>
        <p:nvSpPr>
          <p:cNvPr id="23" name="Right Arrow 21">
            <a:extLst>
              <a:ext uri="{FF2B5EF4-FFF2-40B4-BE49-F238E27FC236}">
                <a16:creationId xmlns:a16="http://schemas.microsoft.com/office/drawing/2014/main" id="{81736954-8C36-78A2-9B5A-80EACC1E330E}"/>
              </a:ext>
            </a:extLst>
          </p:cNvPr>
          <p:cNvSpPr/>
          <p:nvPr/>
        </p:nvSpPr>
        <p:spPr>
          <a:xfrm>
            <a:off x="777494" y="1376363"/>
            <a:ext cx="2481640" cy="507781"/>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GE A</a:t>
            </a:r>
          </a:p>
        </p:txBody>
      </p:sp>
      <p:sp>
        <p:nvSpPr>
          <p:cNvPr id="29" name="Subtitle 2">
            <a:extLst>
              <a:ext uri="{FF2B5EF4-FFF2-40B4-BE49-F238E27FC236}">
                <a16:creationId xmlns:a16="http://schemas.microsoft.com/office/drawing/2014/main" id="{F9033299-6FD7-BB21-D73D-DE7A37622FD6}"/>
              </a:ext>
            </a:extLst>
          </p:cNvPr>
          <p:cNvSpPr txBox="1">
            <a:spLocks/>
          </p:cNvSpPr>
          <p:nvPr/>
        </p:nvSpPr>
        <p:spPr>
          <a:xfrm>
            <a:off x="1113013" y="3725099"/>
            <a:ext cx="1824878" cy="2123658"/>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a:p>
            <a:pPr algn="l">
              <a:lnSpc>
                <a:spcPct val="100000"/>
              </a:lnSpc>
              <a:spcBef>
                <a:spcPts val="0"/>
              </a:spcBef>
            </a:pPr>
            <a:endParaRPr lang="en-US" sz="1200" dirty="0">
              <a:solidFill>
                <a:schemeClr val="tx1"/>
              </a:solidFill>
              <a:latin typeface="+mn-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id="{644A77AA-98E5-6215-0F4C-322BC71E082E}"/>
              </a:ext>
            </a:extLst>
          </p:cNvPr>
          <p:cNvSpPr txBox="1">
            <a:spLocks/>
          </p:cNvSpPr>
          <p:nvPr/>
        </p:nvSpPr>
        <p:spPr>
          <a:xfrm>
            <a:off x="311613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1" name="Subtitle 2">
            <a:extLst>
              <a:ext uri="{FF2B5EF4-FFF2-40B4-BE49-F238E27FC236}">
                <a16:creationId xmlns:a16="http://schemas.microsoft.com/office/drawing/2014/main" id="{61899FB3-1353-E990-1F75-ECFD2AF6EA7D}"/>
              </a:ext>
            </a:extLst>
          </p:cNvPr>
          <p:cNvSpPr txBox="1">
            <a:spLocks/>
          </p:cNvSpPr>
          <p:nvPr/>
        </p:nvSpPr>
        <p:spPr>
          <a:xfrm>
            <a:off x="5119261"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2" name="Subtitle 2">
            <a:extLst>
              <a:ext uri="{FF2B5EF4-FFF2-40B4-BE49-F238E27FC236}">
                <a16:creationId xmlns:a16="http://schemas.microsoft.com/office/drawing/2014/main" id="{7910A708-85A2-F211-F8D7-E77E41237138}"/>
              </a:ext>
            </a:extLst>
          </p:cNvPr>
          <p:cNvSpPr txBox="1">
            <a:spLocks/>
          </p:cNvSpPr>
          <p:nvPr/>
        </p:nvSpPr>
        <p:spPr>
          <a:xfrm>
            <a:off x="7122387"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9125510" y="3725099"/>
            <a:ext cx="1824878"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a:p>
            <a:pPr algn="l">
              <a:lnSpc>
                <a:spcPct val="100000"/>
              </a:lnSpc>
              <a:spcBef>
                <a:spcPts val="0"/>
              </a:spcBef>
            </a:pPr>
            <a:r>
              <a:rPr lang="en-US" sz="1200" dirty="0">
                <a:solidFill>
                  <a:schemeClr val="tx1"/>
                </a:solidFill>
                <a:latin typeface="+mn-lt"/>
                <a:ea typeface="Lato Light" panose="020F0502020204030203" pitchFamily="34" charset="0"/>
                <a:cs typeface="Mukta ExtraLight" panose="020B0000000000000000" pitchFamily="34" charset="77"/>
              </a:rPr>
              <a:t>Lorem ipsum dolor sit </a:t>
            </a:r>
            <a:r>
              <a:rPr lang="en-US" sz="1200" dirty="0" err="1">
                <a:solidFill>
                  <a:schemeClr val="tx1"/>
                </a:solidFill>
                <a:latin typeface="+mn-lt"/>
                <a:ea typeface="Lato Light" panose="020F0502020204030203" pitchFamily="34" charset="0"/>
                <a:cs typeface="Mukta ExtraLight" panose="020B0000000000000000" pitchFamily="34" charset="77"/>
              </a:rPr>
              <a:t>amet</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consectetur</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adipiscing</a:t>
            </a:r>
            <a:r>
              <a:rPr lang="en-US" sz="1200" dirty="0">
                <a:solidFill>
                  <a:schemeClr val="tx1"/>
                </a:solidFill>
                <a:latin typeface="+mn-lt"/>
                <a:ea typeface="Lato Light" panose="020F0502020204030203" pitchFamily="34" charset="0"/>
                <a:cs typeface="Mukta ExtraLight" panose="020B0000000000000000" pitchFamily="34" charset="77"/>
              </a:rPr>
              <a:t> </a:t>
            </a:r>
            <a:r>
              <a:rPr lang="en-US" sz="1200" dirty="0" err="1">
                <a:solidFill>
                  <a:schemeClr val="tx1"/>
                </a:solidFill>
                <a:latin typeface="+mn-lt"/>
                <a:ea typeface="Lato Light" panose="020F0502020204030203" pitchFamily="34" charset="0"/>
                <a:cs typeface="Mukta ExtraLight" panose="020B0000000000000000" pitchFamily="34" charset="77"/>
              </a:rPr>
              <a:t>elit</a:t>
            </a:r>
            <a:r>
              <a:rPr lang="en-US" sz="1200" dirty="0">
                <a:solidFill>
                  <a:schemeClr val="tx1"/>
                </a:solidFill>
                <a:latin typeface="+mn-lt"/>
                <a:ea typeface="Lato Light" panose="020F0502020204030203" pitchFamily="34" charset="0"/>
                <a:cs typeface="Mukta ExtraLight" panose="020B0000000000000000" pitchFamily="34" charset="77"/>
              </a:rPr>
              <a:t> </a:t>
            </a:r>
          </a:p>
        </p:txBody>
      </p:sp>
      <p:sp>
        <p:nvSpPr>
          <p:cNvPr id="34" name="Left Arrow 40">
            <a:extLst>
              <a:ext uri="{FF2B5EF4-FFF2-40B4-BE49-F238E27FC236}">
                <a16:creationId xmlns:a16="http://schemas.microsoft.com/office/drawing/2014/main" id="{E62FFFC0-9CC7-19AA-EC87-9E5FE3470BF5}"/>
              </a:ext>
            </a:extLst>
          </p:cNvPr>
          <p:cNvSpPr/>
          <p:nvPr/>
        </p:nvSpPr>
        <p:spPr>
          <a:xfrm>
            <a:off x="384175" y="5561949"/>
            <a:ext cx="6738212" cy="683582"/>
          </a:xfrm>
          <a:prstGeom prst="lef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5" name="Right Arrow 41">
            <a:extLst>
              <a:ext uri="{FF2B5EF4-FFF2-40B4-BE49-F238E27FC236}">
                <a16:creationId xmlns:a16="http://schemas.microsoft.com/office/drawing/2014/main" id="{34B407F7-C7D5-3CE1-2C98-50EDA38EAF6E}"/>
              </a:ext>
            </a:extLst>
          </p:cNvPr>
          <p:cNvSpPr/>
          <p:nvPr/>
        </p:nvSpPr>
        <p:spPr>
          <a:xfrm>
            <a:off x="7122387" y="5561949"/>
            <a:ext cx="4698138" cy="6835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TextBox 42">
            <a:extLst>
              <a:ext uri="{FF2B5EF4-FFF2-40B4-BE49-F238E27FC236}">
                <a16:creationId xmlns:a16="http://schemas.microsoft.com/office/drawing/2014/main" id="{9740624D-0447-E282-2A74-E48D51749916}"/>
              </a:ext>
            </a:extLst>
          </p:cNvPr>
          <p:cNvSpPr txBox="1"/>
          <p:nvPr/>
        </p:nvSpPr>
        <p:spPr>
          <a:xfrm>
            <a:off x="3557137"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37" name="TextBox 43">
            <a:extLst>
              <a:ext uri="{FF2B5EF4-FFF2-40B4-BE49-F238E27FC236}">
                <a16:creationId xmlns:a16="http://schemas.microsoft.com/office/drawing/2014/main" id="{D96AA64F-4921-8C1F-3605-EFF963EF245E}"/>
              </a:ext>
            </a:extLst>
          </p:cNvPr>
          <p:cNvSpPr txBox="1"/>
          <p:nvPr/>
        </p:nvSpPr>
        <p:spPr>
          <a:xfrm>
            <a:off x="8870636" y="5765240"/>
            <a:ext cx="652744" cy="276999"/>
          </a:xfrm>
          <a:prstGeom prst="rect">
            <a:avLst/>
          </a:prstGeom>
          <a:noFill/>
        </p:spPr>
        <p:txBody>
          <a:bodyPr wrap="none" rtlCol="0" anchor="ctr">
            <a:spAutoFit/>
          </a:bodyPr>
          <a:lstStyle/>
          <a:p>
            <a:pPr algn="ctr"/>
            <a:r>
              <a:rPr lang="en-US" sz="1200" b="1" dirty="0">
                <a:solidFill>
                  <a:schemeClr val="bg1"/>
                </a:solidFill>
                <a:cs typeface="Poppins" pitchFamily="2" charset="77"/>
              </a:rPr>
              <a:t>XXXX</a:t>
            </a:r>
          </a:p>
        </p:txBody>
      </p:sp>
      <p:sp>
        <p:nvSpPr>
          <p:cNvPr id="5" name="Footer Placeholder 4">
            <a:extLst>
              <a:ext uri="{FF2B5EF4-FFF2-40B4-BE49-F238E27FC236}">
                <a16:creationId xmlns:a16="http://schemas.microsoft.com/office/drawing/2014/main" id="{10BE228B-3E8B-CEE3-F006-E30527E7A0E1}"/>
              </a:ext>
            </a:extLst>
          </p:cNvPr>
          <p:cNvSpPr>
            <a:spLocks noGrp="1"/>
          </p:cNvSpPr>
          <p:nvPr>
            <p:ph type="ftr" sz="quarter" idx="3"/>
          </p:nvPr>
        </p:nvSpPr>
        <p:spPr/>
        <p:txBody>
          <a:bodyPr/>
          <a:lstStyle/>
          <a:p>
            <a:r>
              <a:rPr lang="en-US"/>
              <a:t>Source:_______</a:t>
            </a:r>
            <a:endParaRPr lang="en-US" dirty="0"/>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en-US" dirty="0"/>
              <a:t>Template - Go-To-Market Slide</a:t>
            </a:r>
          </a:p>
        </p:txBody>
      </p:sp>
    </p:spTree>
    <p:extLst>
      <p:ext uri="{BB962C8B-B14F-4D97-AF65-F5344CB8AC3E}">
        <p14:creationId xmlns:p14="http://schemas.microsoft.com/office/powerpoint/2010/main" val="42103828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extLst>
              <p:ext uri="{D42A27DB-BD31-4B8C-83A1-F6EECF244321}">
                <p14:modId xmlns:p14="http://schemas.microsoft.com/office/powerpoint/2010/main" val="3607898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BD66ADFA-EEAA-CFC2-7D97-68EA12A058C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dirty="0"/>
              <a:t>Template - Description Slides</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71474" y="1520826"/>
            <a:ext cx="2234491"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512346"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5" name="Rectangle 6">
            <a:extLst>
              <a:ext uri="{FF2B5EF4-FFF2-40B4-BE49-F238E27FC236}">
                <a16:creationId xmlns:a16="http://schemas.microsoft.com/office/drawing/2014/main" id="{063413C1-1A2F-5AFB-6FE0-D0B18C5B144E}"/>
              </a:ext>
            </a:extLst>
          </p:cNvPr>
          <p:cNvSpPr/>
          <p:nvPr/>
        </p:nvSpPr>
        <p:spPr>
          <a:xfrm>
            <a:off x="371476" y="5606426"/>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6" name="Rectangle 7">
            <a:extLst>
              <a:ext uri="{FF2B5EF4-FFF2-40B4-BE49-F238E27FC236}">
                <a16:creationId xmlns:a16="http://schemas.microsoft.com/office/drawing/2014/main" id="{A810971F-8518-D033-78DE-1765066883E1}"/>
              </a:ext>
            </a:extLst>
          </p:cNvPr>
          <p:cNvSpPr/>
          <p:nvPr/>
        </p:nvSpPr>
        <p:spPr>
          <a:xfrm>
            <a:off x="2669463" y="5606426"/>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Rectangle 8">
            <a:extLst>
              <a:ext uri="{FF2B5EF4-FFF2-40B4-BE49-F238E27FC236}">
                <a16:creationId xmlns:a16="http://schemas.microsoft.com/office/drawing/2014/main" id="{00CAFFF0-10D2-106E-D19C-62DA9648DD04}"/>
              </a:ext>
            </a:extLst>
          </p:cNvPr>
          <p:cNvSpPr/>
          <p:nvPr/>
        </p:nvSpPr>
        <p:spPr>
          <a:xfrm>
            <a:off x="4967453" y="5606426"/>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8" name="Rectangle 9">
            <a:extLst>
              <a:ext uri="{FF2B5EF4-FFF2-40B4-BE49-F238E27FC236}">
                <a16:creationId xmlns:a16="http://schemas.microsoft.com/office/drawing/2014/main" id="{0BA86717-6158-AE41-59DD-8A980FB3A52E}"/>
              </a:ext>
            </a:extLst>
          </p:cNvPr>
          <p:cNvSpPr/>
          <p:nvPr/>
        </p:nvSpPr>
        <p:spPr>
          <a:xfrm>
            <a:off x="7265442" y="5603628"/>
            <a:ext cx="2257098" cy="7045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9" name="Rectangle 10">
            <a:extLst>
              <a:ext uri="{FF2B5EF4-FFF2-40B4-BE49-F238E27FC236}">
                <a16:creationId xmlns:a16="http://schemas.microsoft.com/office/drawing/2014/main" id="{5972A1F1-4939-4D14-4CDA-FEE3BB0DDEE0}"/>
              </a:ext>
            </a:extLst>
          </p:cNvPr>
          <p:cNvSpPr/>
          <p:nvPr/>
        </p:nvSpPr>
        <p:spPr>
          <a:xfrm>
            <a:off x="9563428" y="5603628"/>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0" name="TextBox 11">
            <a:extLst>
              <a:ext uri="{FF2B5EF4-FFF2-40B4-BE49-F238E27FC236}">
                <a16:creationId xmlns:a16="http://schemas.microsoft.com/office/drawing/2014/main" id="{5DC37FAA-7260-B814-1233-4C4B997FDFA5}"/>
              </a:ext>
            </a:extLst>
          </p:cNvPr>
          <p:cNvSpPr txBox="1"/>
          <p:nvPr/>
        </p:nvSpPr>
        <p:spPr>
          <a:xfrm>
            <a:off x="1046657"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1</a:t>
            </a:r>
          </a:p>
        </p:txBody>
      </p:sp>
      <p:sp>
        <p:nvSpPr>
          <p:cNvPr id="41" name="TextBox 12">
            <a:extLst>
              <a:ext uri="{FF2B5EF4-FFF2-40B4-BE49-F238E27FC236}">
                <a16:creationId xmlns:a16="http://schemas.microsoft.com/office/drawing/2014/main" id="{98373745-7558-70D6-4E13-68BC004CA2B0}"/>
              </a:ext>
            </a:extLst>
          </p:cNvPr>
          <p:cNvSpPr txBox="1"/>
          <p:nvPr/>
        </p:nvSpPr>
        <p:spPr>
          <a:xfrm>
            <a:off x="3322036" y="5820058"/>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2</a:t>
            </a:r>
          </a:p>
        </p:txBody>
      </p:sp>
      <p:sp>
        <p:nvSpPr>
          <p:cNvPr id="42" name="TextBox 13">
            <a:extLst>
              <a:ext uri="{FF2B5EF4-FFF2-40B4-BE49-F238E27FC236}">
                <a16:creationId xmlns:a16="http://schemas.microsoft.com/office/drawing/2014/main" id="{E020F665-C883-8ED4-8639-E8E5B424FA6F}"/>
              </a:ext>
            </a:extLst>
          </p:cNvPr>
          <p:cNvSpPr txBox="1"/>
          <p:nvPr/>
        </p:nvSpPr>
        <p:spPr>
          <a:xfrm>
            <a:off x="5567870" y="5820058"/>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3</a:t>
            </a:r>
          </a:p>
        </p:txBody>
      </p:sp>
      <p:sp>
        <p:nvSpPr>
          <p:cNvPr id="43" name="TextBox 14">
            <a:extLst>
              <a:ext uri="{FF2B5EF4-FFF2-40B4-BE49-F238E27FC236}">
                <a16:creationId xmlns:a16="http://schemas.microsoft.com/office/drawing/2014/main" id="{CFC85A0A-900D-C5F8-4EB7-58587BF0468B}"/>
              </a:ext>
            </a:extLst>
          </p:cNvPr>
          <p:cNvSpPr txBox="1"/>
          <p:nvPr/>
        </p:nvSpPr>
        <p:spPr>
          <a:xfrm>
            <a:off x="7865859" y="5817260"/>
            <a:ext cx="1056268"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TLE 04</a:t>
            </a:r>
          </a:p>
        </p:txBody>
      </p:sp>
      <p:sp>
        <p:nvSpPr>
          <p:cNvPr id="44" name="TextBox 15">
            <a:extLst>
              <a:ext uri="{FF2B5EF4-FFF2-40B4-BE49-F238E27FC236}">
                <a16:creationId xmlns:a16="http://schemas.microsoft.com/office/drawing/2014/main" id="{8C520B5E-E449-B7D8-013E-DEF7D6BFCDFB}"/>
              </a:ext>
            </a:extLst>
          </p:cNvPr>
          <p:cNvSpPr txBox="1"/>
          <p:nvPr/>
        </p:nvSpPr>
        <p:spPr>
          <a:xfrm>
            <a:off x="10216000" y="5816269"/>
            <a:ext cx="951957" cy="277307"/>
          </a:xfrm>
          <a:prstGeom prst="rect">
            <a:avLst/>
          </a:prstGeom>
          <a:noFill/>
        </p:spPr>
        <p:txBody>
          <a:bodyPr wrap="none" rtlCol="0" anchor="ctr">
            <a:spAutoFit/>
          </a:bodyPr>
          <a:lstStyle/>
          <a:p>
            <a:pPr algn="ctr"/>
            <a:r>
              <a:rPr lang="en-US" sz="1200" b="1" dirty="0">
                <a:solidFill>
                  <a:schemeClr val="bg1"/>
                </a:solidFill>
                <a:cs typeface="Poppins" pitchFamily="2" charset="77"/>
              </a:rPr>
              <a:t>TITLE 05</a:t>
            </a:r>
          </a:p>
        </p:txBody>
      </p:sp>
      <p:sp>
        <p:nvSpPr>
          <p:cNvPr id="45" name="Triangle 18">
            <a:extLst>
              <a:ext uri="{FF2B5EF4-FFF2-40B4-BE49-F238E27FC236}">
                <a16:creationId xmlns:a16="http://schemas.microsoft.com/office/drawing/2014/main" id="{517E6834-6075-5F54-6BBF-24609C5F2FB8}"/>
              </a:ext>
            </a:extLst>
          </p:cNvPr>
          <p:cNvSpPr/>
          <p:nvPr/>
        </p:nvSpPr>
        <p:spPr>
          <a:xfrm>
            <a:off x="932645" y="5291233"/>
            <a:ext cx="1179975" cy="25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Triangle 19">
            <a:extLst>
              <a:ext uri="{FF2B5EF4-FFF2-40B4-BE49-F238E27FC236}">
                <a16:creationId xmlns:a16="http://schemas.microsoft.com/office/drawing/2014/main" id="{33B5E022-A531-6E9F-96FF-98741E5398CA}"/>
              </a:ext>
            </a:extLst>
          </p:cNvPr>
          <p:cNvSpPr/>
          <p:nvPr/>
        </p:nvSpPr>
        <p:spPr>
          <a:xfrm>
            <a:off x="3208024" y="5291233"/>
            <a:ext cx="1179975" cy="2509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Triangle 20">
            <a:extLst>
              <a:ext uri="{FF2B5EF4-FFF2-40B4-BE49-F238E27FC236}">
                <a16:creationId xmlns:a16="http://schemas.microsoft.com/office/drawing/2014/main" id="{E95BB625-7566-2EC5-F1B2-8FCEA5224BAD}"/>
              </a:ext>
            </a:extLst>
          </p:cNvPr>
          <p:cNvSpPr/>
          <p:nvPr/>
        </p:nvSpPr>
        <p:spPr>
          <a:xfrm>
            <a:off x="5506013" y="5291233"/>
            <a:ext cx="1179975" cy="2509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Triangle 21">
            <a:extLst>
              <a:ext uri="{FF2B5EF4-FFF2-40B4-BE49-F238E27FC236}">
                <a16:creationId xmlns:a16="http://schemas.microsoft.com/office/drawing/2014/main" id="{C8063F64-8ADE-F84F-14B3-8B1B9B0E62C7}"/>
              </a:ext>
            </a:extLst>
          </p:cNvPr>
          <p:cNvSpPr/>
          <p:nvPr/>
        </p:nvSpPr>
        <p:spPr>
          <a:xfrm>
            <a:off x="7804005" y="5291233"/>
            <a:ext cx="1179975" cy="2509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9" name="Triangle 22">
            <a:extLst>
              <a:ext uri="{FF2B5EF4-FFF2-40B4-BE49-F238E27FC236}">
                <a16:creationId xmlns:a16="http://schemas.microsoft.com/office/drawing/2014/main" id="{01CDE0EB-637B-D9DA-0E03-63D8D865716E}"/>
              </a:ext>
            </a:extLst>
          </p:cNvPr>
          <p:cNvSpPr/>
          <p:nvPr/>
        </p:nvSpPr>
        <p:spPr>
          <a:xfrm>
            <a:off x="10101989" y="5291233"/>
            <a:ext cx="1179975" cy="25095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 name="TextBox 23">
            <a:extLst>
              <a:ext uri="{FF2B5EF4-FFF2-40B4-BE49-F238E27FC236}">
                <a16:creationId xmlns:a16="http://schemas.microsoft.com/office/drawing/2014/main" id="{CA446EDC-BABB-F1D8-4715-C97BE9122864}"/>
              </a:ext>
            </a:extLst>
          </p:cNvPr>
          <p:cNvSpPr txBox="1"/>
          <p:nvPr/>
        </p:nvSpPr>
        <p:spPr>
          <a:xfrm>
            <a:off x="1091901" y="1539718"/>
            <a:ext cx="816249" cy="1200329"/>
          </a:xfrm>
          <a:prstGeom prst="rect">
            <a:avLst/>
          </a:prstGeom>
          <a:noFill/>
        </p:spPr>
        <p:txBody>
          <a:bodyPr wrap="none" rtlCol="0" anchor="ctr">
            <a:spAutoFit/>
          </a:bodyPr>
          <a:lstStyle/>
          <a:p>
            <a:pPr algn="ctr"/>
            <a:r>
              <a:rPr lang="en-US" sz="7200" dirty="0">
                <a:solidFill>
                  <a:schemeClr val="accent1"/>
                </a:solidFill>
                <a:cs typeface="Poppins" pitchFamily="2" charset="77"/>
              </a:rPr>
              <a:t>A</a:t>
            </a:r>
          </a:p>
        </p:txBody>
      </p:sp>
      <p:sp>
        <p:nvSpPr>
          <p:cNvPr id="33" name="Rounded Rectangle 34">
            <a:extLst>
              <a:ext uri="{FF2B5EF4-FFF2-40B4-BE49-F238E27FC236}">
                <a16:creationId xmlns:a16="http://schemas.microsoft.com/office/drawing/2014/main" id="{D0F80806-2BD5-E8A5-F860-FCD78775DC2E}"/>
              </a:ext>
            </a:extLst>
          </p:cNvPr>
          <p:cNvSpPr/>
          <p:nvPr/>
        </p:nvSpPr>
        <p:spPr>
          <a:xfrm>
            <a:off x="2693493"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24">
            <a:extLst>
              <a:ext uri="{FF2B5EF4-FFF2-40B4-BE49-F238E27FC236}">
                <a16:creationId xmlns:a16="http://schemas.microsoft.com/office/drawing/2014/main" id="{99FD1817-A4AC-FCE6-F7AB-E5337D5C8B06}"/>
              </a:ext>
            </a:extLst>
          </p:cNvPr>
          <p:cNvSpPr txBox="1"/>
          <p:nvPr/>
        </p:nvSpPr>
        <p:spPr>
          <a:xfrm>
            <a:off x="3389087" y="1539718"/>
            <a:ext cx="817853" cy="1200329"/>
          </a:xfrm>
          <a:prstGeom prst="rect">
            <a:avLst/>
          </a:prstGeom>
          <a:noFill/>
        </p:spPr>
        <p:txBody>
          <a:bodyPr wrap="none" rtlCol="0" anchor="ctr">
            <a:spAutoFit/>
          </a:bodyPr>
          <a:lstStyle/>
          <a:p>
            <a:pPr algn="ctr"/>
            <a:r>
              <a:rPr lang="en-US" sz="7200" dirty="0">
                <a:solidFill>
                  <a:schemeClr val="tx2"/>
                </a:solidFill>
                <a:cs typeface="Poppins" pitchFamily="2" charset="77"/>
              </a:rPr>
              <a:t>B</a:t>
            </a:r>
          </a:p>
        </p:txBody>
      </p:sp>
      <p:sp>
        <p:nvSpPr>
          <p:cNvPr id="56" name="Subtitle 2">
            <a:extLst>
              <a:ext uri="{FF2B5EF4-FFF2-40B4-BE49-F238E27FC236}">
                <a16:creationId xmlns:a16="http://schemas.microsoft.com/office/drawing/2014/main" id="{97A01271-0828-3174-9EF8-FC232DA36AF5}"/>
              </a:ext>
            </a:extLst>
          </p:cNvPr>
          <p:cNvSpPr txBox="1">
            <a:spLocks/>
          </p:cNvSpPr>
          <p:nvPr/>
        </p:nvSpPr>
        <p:spPr>
          <a:xfrm>
            <a:off x="2810334"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2" name="Rounded Rectangle 35">
            <a:extLst>
              <a:ext uri="{FF2B5EF4-FFF2-40B4-BE49-F238E27FC236}">
                <a16:creationId xmlns:a16="http://schemas.microsoft.com/office/drawing/2014/main" id="{DEB98BE6-6049-D8B4-A247-8F7BFCB95FBF}"/>
              </a:ext>
            </a:extLst>
          </p:cNvPr>
          <p:cNvSpPr/>
          <p:nvPr/>
        </p:nvSpPr>
        <p:spPr>
          <a:xfrm>
            <a:off x="4990060" y="1520826"/>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Subtitle 2">
            <a:extLst>
              <a:ext uri="{FF2B5EF4-FFF2-40B4-BE49-F238E27FC236}">
                <a16:creationId xmlns:a16="http://schemas.microsoft.com/office/drawing/2014/main" id="{B3667EB2-A18D-47A1-AE8B-A3B2A6E2A6D8}"/>
              </a:ext>
            </a:extLst>
          </p:cNvPr>
          <p:cNvSpPr txBox="1">
            <a:spLocks/>
          </p:cNvSpPr>
          <p:nvPr/>
        </p:nvSpPr>
        <p:spPr>
          <a:xfrm>
            <a:off x="5108323"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52" name="TextBox 25">
            <a:extLst>
              <a:ext uri="{FF2B5EF4-FFF2-40B4-BE49-F238E27FC236}">
                <a16:creationId xmlns:a16="http://schemas.microsoft.com/office/drawing/2014/main" id="{111C8439-A418-3E70-C7C4-13179A417922}"/>
              </a:ext>
            </a:extLst>
          </p:cNvPr>
          <p:cNvSpPr txBox="1"/>
          <p:nvPr/>
        </p:nvSpPr>
        <p:spPr>
          <a:xfrm>
            <a:off x="5681468" y="1539718"/>
            <a:ext cx="829073" cy="1200329"/>
          </a:xfrm>
          <a:prstGeom prst="rect">
            <a:avLst/>
          </a:prstGeom>
          <a:noFill/>
        </p:spPr>
        <p:txBody>
          <a:bodyPr wrap="none" rtlCol="0" anchor="ctr">
            <a:spAutoFit/>
          </a:bodyPr>
          <a:lstStyle/>
          <a:p>
            <a:pPr algn="ctr"/>
            <a:r>
              <a:rPr lang="en-US" sz="7200" dirty="0">
                <a:solidFill>
                  <a:schemeClr val="bg2"/>
                </a:solidFill>
                <a:cs typeface="Poppins" pitchFamily="2" charset="77"/>
              </a:rPr>
              <a:t>C</a:t>
            </a:r>
          </a:p>
        </p:txBody>
      </p:sp>
      <p:sp>
        <p:nvSpPr>
          <p:cNvPr id="31" name="Rounded Rectangle 36">
            <a:extLst>
              <a:ext uri="{FF2B5EF4-FFF2-40B4-BE49-F238E27FC236}">
                <a16:creationId xmlns:a16="http://schemas.microsoft.com/office/drawing/2014/main" id="{62A65C6F-E4EA-BD06-180A-82DCA59D3541}"/>
              </a:ext>
            </a:extLst>
          </p:cNvPr>
          <p:cNvSpPr/>
          <p:nvPr/>
        </p:nvSpPr>
        <p:spPr>
          <a:xfrm>
            <a:off x="7285395" y="1520825"/>
            <a:ext cx="2211882"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26">
            <a:extLst>
              <a:ext uri="{FF2B5EF4-FFF2-40B4-BE49-F238E27FC236}">
                <a16:creationId xmlns:a16="http://schemas.microsoft.com/office/drawing/2014/main" id="{C6D08329-6850-4F6B-6483-3FBD40E7E6AF}"/>
              </a:ext>
            </a:extLst>
          </p:cNvPr>
          <p:cNvSpPr txBox="1"/>
          <p:nvPr/>
        </p:nvSpPr>
        <p:spPr>
          <a:xfrm>
            <a:off x="7945792" y="1539718"/>
            <a:ext cx="896399" cy="1200329"/>
          </a:xfrm>
          <a:prstGeom prst="rect">
            <a:avLst/>
          </a:prstGeom>
          <a:noFill/>
        </p:spPr>
        <p:txBody>
          <a:bodyPr wrap="none" rtlCol="0" anchor="ctr">
            <a:spAutoFit/>
          </a:bodyPr>
          <a:lstStyle/>
          <a:p>
            <a:pPr algn="ctr"/>
            <a:r>
              <a:rPr lang="en-US" sz="7200" dirty="0">
                <a:solidFill>
                  <a:schemeClr val="accent4"/>
                </a:solidFill>
                <a:cs typeface="Poppins" pitchFamily="2" charset="77"/>
              </a:rPr>
              <a:t>D</a:t>
            </a:r>
          </a:p>
        </p:txBody>
      </p:sp>
      <p:sp>
        <p:nvSpPr>
          <p:cNvPr id="58" name="Subtitle 2">
            <a:extLst>
              <a:ext uri="{FF2B5EF4-FFF2-40B4-BE49-F238E27FC236}">
                <a16:creationId xmlns:a16="http://schemas.microsoft.com/office/drawing/2014/main" id="{944B0FC7-32CF-594E-FF77-0455742B68C8}"/>
              </a:ext>
            </a:extLst>
          </p:cNvPr>
          <p:cNvSpPr txBox="1">
            <a:spLocks/>
          </p:cNvSpPr>
          <p:nvPr/>
        </p:nvSpPr>
        <p:spPr>
          <a:xfrm>
            <a:off x="7403657"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30" name="Rounded Rectangle 37">
            <a:extLst>
              <a:ext uri="{FF2B5EF4-FFF2-40B4-BE49-F238E27FC236}">
                <a16:creationId xmlns:a16="http://schemas.microsoft.com/office/drawing/2014/main" id="{A50C51A3-C5E6-7B1D-BC04-0CD8D4C103B9}"/>
              </a:ext>
            </a:extLst>
          </p:cNvPr>
          <p:cNvSpPr/>
          <p:nvPr/>
        </p:nvSpPr>
        <p:spPr>
          <a:xfrm>
            <a:off x="9580729" y="1520825"/>
            <a:ext cx="2239796" cy="3665926"/>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27">
            <a:extLst>
              <a:ext uri="{FF2B5EF4-FFF2-40B4-BE49-F238E27FC236}">
                <a16:creationId xmlns:a16="http://schemas.microsoft.com/office/drawing/2014/main" id="{DE779AEE-55DF-95E9-61B9-E8B8F0052CD5}"/>
              </a:ext>
            </a:extLst>
          </p:cNvPr>
          <p:cNvSpPr txBox="1"/>
          <p:nvPr/>
        </p:nvSpPr>
        <p:spPr>
          <a:xfrm>
            <a:off x="10307898" y="1539718"/>
            <a:ext cx="768160" cy="1200329"/>
          </a:xfrm>
          <a:prstGeom prst="rect">
            <a:avLst/>
          </a:prstGeom>
          <a:noFill/>
        </p:spPr>
        <p:txBody>
          <a:bodyPr wrap="none" rtlCol="0" anchor="ctr">
            <a:spAutoFit/>
          </a:bodyPr>
          <a:lstStyle/>
          <a:p>
            <a:pPr algn="ctr"/>
            <a:r>
              <a:rPr lang="en-US" sz="7200" dirty="0">
                <a:solidFill>
                  <a:schemeClr val="accent3"/>
                </a:solidFill>
                <a:cs typeface="Poppins" pitchFamily="2" charset="77"/>
              </a:rPr>
              <a:t>E</a:t>
            </a:r>
          </a:p>
        </p:txBody>
      </p:sp>
      <p:sp>
        <p:nvSpPr>
          <p:cNvPr id="59" name="Subtitle 2">
            <a:extLst>
              <a:ext uri="{FF2B5EF4-FFF2-40B4-BE49-F238E27FC236}">
                <a16:creationId xmlns:a16="http://schemas.microsoft.com/office/drawing/2014/main" id="{4642680F-9D1C-2B79-848B-12520480FC99}"/>
              </a:ext>
            </a:extLst>
          </p:cNvPr>
          <p:cNvSpPr txBox="1">
            <a:spLocks/>
          </p:cNvSpPr>
          <p:nvPr/>
        </p:nvSpPr>
        <p:spPr>
          <a:xfrm>
            <a:off x="9698992" y="2916878"/>
            <a:ext cx="1975357" cy="1015663"/>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4" name="Footer Placeholder 3">
            <a:extLst>
              <a:ext uri="{FF2B5EF4-FFF2-40B4-BE49-F238E27FC236}">
                <a16:creationId xmlns:a16="http://schemas.microsoft.com/office/drawing/2014/main" id="{572D27EC-0EBE-8A64-B91F-44C35EE85C7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6235393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82EFDF1-F32E-C810-0323-A84CB5C5DD1F}"/>
              </a:ext>
            </a:extLst>
          </p:cNvPr>
          <p:cNvGraphicFramePr>
            <a:graphicFrameLocks noChangeAspect="1"/>
          </p:cNvGraphicFramePr>
          <p:nvPr>
            <p:custDataLst>
              <p:tags r:id="rId1"/>
            </p:custDataLst>
            <p:extLst>
              <p:ext uri="{D42A27DB-BD31-4B8C-83A1-F6EECF244321}">
                <p14:modId xmlns:p14="http://schemas.microsoft.com/office/powerpoint/2010/main" val="14069898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to 3" hidden="1">
                        <a:extLst>
                          <a:ext uri="{FF2B5EF4-FFF2-40B4-BE49-F238E27FC236}">
                            <a16:creationId xmlns:a16="http://schemas.microsoft.com/office/drawing/2014/main" id="{282EFDF1-F32E-C810-0323-A84CB5C5DD1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7" name="Grupo 56">
            <a:extLst>
              <a:ext uri="{FF2B5EF4-FFF2-40B4-BE49-F238E27FC236}">
                <a16:creationId xmlns:a16="http://schemas.microsoft.com/office/drawing/2014/main" id="{8DA41B56-EBFB-144A-5190-E001F30943F7}"/>
              </a:ext>
            </a:extLst>
          </p:cNvPr>
          <p:cNvGrpSpPr/>
          <p:nvPr/>
        </p:nvGrpSpPr>
        <p:grpSpPr>
          <a:xfrm>
            <a:off x="365707" y="1524041"/>
            <a:ext cx="11458387" cy="417554"/>
            <a:chOff x="365707" y="1288073"/>
            <a:chExt cx="11458387" cy="417554"/>
          </a:xfrm>
        </p:grpSpPr>
        <p:sp>
          <p:nvSpPr>
            <p:cNvPr id="32" name="Freeform 57">
              <a:extLst>
                <a:ext uri="{FF2B5EF4-FFF2-40B4-BE49-F238E27FC236}">
                  <a16:creationId xmlns:a16="http://schemas.microsoft.com/office/drawing/2014/main" id="{FAA14894-C9A1-A16F-1639-16FC7CB1F4FF}"/>
                </a:ext>
              </a:extLst>
            </p:cNvPr>
            <p:cNvSpPr/>
            <p:nvPr/>
          </p:nvSpPr>
          <p:spPr>
            <a:xfrm rot="10800000">
              <a:off x="36570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Freeform 96">
              <a:extLst>
                <a:ext uri="{FF2B5EF4-FFF2-40B4-BE49-F238E27FC236}">
                  <a16:creationId xmlns:a16="http://schemas.microsoft.com/office/drawing/2014/main" id="{6BDAAD5A-5CD0-616A-8F3D-8D296670A0B6}"/>
                </a:ext>
              </a:extLst>
            </p:cNvPr>
            <p:cNvSpPr/>
            <p:nvPr/>
          </p:nvSpPr>
          <p:spPr>
            <a:xfrm rot="10800000">
              <a:off x="133910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Freeform 99">
              <a:extLst>
                <a:ext uri="{FF2B5EF4-FFF2-40B4-BE49-F238E27FC236}">
                  <a16:creationId xmlns:a16="http://schemas.microsoft.com/office/drawing/2014/main" id="{72972E0C-E681-4385-64C7-236E821609B2}"/>
                </a:ext>
              </a:extLst>
            </p:cNvPr>
            <p:cNvSpPr/>
            <p:nvPr/>
          </p:nvSpPr>
          <p:spPr>
            <a:xfrm rot="10800000">
              <a:off x="231249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Freeform 102">
              <a:extLst>
                <a:ext uri="{FF2B5EF4-FFF2-40B4-BE49-F238E27FC236}">
                  <a16:creationId xmlns:a16="http://schemas.microsoft.com/office/drawing/2014/main" id="{F532776E-1F4E-DDDB-2F26-6CE5E35B6676}"/>
                </a:ext>
              </a:extLst>
            </p:cNvPr>
            <p:cNvSpPr/>
            <p:nvPr/>
          </p:nvSpPr>
          <p:spPr>
            <a:xfrm rot="10800000">
              <a:off x="328588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Freeform 105">
              <a:extLst>
                <a:ext uri="{FF2B5EF4-FFF2-40B4-BE49-F238E27FC236}">
                  <a16:creationId xmlns:a16="http://schemas.microsoft.com/office/drawing/2014/main" id="{1711F9CC-2BFD-4EFB-EB8D-12367EB8A1AD}"/>
                </a:ext>
              </a:extLst>
            </p:cNvPr>
            <p:cNvSpPr/>
            <p:nvPr/>
          </p:nvSpPr>
          <p:spPr>
            <a:xfrm rot="10800000">
              <a:off x="425927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Freeform 108">
              <a:extLst>
                <a:ext uri="{FF2B5EF4-FFF2-40B4-BE49-F238E27FC236}">
                  <a16:creationId xmlns:a16="http://schemas.microsoft.com/office/drawing/2014/main" id="{E380A342-1904-2DF8-08E8-9AC4F52791A6}"/>
                </a:ext>
              </a:extLst>
            </p:cNvPr>
            <p:cNvSpPr/>
            <p:nvPr/>
          </p:nvSpPr>
          <p:spPr>
            <a:xfrm rot="10800000">
              <a:off x="5232672"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Freeform 114">
              <a:extLst>
                <a:ext uri="{FF2B5EF4-FFF2-40B4-BE49-F238E27FC236}">
                  <a16:creationId xmlns:a16="http://schemas.microsoft.com/office/drawing/2014/main" id="{6195A36B-79EF-8CC2-18E3-35808B06A006}"/>
                </a:ext>
              </a:extLst>
            </p:cNvPr>
            <p:cNvSpPr/>
            <p:nvPr/>
          </p:nvSpPr>
          <p:spPr>
            <a:xfrm rot="10800000">
              <a:off x="6206065"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Freeform 117">
              <a:extLst>
                <a:ext uri="{FF2B5EF4-FFF2-40B4-BE49-F238E27FC236}">
                  <a16:creationId xmlns:a16="http://schemas.microsoft.com/office/drawing/2014/main" id="{CF29FDB3-68A5-BFD4-684D-3A4E0CFB1B8B}"/>
                </a:ext>
              </a:extLst>
            </p:cNvPr>
            <p:cNvSpPr/>
            <p:nvPr/>
          </p:nvSpPr>
          <p:spPr>
            <a:xfrm rot="10800000">
              <a:off x="7179457"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Freeform 120">
              <a:extLst>
                <a:ext uri="{FF2B5EF4-FFF2-40B4-BE49-F238E27FC236}">
                  <a16:creationId xmlns:a16="http://schemas.microsoft.com/office/drawing/2014/main" id="{482236F7-1F0A-0DC2-8C9D-9FB04C3BE3FC}"/>
                </a:ext>
              </a:extLst>
            </p:cNvPr>
            <p:cNvSpPr/>
            <p:nvPr/>
          </p:nvSpPr>
          <p:spPr>
            <a:xfrm rot="10800000">
              <a:off x="8152850"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Freeform 123">
              <a:extLst>
                <a:ext uri="{FF2B5EF4-FFF2-40B4-BE49-F238E27FC236}">
                  <a16:creationId xmlns:a16="http://schemas.microsoft.com/office/drawing/2014/main" id="{D438935D-E3C9-5662-09F6-11F17AA4B878}"/>
                </a:ext>
              </a:extLst>
            </p:cNvPr>
            <p:cNvSpPr/>
            <p:nvPr/>
          </p:nvSpPr>
          <p:spPr>
            <a:xfrm rot="10800000">
              <a:off x="9126243"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Freeform 126">
              <a:extLst>
                <a:ext uri="{FF2B5EF4-FFF2-40B4-BE49-F238E27FC236}">
                  <a16:creationId xmlns:a16="http://schemas.microsoft.com/office/drawing/2014/main" id="{FFB271F5-19F2-6AF4-BB9B-8AAD63F57C33}"/>
                </a:ext>
              </a:extLst>
            </p:cNvPr>
            <p:cNvSpPr/>
            <p:nvPr/>
          </p:nvSpPr>
          <p:spPr>
            <a:xfrm rot="10800000">
              <a:off x="10099636"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29">
              <a:extLst>
                <a:ext uri="{FF2B5EF4-FFF2-40B4-BE49-F238E27FC236}">
                  <a16:creationId xmlns:a16="http://schemas.microsoft.com/office/drawing/2014/main" id="{35F11170-0FB7-E6CA-9D95-C0DBFDEFFB22}"/>
                </a:ext>
              </a:extLst>
            </p:cNvPr>
            <p:cNvSpPr/>
            <p:nvPr/>
          </p:nvSpPr>
          <p:spPr>
            <a:xfrm rot="10800000">
              <a:off x="11073029" y="1288073"/>
              <a:ext cx="751065" cy="417554"/>
            </a:xfrm>
            <a:custGeom>
              <a:avLst/>
              <a:gdLst>
                <a:gd name="connsiteX0" fmla="*/ 2184400 w 2184400"/>
                <a:gd name="connsiteY0" fmla="*/ 779914 h 779914"/>
                <a:gd name="connsiteX1" fmla="*/ 0 w 2184400"/>
                <a:gd name="connsiteY1" fmla="*/ 779914 h 779914"/>
                <a:gd name="connsiteX2" fmla="*/ 0 w 2184400"/>
                <a:gd name="connsiteY2" fmla="*/ 221114 h 779914"/>
                <a:gd name="connsiteX3" fmla="*/ 911872 w 2184400"/>
                <a:gd name="connsiteY3" fmla="*/ 221114 h 779914"/>
                <a:gd name="connsiteX4" fmla="*/ 1092202 w 2184400"/>
                <a:gd name="connsiteY4" fmla="*/ 0 h 779914"/>
                <a:gd name="connsiteX5" fmla="*/ 1272532 w 2184400"/>
                <a:gd name="connsiteY5" fmla="*/ 221114 h 779914"/>
                <a:gd name="connsiteX6" fmla="*/ 2184400 w 2184400"/>
                <a:gd name="connsiteY6" fmla="*/ 221114 h 7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4400" h="779914">
                  <a:moveTo>
                    <a:pt x="2184400" y="779914"/>
                  </a:moveTo>
                  <a:lnTo>
                    <a:pt x="0" y="779914"/>
                  </a:lnTo>
                  <a:lnTo>
                    <a:pt x="0" y="221114"/>
                  </a:lnTo>
                  <a:lnTo>
                    <a:pt x="911872" y="221114"/>
                  </a:lnTo>
                  <a:lnTo>
                    <a:pt x="1092202" y="0"/>
                  </a:lnTo>
                  <a:lnTo>
                    <a:pt x="1272532" y="221114"/>
                  </a:lnTo>
                  <a:lnTo>
                    <a:pt x="2184400" y="221114"/>
                  </a:lnTo>
                  <a:close/>
                </a:path>
              </a:pathLst>
            </a:custGeom>
            <a:gradFill>
              <a:gsLst>
                <a:gs pos="0">
                  <a:schemeClr val="tx2"/>
                </a:gs>
                <a:gs pos="99000">
                  <a:schemeClr val="accent1"/>
                </a:gs>
              </a:gsLst>
              <a:lin ang="27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 name="Marcador de texto 1">
            <a:extLst>
              <a:ext uri="{FF2B5EF4-FFF2-40B4-BE49-F238E27FC236}">
                <a16:creationId xmlns:a16="http://schemas.microsoft.com/office/drawing/2014/main" id="{CBFB8431-BE3E-E2BB-F094-D6EE5CC9CE66}"/>
              </a:ext>
            </a:extLst>
          </p:cNvPr>
          <p:cNvSpPr>
            <a:spLocks noGrp="1"/>
          </p:cNvSpPr>
          <p:nvPr>
            <p:ph type="body" sz="quarter" idx="14"/>
          </p:nvPr>
        </p:nvSpPr>
        <p:spPr/>
        <p:txBody>
          <a:bodyPr/>
          <a:lstStyle/>
          <a:p>
            <a:r>
              <a:rPr lang="en-US" dirty="0"/>
              <a:t>Subtitle</a:t>
            </a:r>
          </a:p>
        </p:txBody>
      </p:sp>
      <p:sp>
        <p:nvSpPr>
          <p:cNvPr id="6" name="Freeform 1">
            <a:extLst>
              <a:ext uri="{FF2B5EF4-FFF2-40B4-BE49-F238E27FC236}">
                <a16:creationId xmlns:a16="http://schemas.microsoft.com/office/drawing/2014/main" id="{90775AED-5143-BE56-91C6-E455F00DF3D2}"/>
              </a:ext>
            </a:extLst>
          </p:cNvPr>
          <p:cNvSpPr>
            <a:spLocks noChangeArrowheads="1"/>
          </p:cNvSpPr>
          <p:nvPr/>
        </p:nvSpPr>
        <p:spPr bwMode="auto">
          <a:xfrm>
            <a:off x="390186" y="2415879"/>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7" name="Freeform 3">
            <a:extLst>
              <a:ext uri="{FF2B5EF4-FFF2-40B4-BE49-F238E27FC236}">
                <a16:creationId xmlns:a16="http://schemas.microsoft.com/office/drawing/2014/main" id="{BC16AE75-A044-F2DE-B981-BC03580534D4}"/>
              </a:ext>
            </a:extLst>
          </p:cNvPr>
          <p:cNvSpPr>
            <a:spLocks noChangeArrowheads="1"/>
          </p:cNvSpPr>
          <p:nvPr/>
        </p:nvSpPr>
        <p:spPr bwMode="auto">
          <a:xfrm>
            <a:off x="390186" y="3246054"/>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 name="Freeform 1">
            <a:extLst>
              <a:ext uri="{FF2B5EF4-FFF2-40B4-BE49-F238E27FC236}">
                <a16:creationId xmlns:a16="http://schemas.microsoft.com/office/drawing/2014/main" id="{7779AFD8-BBCE-5555-5F02-2FFBA7928774}"/>
              </a:ext>
            </a:extLst>
          </p:cNvPr>
          <p:cNvSpPr>
            <a:spLocks noChangeArrowheads="1"/>
          </p:cNvSpPr>
          <p:nvPr/>
        </p:nvSpPr>
        <p:spPr bwMode="auto">
          <a:xfrm>
            <a:off x="390186" y="4123268"/>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9" name="Freeform 1">
            <a:extLst>
              <a:ext uri="{FF2B5EF4-FFF2-40B4-BE49-F238E27FC236}">
                <a16:creationId xmlns:a16="http://schemas.microsoft.com/office/drawing/2014/main" id="{14400B19-42B0-2E53-48B0-68975903F082}"/>
              </a:ext>
            </a:extLst>
          </p:cNvPr>
          <p:cNvSpPr>
            <a:spLocks noChangeArrowheads="1"/>
          </p:cNvSpPr>
          <p:nvPr/>
        </p:nvSpPr>
        <p:spPr bwMode="auto">
          <a:xfrm>
            <a:off x="390186" y="4955176"/>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0" name="Freeform 1">
            <a:extLst>
              <a:ext uri="{FF2B5EF4-FFF2-40B4-BE49-F238E27FC236}">
                <a16:creationId xmlns:a16="http://schemas.microsoft.com/office/drawing/2014/main" id="{F340EA3C-9E9A-492C-70EF-43BAB8C1FCFA}"/>
              </a:ext>
            </a:extLst>
          </p:cNvPr>
          <p:cNvSpPr>
            <a:spLocks noChangeArrowheads="1"/>
          </p:cNvSpPr>
          <p:nvPr/>
        </p:nvSpPr>
        <p:spPr bwMode="auto">
          <a:xfrm>
            <a:off x="390186" y="5763362"/>
            <a:ext cx="11422972" cy="86356"/>
          </a:xfrm>
          <a:custGeom>
            <a:avLst/>
            <a:gdLst>
              <a:gd name="T0" fmla="*/ 18929 w 18930"/>
              <a:gd name="T1" fmla="*/ 244 h 245"/>
              <a:gd name="T2" fmla="*/ 0 w 18930"/>
              <a:gd name="T3" fmla="*/ 244 h 245"/>
              <a:gd name="T4" fmla="*/ 0 w 18930"/>
              <a:gd name="T5" fmla="*/ 0 h 245"/>
              <a:gd name="T6" fmla="*/ 18929 w 18930"/>
              <a:gd name="T7" fmla="*/ 0 h 245"/>
              <a:gd name="T8" fmla="*/ 18929 w 18930"/>
              <a:gd name="T9" fmla="*/ 244 h 245"/>
            </a:gdLst>
            <a:ahLst/>
            <a:cxnLst>
              <a:cxn ang="0">
                <a:pos x="T0" y="T1"/>
              </a:cxn>
              <a:cxn ang="0">
                <a:pos x="T2" y="T3"/>
              </a:cxn>
              <a:cxn ang="0">
                <a:pos x="T4" y="T5"/>
              </a:cxn>
              <a:cxn ang="0">
                <a:pos x="T6" y="T7"/>
              </a:cxn>
              <a:cxn ang="0">
                <a:pos x="T8" y="T9"/>
              </a:cxn>
            </a:cxnLst>
            <a:rect l="0" t="0" r="r" b="b"/>
            <a:pathLst>
              <a:path w="18930" h="245">
                <a:moveTo>
                  <a:pt x="18929" y="244"/>
                </a:moveTo>
                <a:lnTo>
                  <a:pt x="0" y="244"/>
                </a:lnTo>
                <a:lnTo>
                  <a:pt x="0" y="0"/>
                </a:lnTo>
                <a:lnTo>
                  <a:pt x="18929" y="0"/>
                </a:lnTo>
                <a:lnTo>
                  <a:pt x="18929" y="244"/>
                </a:lnTo>
              </a:path>
            </a:pathLst>
          </a:custGeom>
          <a:solidFill>
            <a:schemeClr val="bg1"/>
          </a:solidFill>
          <a:effectLst>
            <a:outerShdw blurRad="381000" dist="38100" dir="2700000" algn="ctr" rotWithShape="0">
              <a:prstClr val="black">
                <a:alpha val="40000"/>
              </a:prstClr>
            </a:outerShdw>
          </a:effectLst>
        </p:spPr>
        <p:txBody>
          <a:bodyPr lIns="108000" tIns="72000" rIns="72000" bIns="72000" anchor="ctr"/>
          <a:lstStyle/>
          <a:p>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1" name="Freeform 2">
            <a:extLst>
              <a:ext uri="{FF2B5EF4-FFF2-40B4-BE49-F238E27FC236}">
                <a16:creationId xmlns:a16="http://schemas.microsoft.com/office/drawing/2014/main" id="{2310B091-EAF0-55E2-99C4-C9725F59E6C3}"/>
              </a:ext>
            </a:extLst>
          </p:cNvPr>
          <p:cNvSpPr>
            <a:spLocks noChangeArrowheads="1"/>
          </p:cNvSpPr>
          <p:nvPr/>
        </p:nvSpPr>
        <p:spPr bwMode="auto">
          <a:xfrm>
            <a:off x="390185" y="2415879"/>
            <a:ext cx="2838852" cy="86356"/>
          </a:xfrm>
          <a:prstGeom prst="rect">
            <a:avLst/>
          </a:prstGeom>
          <a:solidFill>
            <a:schemeClr val="tx2"/>
          </a:solidFill>
          <a:ln>
            <a:noFill/>
          </a:ln>
          <a:effectLst/>
        </p:spPr>
        <p:txBody>
          <a:bodyPr wrap="none" anchor="ctr"/>
          <a:lstStyle/>
          <a:p>
            <a:endParaRPr lang="en-US" sz="1200" dirty="0"/>
          </a:p>
        </p:txBody>
      </p:sp>
      <p:sp>
        <p:nvSpPr>
          <p:cNvPr id="12" name="Freeform 4">
            <a:extLst>
              <a:ext uri="{FF2B5EF4-FFF2-40B4-BE49-F238E27FC236}">
                <a16:creationId xmlns:a16="http://schemas.microsoft.com/office/drawing/2014/main" id="{7642CA54-7BFD-DD55-772C-9B4628F83F5F}"/>
              </a:ext>
            </a:extLst>
          </p:cNvPr>
          <p:cNvSpPr>
            <a:spLocks noChangeArrowheads="1"/>
          </p:cNvSpPr>
          <p:nvPr/>
        </p:nvSpPr>
        <p:spPr bwMode="auto">
          <a:xfrm>
            <a:off x="1499756" y="3246054"/>
            <a:ext cx="4821585" cy="86356"/>
          </a:xfrm>
          <a:prstGeom prst="rect">
            <a:avLst/>
          </a:prstGeom>
          <a:solidFill>
            <a:schemeClr val="accent2"/>
          </a:solidFill>
          <a:ln>
            <a:noFill/>
          </a:ln>
          <a:effectLst/>
        </p:spPr>
        <p:txBody>
          <a:bodyPr wrap="none" anchor="ctr"/>
          <a:lstStyle/>
          <a:p>
            <a:endParaRPr lang="en-US" sz="1200" dirty="0"/>
          </a:p>
        </p:txBody>
      </p:sp>
      <p:sp>
        <p:nvSpPr>
          <p:cNvPr id="15" name="Freeform 4">
            <a:extLst>
              <a:ext uri="{FF2B5EF4-FFF2-40B4-BE49-F238E27FC236}">
                <a16:creationId xmlns:a16="http://schemas.microsoft.com/office/drawing/2014/main" id="{A2EEAE24-7FEF-DA7E-FC2C-CBFB788992C1}"/>
              </a:ext>
            </a:extLst>
          </p:cNvPr>
          <p:cNvSpPr>
            <a:spLocks noChangeArrowheads="1"/>
          </p:cNvSpPr>
          <p:nvPr/>
        </p:nvSpPr>
        <p:spPr bwMode="auto">
          <a:xfrm>
            <a:off x="6321341" y="4955947"/>
            <a:ext cx="2124957" cy="86356"/>
          </a:xfrm>
          <a:prstGeom prst="rect">
            <a:avLst/>
          </a:prstGeom>
          <a:solidFill>
            <a:schemeClr val="accent3"/>
          </a:solidFill>
          <a:ln>
            <a:noFill/>
          </a:ln>
          <a:effectLst/>
        </p:spPr>
        <p:txBody>
          <a:bodyPr wrap="none" anchor="ctr"/>
          <a:lstStyle/>
          <a:p>
            <a:endParaRPr lang="en-US" sz="1200" dirty="0"/>
          </a:p>
        </p:txBody>
      </p:sp>
      <p:sp>
        <p:nvSpPr>
          <p:cNvPr id="18" name="Freeform 4">
            <a:extLst>
              <a:ext uri="{FF2B5EF4-FFF2-40B4-BE49-F238E27FC236}">
                <a16:creationId xmlns:a16="http://schemas.microsoft.com/office/drawing/2014/main" id="{9D97EF86-4538-DA2C-96F0-6ED744C72326}"/>
              </a:ext>
            </a:extLst>
          </p:cNvPr>
          <p:cNvSpPr>
            <a:spLocks noChangeArrowheads="1"/>
          </p:cNvSpPr>
          <p:nvPr/>
        </p:nvSpPr>
        <p:spPr bwMode="auto">
          <a:xfrm>
            <a:off x="8923306" y="5763362"/>
            <a:ext cx="2889851" cy="86356"/>
          </a:xfrm>
          <a:prstGeom prst="rect">
            <a:avLst/>
          </a:prstGeom>
          <a:solidFill>
            <a:schemeClr val="accent5"/>
          </a:solidFill>
          <a:ln>
            <a:noFill/>
          </a:ln>
          <a:effectLst/>
        </p:spPr>
        <p:txBody>
          <a:bodyPr wrap="none" anchor="ctr"/>
          <a:lstStyle/>
          <a:p>
            <a:endParaRPr lang="en-US" sz="1200" dirty="0"/>
          </a:p>
        </p:txBody>
      </p:sp>
      <p:sp>
        <p:nvSpPr>
          <p:cNvPr id="21" name="Freeform 4">
            <a:extLst>
              <a:ext uri="{FF2B5EF4-FFF2-40B4-BE49-F238E27FC236}">
                <a16:creationId xmlns:a16="http://schemas.microsoft.com/office/drawing/2014/main" id="{57767BB0-DA53-F582-F429-6B5408A2BEE9}"/>
              </a:ext>
            </a:extLst>
          </p:cNvPr>
          <p:cNvSpPr>
            <a:spLocks noChangeArrowheads="1"/>
          </p:cNvSpPr>
          <p:nvPr/>
        </p:nvSpPr>
        <p:spPr bwMode="auto">
          <a:xfrm>
            <a:off x="3918713" y="4124810"/>
            <a:ext cx="6315272" cy="86356"/>
          </a:xfrm>
          <a:prstGeom prst="rect">
            <a:avLst/>
          </a:prstGeom>
          <a:solidFill>
            <a:schemeClr val="accent4"/>
          </a:solidFill>
          <a:ln>
            <a:noFill/>
          </a:ln>
          <a:effectLst/>
        </p:spPr>
        <p:txBody>
          <a:bodyPr wrap="none" anchor="ctr"/>
          <a:lstStyle/>
          <a:p>
            <a:endParaRPr lang="en-US" sz="1200" dirty="0"/>
          </a:p>
        </p:txBody>
      </p:sp>
      <p:sp>
        <p:nvSpPr>
          <p:cNvPr id="22" name="TextBox 36">
            <a:extLst>
              <a:ext uri="{FF2B5EF4-FFF2-40B4-BE49-F238E27FC236}">
                <a16:creationId xmlns:a16="http://schemas.microsoft.com/office/drawing/2014/main" id="{A6F086EB-F11A-E98A-9C5F-DD235A709722}"/>
              </a:ext>
            </a:extLst>
          </p:cNvPr>
          <p:cNvSpPr txBox="1"/>
          <p:nvPr/>
        </p:nvSpPr>
        <p:spPr>
          <a:xfrm>
            <a:off x="354994" y="212555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3" name="Subtitle 2">
            <a:extLst>
              <a:ext uri="{FF2B5EF4-FFF2-40B4-BE49-F238E27FC236}">
                <a16:creationId xmlns:a16="http://schemas.microsoft.com/office/drawing/2014/main" id="{9BB21E95-2223-862B-6D11-BB17B7FCA19E}"/>
              </a:ext>
            </a:extLst>
          </p:cNvPr>
          <p:cNvSpPr txBox="1">
            <a:spLocks/>
          </p:cNvSpPr>
          <p:nvPr/>
        </p:nvSpPr>
        <p:spPr>
          <a:xfrm>
            <a:off x="354994" y="2510263"/>
            <a:ext cx="3681957"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l"/>
            <a:endParaRPr lang="en-US" dirty="0"/>
          </a:p>
        </p:txBody>
      </p:sp>
      <p:sp>
        <p:nvSpPr>
          <p:cNvPr id="24" name="TextBox 41">
            <a:extLst>
              <a:ext uri="{FF2B5EF4-FFF2-40B4-BE49-F238E27FC236}">
                <a16:creationId xmlns:a16="http://schemas.microsoft.com/office/drawing/2014/main" id="{E8B435D0-E39A-6F5C-A616-5EFD350F7B0B}"/>
              </a:ext>
            </a:extLst>
          </p:cNvPr>
          <p:cNvSpPr txBox="1"/>
          <p:nvPr/>
        </p:nvSpPr>
        <p:spPr>
          <a:xfrm>
            <a:off x="1445179" y="2951000"/>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5" name="Subtitle 2">
            <a:extLst>
              <a:ext uri="{FF2B5EF4-FFF2-40B4-BE49-F238E27FC236}">
                <a16:creationId xmlns:a16="http://schemas.microsoft.com/office/drawing/2014/main" id="{03BAF51B-BC64-7B74-1127-4B6726EA263F}"/>
              </a:ext>
            </a:extLst>
          </p:cNvPr>
          <p:cNvSpPr txBox="1">
            <a:spLocks/>
          </p:cNvSpPr>
          <p:nvPr/>
        </p:nvSpPr>
        <p:spPr>
          <a:xfrm>
            <a:off x="1445179" y="3335712"/>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6" name="TextBox 44">
            <a:extLst>
              <a:ext uri="{FF2B5EF4-FFF2-40B4-BE49-F238E27FC236}">
                <a16:creationId xmlns:a16="http://schemas.microsoft.com/office/drawing/2014/main" id="{ACF8B327-C479-DC24-37C4-E3064316401D}"/>
              </a:ext>
            </a:extLst>
          </p:cNvPr>
          <p:cNvSpPr txBox="1"/>
          <p:nvPr/>
        </p:nvSpPr>
        <p:spPr>
          <a:xfrm>
            <a:off x="3883522" y="382205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7" name="Subtitle 2">
            <a:extLst>
              <a:ext uri="{FF2B5EF4-FFF2-40B4-BE49-F238E27FC236}">
                <a16:creationId xmlns:a16="http://schemas.microsoft.com/office/drawing/2014/main" id="{C08E295F-DE65-ED8A-57D6-7F84CE528F4B}"/>
              </a:ext>
            </a:extLst>
          </p:cNvPr>
          <p:cNvSpPr txBox="1">
            <a:spLocks/>
          </p:cNvSpPr>
          <p:nvPr/>
        </p:nvSpPr>
        <p:spPr>
          <a:xfrm>
            <a:off x="3883522" y="4216963"/>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endParaRPr lang="en-US" dirty="0"/>
          </a:p>
        </p:txBody>
      </p:sp>
      <p:sp>
        <p:nvSpPr>
          <p:cNvPr id="28" name="TextBox 47">
            <a:extLst>
              <a:ext uri="{FF2B5EF4-FFF2-40B4-BE49-F238E27FC236}">
                <a16:creationId xmlns:a16="http://schemas.microsoft.com/office/drawing/2014/main" id="{59380C58-A612-1510-7FB6-13AFEBB6FE32}"/>
              </a:ext>
            </a:extLst>
          </p:cNvPr>
          <p:cNvSpPr txBox="1"/>
          <p:nvPr/>
        </p:nvSpPr>
        <p:spPr>
          <a:xfrm>
            <a:off x="6310878" y="4655925"/>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29" name="Subtitle 2">
            <a:extLst>
              <a:ext uri="{FF2B5EF4-FFF2-40B4-BE49-F238E27FC236}">
                <a16:creationId xmlns:a16="http://schemas.microsoft.com/office/drawing/2014/main" id="{0B53343D-2CEF-7527-8BA7-2AB5137CAD3B}"/>
              </a:ext>
            </a:extLst>
          </p:cNvPr>
          <p:cNvSpPr txBox="1">
            <a:spLocks/>
          </p:cNvSpPr>
          <p:nvPr/>
        </p:nvSpPr>
        <p:spPr>
          <a:xfrm>
            <a:off x="4737713" y="5040637"/>
            <a:ext cx="3591004"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0" name="TextBox 51">
            <a:extLst>
              <a:ext uri="{FF2B5EF4-FFF2-40B4-BE49-F238E27FC236}">
                <a16:creationId xmlns:a16="http://schemas.microsoft.com/office/drawing/2014/main" id="{FE0DDA08-459D-DEBA-A04A-743738AC5964}"/>
              </a:ext>
            </a:extLst>
          </p:cNvPr>
          <p:cNvSpPr txBox="1"/>
          <p:nvPr/>
        </p:nvSpPr>
        <p:spPr>
          <a:xfrm>
            <a:off x="8923306" y="5469722"/>
            <a:ext cx="1228621" cy="278178"/>
          </a:xfrm>
          <a:prstGeom prst="rect">
            <a:avLst/>
          </a:prstGeom>
          <a:noFill/>
        </p:spPr>
        <p:txBody>
          <a:bodyPr wrap="none" rtlCol="0" anchor="b" anchorCtr="0">
            <a:spAutoFit/>
          </a:bodyPr>
          <a:lstStyle/>
          <a:p>
            <a:r>
              <a:rPr lang="en-US" sz="1200" b="1" dirty="0">
                <a:solidFill>
                  <a:schemeClr val="tx2"/>
                </a:solidFill>
                <a:ea typeface="League Spartan" charset="0"/>
                <a:cs typeface="Poppins" pitchFamily="2" charset="77"/>
              </a:rPr>
              <a:t>YOUR TITLE</a:t>
            </a:r>
          </a:p>
        </p:txBody>
      </p:sp>
      <p:sp>
        <p:nvSpPr>
          <p:cNvPr id="31" name="Subtitle 2">
            <a:extLst>
              <a:ext uri="{FF2B5EF4-FFF2-40B4-BE49-F238E27FC236}">
                <a16:creationId xmlns:a16="http://schemas.microsoft.com/office/drawing/2014/main" id="{58604D22-E1C6-7E24-65D6-D91034047002}"/>
              </a:ext>
            </a:extLst>
          </p:cNvPr>
          <p:cNvSpPr txBox="1">
            <a:spLocks/>
          </p:cNvSpPr>
          <p:nvPr/>
        </p:nvSpPr>
        <p:spPr>
          <a:xfrm>
            <a:off x="7571620" y="5854435"/>
            <a:ext cx="3652549" cy="646331"/>
          </a:xfrm>
          <a:prstGeom prst="rect">
            <a:avLst/>
          </a:prstGeom>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a:t>
            </a:r>
            <a:r>
              <a:rPr lang="en-US" dirty="0" err="1"/>
              <a:t>eget</a:t>
            </a:r>
            <a:r>
              <a:rPr lang="en-US" dirty="0"/>
              <a:t>.</a:t>
            </a:r>
          </a:p>
          <a:p>
            <a:pPr algn="r"/>
            <a:endParaRPr lang="en-US" dirty="0"/>
          </a:p>
        </p:txBody>
      </p:sp>
      <p:sp>
        <p:nvSpPr>
          <p:cNvPr id="33" name="TextBox 26">
            <a:extLst>
              <a:ext uri="{FF2B5EF4-FFF2-40B4-BE49-F238E27FC236}">
                <a16:creationId xmlns:a16="http://schemas.microsoft.com/office/drawing/2014/main" id="{1B613910-436C-6ABD-7240-244D318A1429}"/>
              </a:ext>
            </a:extLst>
          </p:cNvPr>
          <p:cNvSpPr txBox="1"/>
          <p:nvPr/>
        </p:nvSpPr>
        <p:spPr>
          <a:xfrm>
            <a:off x="357543" y="1532042"/>
            <a:ext cx="767390" cy="276999"/>
          </a:xfrm>
          <a:prstGeom prst="rect">
            <a:avLst/>
          </a:prstGeom>
          <a:noFill/>
        </p:spPr>
        <p:txBody>
          <a:bodyPr wrap="none" rtlCol="0" anchor="ctr">
            <a:spAutoFit/>
          </a:bodyPr>
          <a:lstStyle/>
          <a:p>
            <a:pPr algn="ctr"/>
            <a:r>
              <a:rPr lang="en-US" sz="1200" dirty="0">
                <a:solidFill>
                  <a:schemeClr val="bg1"/>
                </a:solidFill>
                <a:cs typeface="Poppins" pitchFamily="2" charset="77"/>
              </a:rPr>
              <a:t>JAN ‘19</a:t>
            </a:r>
          </a:p>
        </p:txBody>
      </p:sp>
      <p:sp>
        <p:nvSpPr>
          <p:cNvPr id="35" name="TextBox 97">
            <a:extLst>
              <a:ext uri="{FF2B5EF4-FFF2-40B4-BE49-F238E27FC236}">
                <a16:creationId xmlns:a16="http://schemas.microsoft.com/office/drawing/2014/main" id="{891AB81A-3699-12EE-D323-0CDC05854F3B}"/>
              </a:ext>
            </a:extLst>
          </p:cNvPr>
          <p:cNvSpPr txBox="1"/>
          <p:nvPr/>
        </p:nvSpPr>
        <p:spPr>
          <a:xfrm>
            <a:off x="1330551" y="1532042"/>
            <a:ext cx="768159" cy="276999"/>
          </a:xfrm>
          <a:prstGeom prst="rect">
            <a:avLst/>
          </a:prstGeom>
          <a:noFill/>
        </p:spPr>
        <p:txBody>
          <a:bodyPr wrap="none" rtlCol="0" anchor="ctr">
            <a:spAutoFit/>
          </a:bodyPr>
          <a:lstStyle/>
          <a:p>
            <a:pPr algn="ctr"/>
            <a:r>
              <a:rPr lang="en-US" sz="1200" dirty="0">
                <a:solidFill>
                  <a:schemeClr val="bg1"/>
                </a:solidFill>
                <a:cs typeface="Poppins" pitchFamily="2" charset="77"/>
              </a:rPr>
              <a:t>FEB ‘19</a:t>
            </a:r>
          </a:p>
        </p:txBody>
      </p:sp>
      <p:sp>
        <p:nvSpPr>
          <p:cNvPr id="37" name="TextBox 100">
            <a:extLst>
              <a:ext uri="{FF2B5EF4-FFF2-40B4-BE49-F238E27FC236}">
                <a16:creationId xmlns:a16="http://schemas.microsoft.com/office/drawing/2014/main" id="{56C2FCC5-8458-84D8-738B-A20B64BF7A5D}"/>
              </a:ext>
            </a:extLst>
          </p:cNvPr>
          <p:cNvSpPr txBox="1"/>
          <p:nvPr/>
        </p:nvSpPr>
        <p:spPr>
          <a:xfrm>
            <a:off x="2278296"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MAR ‘19</a:t>
            </a:r>
          </a:p>
        </p:txBody>
      </p:sp>
      <p:sp>
        <p:nvSpPr>
          <p:cNvPr id="39" name="TextBox 103">
            <a:extLst>
              <a:ext uri="{FF2B5EF4-FFF2-40B4-BE49-F238E27FC236}">
                <a16:creationId xmlns:a16="http://schemas.microsoft.com/office/drawing/2014/main" id="{818DB894-C044-F01A-93C3-20EFC1B124D8}"/>
              </a:ext>
            </a:extLst>
          </p:cNvPr>
          <p:cNvSpPr txBox="1"/>
          <p:nvPr/>
        </p:nvSpPr>
        <p:spPr>
          <a:xfrm>
            <a:off x="3270123" y="1532042"/>
            <a:ext cx="782586" cy="276999"/>
          </a:xfrm>
          <a:prstGeom prst="rect">
            <a:avLst/>
          </a:prstGeom>
          <a:noFill/>
        </p:spPr>
        <p:txBody>
          <a:bodyPr wrap="none" rtlCol="0" anchor="ctr">
            <a:spAutoFit/>
          </a:bodyPr>
          <a:lstStyle/>
          <a:p>
            <a:pPr algn="ctr"/>
            <a:r>
              <a:rPr lang="en-US" sz="1200" dirty="0">
                <a:solidFill>
                  <a:schemeClr val="bg1"/>
                </a:solidFill>
                <a:cs typeface="Poppins" pitchFamily="2" charset="77"/>
              </a:rPr>
              <a:t>APR ‘19</a:t>
            </a:r>
          </a:p>
        </p:txBody>
      </p:sp>
      <p:sp>
        <p:nvSpPr>
          <p:cNvPr id="41" name="TextBox 106">
            <a:extLst>
              <a:ext uri="{FF2B5EF4-FFF2-40B4-BE49-F238E27FC236}">
                <a16:creationId xmlns:a16="http://schemas.microsoft.com/office/drawing/2014/main" id="{FCC65EB4-0D14-FAC2-6E23-E980D9143DF3}"/>
              </a:ext>
            </a:extLst>
          </p:cNvPr>
          <p:cNvSpPr txBox="1"/>
          <p:nvPr/>
        </p:nvSpPr>
        <p:spPr>
          <a:xfrm>
            <a:off x="4234507" y="1532042"/>
            <a:ext cx="800604" cy="276999"/>
          </a:xfrm>
          <a:prstGeom prst="rect">
            <a:avLst/>
          </a:prstGeom>
          <a:noFill/>
        </p:spPr>
        <p:txBody>
          <a:bodyPr wrap="none" rtlCol="0" anchor="ctr">
            <a:spAutoFit/>
          </a:bodyPr>
          <a:lstStyle/>
          <a:p>
            <a:pPr algn="ctr"/>
            <a:r>
              <a:rPr lang="en-US" sz="1200" dirty="0">
                <a:solidFill>
                  <a:schemeClr val="bg1"/>
                </a:solidFill>
                <a:cs typeface="Poppins" pitchFamily="2" charset="77"/>
              </a:rPr>
              <a:t>MAY ‘19</a:t>
            </a:r>
          </a:p>
        </p:txBody>
      </p:sp>
      <p:sp>
        <p:nvSpPr>
          <p:cNvPr id="43" name="TextBox 109">
            <a:extLst>
              <a:ext uri="{FF2B5EF4-FFF2-40B4-BE49-F238E27FC236}">
                <a16:creationId xmlns:a16="http://schemas.microsoft.com/office/drawing/2014/main" id="{F96C9565-5006-15ED-E3D1-61682C2B0E69}"/>
              </a:ext>
            </a:extLst>
          </p:cNvPr>
          <p:cNvSpPr txBox="1"/>
          <p:nvPr/>
        </p:nvSpPr>
        <p:spPr>
          <a:xfrm>
            <a:off x="5220918" y="1532042"/>
            <a:ext cx="774571" cy="276999"/>
          </a:xfrm>
          <a:prstGeom prst="rect">
            <a:avLst/>
          </a:prstGeom>
          <a:noFill/>
        </p:spPr>
        <p:txBody>
          <a:bodyPr wrap="none" rtlCol="0" anchor="ctr">
            <a:spAutoFit/>
          </a:bodyPr>
          <a:lstStyle/>
          <a:p>
            <a:pPr algn="ctr"/>
            <a:r>
              <a:rPr lang="en-US" sz="1200" dirty="0">
                <a:solidFill>
                  <a:schemeClr val="bg1"/>
                </a:solidFill>
                <a:cs typeface="Poppins" pitchFamily="2" charset="77"/>
              </a:rPr>
              <a:t>JUN ‘19</a:t>
            </a:r>
          </a:p>
        </p:txBody>
      </p:sp>
      <p:sp>
        <p:nvSpPr>
          <p:cNvPr id="45" name="TextBox 115">
            <a:extLst>
              <a:ext uri="{FF2B5EF4-FFF2-40B4-BE49-F238E27FC236}">
                <a16:creationId xmlns:a16="http://schemas.microsoft.com/office/drawing/2014/main" id="{7D771AEA-990C-79F8-2B57-4DD79E169AD9}"/>
              </a:ext>
            </a:extLst>
          </p:cNvPr>
          <p:cNvSpPr txBox="1"/>
          <p:nvPr/>
        </p:nvSpPr>
        <p:spPr>
          <a:xfrm>
            <a:off x="6209538" y="1532042"/>
            <a:ext cx="744113" cy="276999"/>
          </a:xfrm>
          <a:prstGeom prst="rect">
            <a:avLst/>
          </a:prstGeom>
          <a:noFill/>
        </p:spPr>
        <p:txBody>
          <a:bodyPr wrap="none" rtlCol="0" anchor="ctr">
            <a:spAutoFit/>
          </a:bodyPr>
          <a:lstStyle/>
          <a:p>
            <a:pPr algn="ctr"/>
            <a:r>
              <a:rPr lang="en-US" sz="1200" dirty="0">
                <a:solidFill>
                  <a:schemeClr val="bg1"/>
                </a:solidFill>
                <a:cs typeface="Poppins" pitchFamily="2" charset="77"/>
              </a:rPr>
              <a:t>JUL ‘19</a:t>
            </a:r>
          </a:p>
        </p:txBody>
      </p:sp>
      <p:sp>
        <p:nvSpPr>
          <p:cNvPr id="47" name="TextBox 118">
            <a:extLst>
              <a:ext uri="{FF2B5EF4-FFF2-40B4-BE49-F238E27FC236}">
                <a16:creationId xmlns:a16="http://schemas.microsoft.com/office/drawing/2014/main" id="{2B1B7797-3B8E-2AE9-2E15-1425B9011B0F}"/>
              </a:ext>
            </a:extLst>
          </p:cNvPr>
          <p:cNvSpPr txBox="1"/>
          <p:nvPr/>
        </p:nvSpPr>
        <p:spPr>
          <a:xfrm>
            <a:off x="7148851" y="1532042"/>
            <a:ext cx="812274" cy="276999"/>
          </a:xfrm>
          <a:prstGeom prst="rect">
            <a:avLst/>
          </a:prstGeom>
          <a:noFill/>
        </p:spPr>
        <p:txBody>
          <a:bodyPr wrap="none" rtlCol="0" anchor="ctr">
            <a:spAutoFit/>
          </a:bodyPr>
          <a:lstStyle/>
          <a:p>
            <a:pPr algn="ctr"/>
            <a:r>
              <a:rPr lang="en-US" sz="1200" dirty="0">
                <a:solidFill>
                  <a:schemeClr val="bg1"/>
                </a:solidFill>
                <a:cs typeface="Poppins" pitchFamily="2" charset="77"/>
              </a:rPr>
              <a:t>AUG ‘19</a:t>
            </a:r>
          </a:p>
        </p:txBody>
      </p:sp>
      <p:sp>
        <p:nvSpPr>
          <p:cNvPr id="49" name="TextBox 121">
            <a:extLst>
              <a:ext uri="{FF2B5EF4-FFF2-40B4-BE49-F238E27FC236}">
                <a16:creationId xmlns:a16="http://schemas.microsoft.com/office/drawing/2014/main" id="{3843EF59-69F2-C22A-8E6C-2333331BA225}"/>
              </a:ext>
            </a:extLst>
          </p:cNvPr>
          <p:cNvSpPr txBox="1"/>
          <p:nvPr/>
        </p:nvSpPr>
        <p:spPr>
          <a:xfrm>
            <a:off x="8141896" y="1532042"/>
            <a:ext cx="772969" cy="276999"/>
          </a:xfrm>
          <a:prstGeom prst="rect">
            <a:avLst/>
          </a:prstGeom>
          <a:noFill/>
        </p:spPr>
        <p:txBody>
          <a:bodyPr wrap="none" rtlCol="0" anchor="ctr">
            <a:spAutoFit/>
          </a:bodyPr>
          <a:lstStyle/>
          <a:p>
            <a:pPr algn="ctr"/>
            <a:r>
              <a:rPr lang="en-US" sz="1200" dirty="0">
                <a:solidFill>
                  <a:schemeClr val="bg1"/>
                </a:solidFill>
                <a:cs typeface="Poppins" pitchFamily="2" charset="77"/>
              </a:rPr>
              <a:t>SEP ‘19</a:t>
            </a:r>
          </a:p>
        </p:txBody>
      </p:sp>
      <p:sp>
        <p:nvSpPr>
          <p:cNvPr id="51" name="TextBox 124">
            <a:extLst>
              <a:ext uri="{FF2B5EF4-FFF2-40B4-BE49-F238E27FC236}">
                <a16:creationId xmlns:a16="http://schemas.microsoft.com/office/drawing/2014/main" id="{64ADA331-3F61-73E0-6841-F0F650382EA4}"/>
              </a:ext>
            </a:extLst>
          </p:cNvPr>
          <p:cNvSpPr txBox="1"/>
          <p:nvPr/>
        </p:nvSpPr>
        <p:spPr>
          <a:xfrm>
            <a:off x="9101663"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OCT ‘19</a:t>
            </a:r>
          </a:p>
        </p:txBody>
      </p:sp>
      <p:sp>
        <p:nvSpPr>
          <p:cNvPr id="53" name="TextBox 127">
            <a:extLst>
              <a:ext uri="{FF2B5EF4-FFF2-40B4-BE49-F238E27FC236}">
                <a16:creationId xmlns:a16="http://schemas.microsoft.com/office/drawing/2014/main" id="{0614F48F-71E9-D49E-84BB-25F465020395}"/>
              </a:ext>
            </a:extLst>
          </p:cNvPr>
          <p:cNvSpPr txBox="1"/>
          <p:nvPr/>
        </p:nvSpPr>
        <p:spPr>
          <a:xfrm>
            <a:off x="10065439" y="1532042"/>
            <a:ext cx="819455" cy="276999"/>
          </a:xfrm>
          <a:prstGeom prst="rect">
            <a:avLst/>
          </a:prstGeom>
          <a:noFill/>
        </p:spPr>
        <p:txBody>
          <a:bodyPr wrap="none" rtlCol="0" anchor="ctr">
            <a:spAutoFit/>
          </a:bodyPr>
          <a:lstStyle/>
          <a:p>
            <a:pPr algn="ctr"/>
            <a:r>
              <a:rPr lang="en-US" sz="1200" dirty="0">
                <a:solidFill>
                  <a:schemeClr val="bg1"/>
                </a:solidFill>
                <a:cs typeface="Poppins" pitchFamily="2" charset="77"/>
              </a:rPr>
              <a:t>NOV ‘19</a:t>
            </a:r>
          </a:p>
        </p:txBody>
      </p:sp>
      <p:sp>
        <p:nvSpPr>
          <p:cNvPr id="55" name="TextBox 130">
            <a:extLst>
              <a:ext uri="{FF2B5EF4-FFF2-40B4-BE49-F238E27FC236}">
                <a16:creationId xmlns:a16="http://schemas.microsoft.com/office/drawing/2014/main" id="{E43DA777-F94A-405D-6180-A9C79BE69D86}"/>
              </a:ext>
            </a:extLst>
          </p:cNvPr>
          <p:cNvSpPr txBox="1"/>
          <p:nvPr/>
        </p:nvSpPr>
        <p:spPr>
          <a:xfrm>
            <a:off x="11048451" y="1532042"/>
            <a:ext cx="800219" cy="276999"/>
          </a:xfrm>
          <a:prstGeom prst="rect">
            <a:avLst/>
          </a:prstGeom>
          <a:noFill/>
        </p:spPr>
        <p:txBody>
          <a:bodyPr wrap="none" rtlCol="0" anchor="ctr">
            <a:spAutoFit/>
          </a:bodyPr>
          <a:lstStyle/>
          <a:p>
            <a:pPr algn="ctr"/>
            <a:r>
              <a:rPr lang="en-US" sz="1200" dirty="0">
                <a:solidFill>
                  <a:schemeClr val="bg1"/>
                </a:solidFill>
                <a:cs typeface="Poppins" pitchFamily="2" charset="77"/>
              </a:rPr>
              <a:t>DEC ‘19</a:t>
            </a:r>
          </a:p>
        </p:txBody>
      </p:sp>
      <p:sp>
        <p:nvSpPr>
          <p:cNvPr id="59" name="Rectángulo 58">
            <a:extLst>
              <a:ext uri="{FF2B5EF4-FFF2-40B4-BE49-F238E27FC236}">
                <a16:creationId xmlns:a16="http://schemas.microsoft.com/office/drawing/2014/main" id="{53604AD1-CB27-3455-6246-C98DE87D01EC}"/>
              </a:ext>
            </a:extLst>
          </p:cNvPr>
          <p:cNvSpPr/>
          <p:nvPr/>
        </p:nvSpPr>
        <p:spPr>
          <a:xfrm>
            <a:off x="6006992" y="3003477"/>
            <a:ext cx="571509" cy="5715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58" name="Freeform 984">
            <a:extLst>
              <a:ext uri="{FF2B5EF4-FFF2-40B4-BE49-F238E27FC236}">
                <a16:creationId xmlns:a16="http://schemas.microsoft.com/office/drawing/2014/main" id="{1D60E339-92F8-4D8D-16DD-55E1A1AB5659}"/>
              </a:ext>
            </a:extLst>
          </p:cNvPr>
          <p:cNvSpPr>
            <a:spLocks noChangeAspect="1" noChangeArrowheads="1"/>
          </p:cNvSpPr>
          <p:nvPr/>
        </p:nvSpPr>
        <p:spPr bwMode="auto">
          <a:xfrm>
            <a:off x="6145753" y="3083741"/>
            <a:ext cx="312801" cy="410980"/>
          </a:xfrm>
          <a:custGeom>
            <a:avLst/>
            <a:gdLst>
              <a:gd name="T0" fmla="*/ 132017 w 217126"/>
              <a:gd name="T1" fmla="*/ 278152 h 285390"/>
              <a:gd name="T2" fmla="*/ 55280 w 217126"/>
              <a:gd name="T3" fmla="*/ 215215 h 285390"/>
              <a:gd name="T4" fmla="*/ 57098 w 217126"/>
              <a:gd name="T5" fmla="*/ 253918 h 285390"/>
              <a:gd name="T6" fmla="*/ 163294 w 217126"/>
              <a:gd name="T7" fmla="*/ 239087 h 285390"/>
              <a:gd name="T8" fmla="*/ 74555 w 217126"/>
              <a:gd name="T9" fmla="*/ 230407 h 285390"/>
              <a:gd name="T10" fmla="*/ 164021 w 217126"/>
              <a:gd name="T11" fmla="*/ 215215 h 285390"/>
              <a:gd name="T12" fmla="*/ 91779 w 217126"/>
              <a:gd name="T13" fmla="*/ 124998 h 285390"/>
              <a:gd name="T14" fmla="*/ 91779 w 217126"/>
              <a:gd name="T15" fmla="*/ 93227 h 285390"/>
              <a:gd name="T16" fmla="*/ 132279 w 217126"/>
              <a:gd name="T17" fmla="*/ 88897 h 285390"/>
              <a:gd name="T18" fmla="*/ 87440 w 217126"/>
              <a:gd name="T19" fmla="*/ 133663 h 285390"/>
              <a:gd name="T20" fmla="*/ 87440 w 217126"/>
              <a:gd name="T21" fmla="*/ 84563 h 285390"/>
              <a:gd name="T22" fmla="*/ 65458 w 217126"/>
              <a:gd name="T23" fmla="*/ 143941 h 285390"/>
              <a:gd name="T24" fmla="*/ 149920 w 217126"/>
              <a:gd name="T25" fmla="*/ 143941 h 285390"/>
              <a:gd name="T26" fmla="*/ 72708 w 217126"/>
              <a:gd name="T27" fmla="*/ 67027 h 285390"/>
              <a:gd name="T28" fmla="*/ 85759 w 217126"/>
              <a:gd name="T29" fmla="*/ 58319 h 285390"/>
              <a:gd name="T30" fmla="*/ 107508 w 217126"/>
              <a:gd name="T31" fmla="*/ 35101 h 285390"/>
              <a:gd name="T32" fmla="*/ 129258 w 217126"/>
              <a:gd name="T33" fmla="*/ 58319 h 285390"/>
              <a:gd name="T34" fmla="*/ 137958 w 217126"/>
              <a:gd name="T35" fmla="*/ 39457 h 285390"/>
              <a:gd name="T36" fmla="*/ 158619 w 217126"/>
              <a:gd name="T37" fmla="*/ 74283 h 285390"/>
              <a:gd name="T38" fmla="*/ 181819 w 217126"/>
              <a:gd name="T39" fmla="*/ 82991 h 285390"/>
              <a:gd name="T40" fmla="*/ 158619 w 217126"/>
              <a:gd name="T41" fmla="*/ 104759 h 285390"/>
              <a:gd name="T42" fmla="*/ 177107 w 217126"/>
              <a:gd name="T43" fmla="*/ 113466 h 285390"/>
              <a:gd name="T44" fmla="*/ 177107 w 217126"/>
              <a:gd name="T45" fmla="*/ 130880 h 285390"/>
              <a:gd name="T46" fmla="*/ 158619 w 217126"/>
              <a:gd name="T47" fmla="*/ 139587 h 285390"/>
              <a:gd name="T48" fmla="*/ 137958 w 217126"/>
              <a:gd name="T49" fmla="*/ 159904 h 285390"/>
              <a:gd name="T50" fmla="*/ 129258 w 217126"/>
              <a:gd name="T51" fmla="*/ 178407 h 285390"/>
              <a:gd name="T52" fmla="*/ 111858 w 217126"/>
              <a:gd name="T53" fmla="*/ 178407 h 285390"/>
              <a:gd name="T54" fmla="*/ 103158 w 217126"/>
              <a:gd name="T55" fmla="*/ 159904 h 285390"/>
              <a:gd name="T56" fmla="*/ 81408 w 217126"/>
              <a:gd name="T57" fmla="*/ 183123 h 285390"/>
              <a:gd name="T58" fmla="*/ 72708 w 217126"/>
              <a:gd name="T59" fmla="*/ 159904 h 285390"/>
              <a:gd name="T60" fmla="*/ 37910 w 217126"/>
              <a:gd name="T61" fmla="*/ 139587 h 285390"/>
              <a:gd name="T62" fmla="*/ 56759 w 217126"/>
              <a:gd name="T63" fmla="*/ 130880 h 285390"/>
              <a:gd name="T64" fmla="*/ 33560 w 217126"/>
              <a:gd name="T65" fmla="*/ 109112 h 285390"/>
              <a:gd name="T66" fmla="*/ 56759 w 217126"/>
              <a:gd name="T67" fmla="*/ 87345 h 285390"/>
              <a:gd name="T68" fmla="*/ 37910 w 217126"/>
              <a:gd name="T69" fmla="*/ 78638 h 285390"/>
              <a:gd name="T70" fmla="*/ 72708 w 217126"/>
              <a:gd name="T71" fmla="*/ 58319 h 285390"/>
              <a:gd name="T72" fmla="*/ 81408 w 217126"/>
              <a:gd name="T73" fmla="*/ 35101 h 285390"/>
              <a:gd name="T74" fmla="*/ 37824 w 217126"/>
              <a:gd name="T75" fmla="*/ 179045 h 285390"/>
              <a:gd name="T76" fmla="*/ 181115 w 217126"/>
              <a:gd name="T77" fmla="*/ 178321 h 285390"/>
              <a:gd name="T78" fmla="*/ 109104 w 217126"/>
              <a:gd name="T79" fmla="*/ 0 h 285390"/>
              <a:gd name="T80" fmla="*/ 172386 w 217126"/>
              <a:gd name="T81" fmla="*/ 221726 h 285390"/>
              <a:gd name="T82" fmla="*/ 160384 w 217126"/>
              <a:gd name="T83" fmla="*/ 262599 h 285390"/>
              <a:gd name="T84" fmla="*/ 58917 w 217126"/>
              <a:gd name="T85" fmla="*/ 262599 h 285390"/>
              <a:gd name="T86" fmla="*/ 46916 w 217126"/>
              <a:gd name="T87" fmla="*/ 222449 h 285390"/>
              <a:gd name="T88" fmla="*/ 109104 w 217126"/>
              <a:gd name="T89" fmla="*/ 0 h 2853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7126" h="285390">
                <a:moveTo>
                  <a:pt x="67197" y="261278"/>
                </a:moveTo>
                <a:cubicBezTo>
                  <a:pt x="69365" y="269915"/>
                  <a:pt x="77313" y="276753"/>
                  <a:pt x="86706" y="276753"/>
                </a:cubicBezTo>
                <a:lnTo>
                  <a:pt x="131143" y="276753"/>
                </a:lnTo>
                <a:cubicBezTo>
                  <a:pt x="140536" y="276753"/>
                  <a:pt x="148484" y="269915"/>
                  <a:pt x="150652" y="261278"/>
                </a:cubicBezTo>
                <a:lnTo>
                  <a:pt x="67197" y="261278"/>
                </a:lnTo>
                <a:close/>
                <a:moveTo>
                  <a:pt x="54914" y="214133"/>
                </a:moveTo>
                <a:cubicBezTo>
                  <a:pt x="55275" y="216292"/>
                  <a:pt x="55275" y="218811"/>
                  <a:pt x="55275" y="221330"/>
                </a:cubicBezTo>
                <a:lnTo>
                  <a:pt x="55275" y="251201"/>
                </a:lnTo>
                <a:cubicBezTo>
                  <a:pt x="55275" y="251921"/>
                  <a:pt x="55998" y="252641"/>
                  <a:pt x="56720" y="252641"/>
                </a:cubicBezTo>
                <a:lnTo>
                  <a:pt x="161128" y="252641"/>
                </a:lnTo>
                <a:cubicBezTo>
                  <a:pt x="161851" y="252641"/>
                  <a:pt x="162212" y="251921"/>
                  <a:pt x="162212" y="251201"/>
                </a:cubicBezTo>
                <a:lnTo>
                  <a:pt x="162212" y="237885"/>
                </a:lnTo>
                <a:lnTo>
                  <a:pt x="74061" y="237885"/>
                </a:lnTo>
                <a:cubicBezTo>
                  <a:pt x="71894" y="237885"/>
                  <a:pt x="69726" y="236086"/>
                  <a:pt x="69726" y="233567"/>
                </a:cubicBezTo>
                <a:cubicBezTo>
                  <a:pt x="69726" y="231047"/>
                  <a:pt x="71894" y="229248"/>
                  <a:pt x="74061" y="229248"/>
                </a:cubicBezTo>
                <a:lnTo>
                  <a:pt x="162212" y="229248"/>
                </a:lnTo>
                <a:lnTo>
                  <a:pt x="162212" y="220611"/>
                </a:lnTo>
                <a:cubicBezTo>
                  <a:pt x="162212" y="218451"/>
                  <a:pt x="162574" y="216292"/>
                  <a:pt x="162935" y="214133"/>
                </a:cubicBezTo>
                <a:lnTo>
                  <a:pt x="54914" y="214133"/>
                </a:lnTo>
                <a:close/>
                <a:moveTo>
                  <a:pt x="91171" y="92759"/>
                </a:moveTo>
                <a:lnTo>
                  <a:pt x="91171" y="124370"/>
                </a:lnTo>
                <a:lnTo>
                  <a:pt x="122782" y="124370"/>
                </a:lnTo>
                <a:lnTo>
                  <a:pt x="122782" y="92759"/>
                </a:lnTo>
                <a:lnTo>
                  <a:pt x="91171" y="92759"/>
                </a:lnTo>
                <a:close/>
                <a:moveTo>
                  <a:pt x="86861" y="84138"/>
                </a:moveTo>
                <a:lnTo>
                  <a:pt x="127092" y="84138"/>
                </a:lnTo>
                <a:cubicBezTo>
                  <a:pt x="129607" y="84138"/>
                  <a:pt x="131403" y="85934"/>
                  <a:pt x="131403" y="88449"/>
                </a:cubicBezTo>
                <a:lnTo>
                  <a:pt x="131403" y="128680"/>
                </a:lnTo>
                <a:cubicBezTo>
                  <a:pt x="131403" y="131195"/>
                  <a:pt x="129607" y="132991"/>
                  <a:pt x="127092" y="132991"/>
                </a:cubicBezTo>
                <a:lnTo>
                  <a:pt x="86861" y="132991"/>
                </a:lnTo>
                <a:cubicBezTo>
                  <a:pt x="84346" y="132991"/>
                  <a:pt x="82550" y="131195"/>
                  <a:pt x="82550" y="128680"/>
                </a:cubicBezTo>
                <a:lnTo>
                  <a:pt x="82550" y="88449"/>
                </a:lnTo>
                <a:cubicBezTo>
                  <a:pt x="82550" y="85934"/>
                  <a:pt x="84346" y="84138"/>
                  <a:pt x="86861" y="84138"/>
                </a:cubicBezTo>
                <a:close/>
                <a:moveTo>
                  <a:pt x="72227" y="66691"/>
                </a:moveTo>
                <a:cubicBezTo>
                  <a:pt x="68266" y="66691"/>
                  <a:pt x="65025" y="69940"/>
                  <a:pt x="65025" y="73910"/>
                </a:cubicBezTo>
                <a:lnTo>
                  <a:pt x="65025" y="143217"/>
                </a:lnTo>
                <a:cubicBezTo>
                  <a:pt x="65025" y="147188"/>
                  <a:pt x="68266" y="150076"/>
                  <a:pt x="72227" y="150076"/>
                </a:cubicBezTo>
                <a:lnTo>
                  <a:pt x="141725" y="150076"/>
                </a:lnTo>
                <a:cubicBezTo>
                  <a:pt x="145326" y="150076"/>
                  <a:pt x="148927" y="147188"/>
                  <a:pt x="148927" y="143217"/>
                </a:cubicBezTo>
                <a:lnTo>
                  <a:pt x="148927" y="73910"/>
                </a:lnTo>
                <a:cubicBezTo>
                  <a:pt x="148927" y="69940"/>
                  <a:pt x="145326" y="66691"/>
                  <a:pt x="141725" y="66691"/>
                </a:cubicBezTo>
                <a:lnTo>
                  <a:pt x="72227" y="66691"/>
                </a:lnTo>
                <a:close/>
                <a:moveTo>
                  <a:pt x="80869" y="34925"/>
                </a:moveTo>
                <a:cubicBezTo>
                  <a:pt x="83030" y="34925"/>
                  <a:pt x="85191" y="36730"/>
                  <a:pt x="85191" y="39257"/>
                </a:cubicBezTo>
                <a:lnTo>
                  <a:pt x="85191" y="58027"/>
                </a:lnTo>
                <a:lnTo>
                  <a:pt x="102475" y="58027"/>
                </a:lnTo>
                <a:lnTo>
                  <a:pt x="102475" y="39257"/>
                </a:lnTo>
                <a:cubicBezTo>
                  <a:pt x="102475" y="36730"/>
                  <a:pt x="104636" y="34925"/>
                  <a:pt x="106796" y="34925"/>
                </a:cubicBezTo>
                <a:cubicBezTo>
                  <a:pt x="109317" y="34925"/>
                  <a:pt x="111117" y="36730"/>
                  <a:pt x="111117" y="39257"/>
                </a:cubicBezTo>
                <a:lnTo>
                  <a:pt x="111117" y="58027"/>
                </a:lnTo>
                <a:lnTo>
                  <a:pt x="128402" y="58027"/>
                </a:lnTo>
                <a:lnTo>
                  <a:pt x="128402" y="39257"/>
                </a:lnTo>
                <a:cubicBezTo>
                  <a:pt x="128402" y="36730"/>
                  <a:pt x="130202" y="34925"/>
                  <a:pt x="133083" y="34925"/>
                </a:cubicBezTo>
                <a:cubicBezTo>
                  <a:pt x="135243" y="34925"/>
                  <a:pt x="137044" y="36730"/>
                  <a:pt x="137044" y="39257"/>
                </a:cubicBezTo>
                <a:lnTo>
                  <a:pt x="137044" y="58027"/>
                </a:lnTo>
                <a:lnTo>
                  <a:pt x="141725" y="58027"/>
                </a:lnTo>
                <a:cubicBezTo>
                  <a:pt x="150367" y="58027"/>
                  <a:pt x="157569" y="65247"/>
                  <a:pt x="157569" y="73910"/>
                </a:cubicBezTo>
                <a:lnTo>
                  <a:pt x="157569" y="78242"/>
                </a:lnTo>
                <a:lnTo>
                  <a:pt x="175934" y="78242"/>
                </a:lnTo>
                <a:cubicBezTo>
                  <a:pt x="178455" y="78242"/>
                  <a:pt x="180615" y="80047"/>
                  <a:pt x="180615" y="82574"/>
                </a:cubicBezTo>
                <a:cubicBezTo>
                  <a:pt x="180615" y="84739"/>
                  <a:pt x="178455" y="86905"/>
                  <a:pt x="175934" y="86905"/>
                </a:cubicBezTo>
                <a:lnTo>
                  <a:pt x="157569" y="86905"/>
                </a:lnTo>
                <a:lnTo>
                  <a:pt x="157569" y="104232"/>
                </a:lnTo>
                <a:lnTo>
                  <a:pt x="175934" y="104232"/>
                </a:lnTo>
                <a:cubicBezTo>
                  <a:pt x="178455" y="104232"/>
                  <a:pt x="180615" y="106398"/>
                  <a:pt x="180615" y="108564"/>
                </a:cubicBezTo>
                <a:cubicBezTo>
                  <a:pt x="180615" y="111090"/>
                  <a:pt x="178455" y="112895"/>
                  <a:pt x="175934" y="112895"/>
                </a:cubicBezTo>
                <a:lnTo>
                  <a:pt x="157569" y="112895"/>
                </a:lnTo>
                <a:lnTo>
                  <a:pt x="157569" y="130222"/>
                </a:lnTo>
                <a:lnTo>
                  <a:pt x="175934" y="130222"/>
                </a:lnTo>
                <a:cubicBezTo>
                  <a:pt x="178455" y="130222"/>
                  <a:pt x="180615" y="132027"/>
                  <a:pt x="180615" y="134554"/>
                </a:cubicBezTo>
                <a:cubicBezTo>
                  <a:pt x="180615" y="137081"/>
                  <a:pt x="178455" y="138885"/>
                  <a:pt x="175934" y="138885"/>
                </a:cubicBezTo>
                <a:lnTo>
                  <a:pt x="157569" y="138885"/>
                </a:lnTo>
                <a:lnTo>
                  <a:pt x="157569" y="143217"/>
                </a:lnTo>
                <a:cubicBezTo>
                  <a:pt x="157569" y="151880"/>
                  <a:pt x="150367" y="159100"/>
                  <a:pt x="141725" y="159100"/>
                </a:cubicBezTo>
                <a:lnTo>
                  <a:pt x="137044" y="159100"/>
                </a:lnTo>
                <a:lnTo>
                  <a:pt x="137044" y="177510"/>
                </a:lnTo>
                <a:cubicBezTo>
                  <a:pt x="137044" y="180036"/>
                  <a:pt x="135243" y="182202"/>
                  <a:pt x="133083" y="182202"/>
                </a:cubicBezTo>
                <a:cubicBezTo>
                  <a:pt x="130202" y="182202"/>
                  <a:pt x="128402" y="180036"/>
                  <a:pt x="128402" y="177510"/>
                </a:cubicBezTo>
                <a:lnTo>
                  <a:pt x="128402" y="159100"/>
                </a:lnTo>
                <a:lnTo>
                  <a:pt x="111117" y="159100"/>
                </a:lnTo>
                <a:lnTo>
                  <a:pt x="111117" y="177510"/>
                </a:lnTo>
                <a:cubicBezTo>
                  <a:pt x="111117" y="180036"/>
                  <a:pt x="109317" y="182202"/>
                  <a:pt x="106796" y="182202"/>
                </a:cubicBezTo>
                <a:cubicBezTo>
                  <a:pt x="104636" y="182202"/>
                  <a:pt x="102475" y="180036"/>
                  <a:pt x="102475" y="177510"/>
                </a:cubicBezTo>
                <a:lnTo>
                  <a:pt x="102475" y="159100"/>
                </a:lnTo>
                <a:lnTo>
                  <a:pt x="85191" y="159100"/>
                </a:lnTo>
                <a:lnTo>
                  <a:pt x="85191" y="177510"/>
                </a:lnTo>
                <a:cubicBezTo>
                  <a:pt x="85191" y="180036"/>
                  <a:pt x="83030" y="182202"/>
                  <a:pt x="80869" y="182202"/>
                </a:cubicBezTo>
                <a:cubicBezTo>
                  <a:pt x="78709" y="182202"/>
                  <a:pt x="76548" y="180036"/>
                  <a:pt x="76548" y="177510"/>
                </a:cubicBezTo>
                <a:lnTo>
                  <a:pt x="76548" y="159100"/>
                </a:lnTo>
                <a:lnTo>
                  <a:pt x="72227" y="159100"/>
                </a:lnTo>
                <a:cubicBezTo>
                  <a:pt x="63585" y="159100"/>
                  <a:pt x="56383" y="151880"/>
                  <a:pt x="56383" y="143217"/>
                </a:cubicBezTo>
                <a:lnTo>
                  <a:pt x="56383" y="138885"/>
                </a:lnTo>
                <a:lnTo>
                  <a:pt x="37658" y="138885"/>
                </a:lnTo>
                <a:cubicBezTo>
                  <a:pt x="35138" y="138885"/>
                  <a:pt x="33337" y="137081"/>
                  <a:pt x="33337" y="134554"/>
                </a:cubicBezTo>
                <a:cubicBezTo>
                  <a:pt x="33337" y="132027"/>
                  <a:pt x="35138" y="130222"/>
                  <a:pt x="37658" y="130222"/>
                </a:cubicBezTo>
                <a:lnTo>
                  <a:pt x="56383" y="130222"/>
                </a:lnTo>
                <a:lnTo>
                  <a:pt x="56383" y="112895"/>
                </a:lnTo>
                <a:lnTo>
                  <a:pt x="37658" y="112895"/>
                </a:lnTo>
                <a:cubicBezTo>
                  <a:pt x="35138" y="112895"/>
                  <a:pt x="33337" y="111090"/>
                  <a:pt x="33337" y="108564"/>
                </a:cubicBezTo>
                <a:cubicBezTo>
                  <a:pt x="33337" y="106398"/>
                  <a:pt x="35138" y="104232"/>
                  <a:pt x="37658" y="104232"/>
                </a:cubicBezTo>
                <a:lnTo>
                  <a:pt x="56383" y="104232"/>
                </a:lnTo>
                <a:lnTo>
                  <a:pt x="56383" y="86905"/>
                </a:lnTo>
                <a:lnTo>
                  <a:pt x="37658" y="86905"/>
                </a:lnTo>
                <a:cubicBezTo>
                  <a:pt x="35138" y="86905"/>
                  <a:pt x="33337" y="84739"/>
                  <a:pt x="33337" y="82574"/>
                </a:cubicBezTo>
                <a:cubicBezTo>
                  <a:pt x="33337" y="80047"/>
                  <a:pt x="35138" y="78242"/>
                  <a:pt x="37658" y="78242"/>
                </a:cubicBezTo>
                <a:lnTo>
                  <a:pt x="56383" y="78242"/>
                </a:lnTo>
                <a:lnTo>
                  <a:pt x="56383" y="73910"/>
                </a:lnTo>
                <a:cubicBezTo>
                  <a:pt x="56383" y="65247"/>
                  <a:pt x="63585" y="58027"/>
                  <a:pt x="72227" y="58027"/>
                </a:cubicBezTo>
                <a:lnTo>
                  <a:pt x="76548" y="58027"/>
                </a:lnTo>
                <a:lnTo>
                  <a:pt x="76548" y="39257"/>
                </a:lnTo>
                <a:cubicBezTo>
                  <a:pt x="76548" y="36730"/>
                  <a:pt x="78709" y="34925"/>
                  <a:pt x="80869" y="34925"/>
                </a:cubicBezTo>
                <a:close/>
                <a:moveTo>
                  <a:pt x="108382" y="8637"/>
                </a:moveTo>
                <a:cubicBezTo>
                  <a:pt x="53469" y="8637"/>
                  <a:pt x="8670" y="53623"/>
                  <a:pt x="8670" y="108326"/>
                </a:cubicBezTo>
                <a:cubicBezTo>
                  <a:pt x="8670" y="134958"/>
                  <a:pt x="18786" y="159070"/>
                  <a:pt x="37573" y="178144"/>
                </a:cubicBezTo>
                <a:cubicBezTo>
                  <a:pt x="45160" y="185702"/>
                  <a:pt x="50579" y="195059"/>
                  <a:pt x="53469" y="205495"/>
                </a:cubicBezTo>
                <a:lnTo>
                  <a:pt x="164380" y="205495"/>
                </a:lnTo>
                <a:cubicBezTo>
                  <a:pt x="166909" y="195059"/>
                  <a:pt x="171967" y="185342"/>
                  <a:pt x="179915" y="177424"/>
                </a:cubicBezTo>
                <a:cubicBezTo>
                  <a:pt x="198340" y="158710"/>
                  <a:pt x="208455" y="134238"/>
                  <a:pt x="208455" y="108326"/>
                </a:cubicBezTo>
                <a:cubicBezTo>
                  <a:pt x="208455" y="53623"/>
                  <a:pt x="163296" y="8637"/>
                  <a:pt x="108382" y="8637"/>
                </a:cubicBezTo>
                <a:close/>
                <a:moveTo>
                  <a:pt x="108382" y="0"/>
                </a:moveTo>
                <a:cubicBezTo>
                  <a:pt x="168354" y="0"/>
                  <a:pt x="217126" y="48585"/>
                  <a:pt x="217126" y="108326"/>
                </a:cubicBezTo>
                <a:cubicBezTo>
                  <a:pt x="217126" y="136757"/>
                  <a:pt x="205926" y="163389"/>
                  <a:pt x="186056" y="183542"/>
                </a:cubicBezTo>
                <a:cubicBezTo>
                  <a:pt x="176302" y="193259"/>
                  <a:pt x="171244" y="206575"/>
                  <a:pt x="171244" y="220611"/>
                </a:cubicBezTo>
                <a:lnTo>
                  <a:pt x="171244" y="251201"/>
                </a:lnTo>
                <a:cubicBezTo>
                  <a:pt x="171244" y="256599"/>
                  <a:pt x="166548" y="261278"/>
                  <a:pt x="161128" y="261278"/>
                </a:cubicBezTo>
                <a:lnTo>
                  <a:pt x="159322" y="261278"/>
                </a:lnTo>
                <a:cubicBezTo>
                  <a:pt x="157154" y="274954"/>
                  <a:pt x="145232" y="285390"/>
                  <a:pt x="131143" y="285390"/>
                </a:cubicBezTo>
                <a:lnTo>
                  <a:pt x="86706" y="285390"/>
                </a:lnTo>
                <a:cubicBezTo>
                  <a:pt x="72616" y="285390"/>
                  <a:pt x="60694" y="274954"/>
                  <a:pt x="58527" y="261278"/>
                </a:cubicBezTo>
                <a:lnTo>
                  <a:pt x="56720" y="261278"/>
                </a:lnTo>
                <a:cubicBezTo>
                  <a:pt x="51301" y="261278"/>
                  <a:pt x="46605" y="256599"/>
                  <a:pt x="46605" y="251201"/>
                </a:cubicBezTo>
                <a:lnTo>
                  <a:pt x="46605" y="221330"/>
                </a:lnTo>
                <a:cubicBezTo>
                  <a:pt x="46605" y="207295"/>
                  <a:pt x="41185" y="193979"/>
                  <a:pt x="31431" y="184262"/>
                </a:cubicBezTo>
                <a:cubicBezTo>
                  <a:pt x="11199" y="163749"/>
                  <a:pt x="0" y="136757"/>
                  <a:pt x="0" y="108326"/>
                </a:cubicBezTo>
                <a:cubicBezTo>
                  <a:pt x="0" y="48585"/>
                  <a:pt x="48772" y="0"/>
                  <a:pt x="108382" y="0"/>
                </a:cubicBezTo>
                <a:close/>
              </a:path>
            </a:pathLst>
          </a:custGeom>
          <a:solidFill>
            <a:schemeClr val="bg1"/>
          </a:solidFill>
          <a:ln>
            <a:noFill/>
          </a:ln>
          <a:effectLst/>
        </p:spPr>
        <p:txBody>
          <a:bodyPr anchor="ctr"/>
          <a:lstStyle/>
          <a:p>
            <a:endParaRPr lang="en-US" sz="1200" dirty="0"/>
          </a:p>
        </p:txBody>
      </p:sp>
      <p:sp>
        <p:nvSpPr>
          <p:cNvPr id="60" name="Rectángulo 59">
            <a:extLst>
              <a:ext uri="{FF2B5EF4-FFF2-40B4-BE49-F238E27FC236}">
                <a16:creationId xmlns:a16="http://schemas.microsoft.com/office/drawing/2014/main" id="{BDBA32A4-D4BB-F50F-1AEE-6C8AAD4DB110}"/>
              </a:ext>
            </a:extLst>
          </p:cNvPr>
          <p:cNvSpPr/>
          <p:nvPr/>
        </p:nvSpPr>
        <p:spPr>
          <a:xfrm>
            <a:off x="9877308" y="3883818"/>
            <a:ext cx="571509" cy="5715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1" name="Rectángulo 60">
            <a:extLst>
              <a:ext uri="{FF2B5EF4-FFF2-40B4-BE49-F238E27FC236}">
                <a16:creationId xmlns:a16="http://schemas.microsoft.com/office/drawing/2014/main" id="{C3C9BF5B-FCC7-880A-0F7F-260D3522A369}"/>
              </a:ext>
            </a:extLst>
          </p:cNvPr>
          <p:cNvSpPr/>
          <p:nvPr/>
        </p:nvSpPr>
        <p:spPr>
          <a:xfrm>
            <a:off x="8330650" y="4707799"/>
            <a:ext cx="571509" cy="571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2" name="Rectángulo 61">
            <a:extLst>
              <a:ext uri="{FF2B5EF4-FFF2-40B4-BE49-F238E27FC236}">
                <a16:creationId xmlns:a16="http://schemas.microsoft.com/office/drawing/2014/main" id="{06DDF5A4-BA39-2885-51E1-023F564EAB38}"/>
              </a:ext>
            </a:extLst>
          </p:cNvPr>
          <p:cNvSpPr/>
          <p:nvPr/>
        </p:nvSpPr>
        <p:spPr>
          <a:xfrm>
            <a:off x="11241648" y="5513758"/>
            <a:ext cx="571509" cy="5715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3" name="Freeform 985">
            <a:extLst>
              <a:ext uri="{FF2B5EF4-FFF2-40B4-BE49-F238E27FC236}">
                <a16:creationId xmlns:a16="http://schemas.microsoft.com/office/drawing/2014/main" id="{A5E76887-539A-3D21-6862-15A64AD186D3}"/>
              </a:ext>
            </a:extLst>
          </p:cNvPr>
          <p:cNvSpPr>
            <a:spLocks noChangeAspect="1" noChangeArrowheads="1"/>
          </p:cNvSpPr>
          <p:nvPr/>
        </p:nvSpPr>
        <p:spPr bwMode="auto">
          <a:xfrm>
            <a:off x="8453824" y="4821366"/>
            <a:ext cx="344374" cy="344374"/>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bg1"/>
          </a:solidFill>
          <a:ln>
            <a:noFill/>
          </a:ln>
          <a:effectLst/>
        </p:spPr>
        <p:txBody>
          <a:bodyPr anchor="ctr"/>
          <a:lstStyle/>
          <a:p>
            <a:endParaRPr lang="en-US" sz="1200" dirty="0"/>
          </a:p>
        </p:txBody>
      </p:sp>
      <p:sp>
        <p:nvSpPr>
          <p:cNvPr id="65" name="Freeform 987">
            <a:extLst>
              <a:ext uri="{FF2B5EF4-FFF2-40B4-BE49-F238E27FC236}">
                <a16:creationId xmlns:a16="http://schemas.microsoft.com/office/drawing/2014/main" id="{F564790F-8CF4-290E-5475-794954F725A2}"/>
              </a:ext>
            </a:extLst>
          </p:cNvPr>
          <p:cNvSpPr>
            <a:spLocks noChangeAspect="1" noChangeArrowheads="1"/>
          </p:cNvSpPr>
          <p:nvPr/>
        </p:nvSpPr>
        <p:spPr bwMode="auto">
          <a:xfrm>
            <a:off x="9999161" y="4002511"/>
            <a:ext cx="344374" cy="344374"/>
          </a:xfrm>
          <a:custGeom>
            <a:avLst/>
            <a:gdLst>
              <a:gd name="T0" fmla="*/ 255324 w 285390"/>
              <a:gd name="T1" fmla="*/ 278152 h 285390"/>
              <a:gd name="T2" fmla="*/ 256757 w 285390"/>
              <a:gd name="T3" fmla="*/ 137093 h 285390"/>
              <a:gd name="T4" fmla="*/ 263017 w 285390"/>
              <a:gd name="T5" fmla="*/ 143352 h 285390"/>
              <a:gd name="T6" fmla="*/ 255284 w 285390"/>
              <a:gd name="T7" fmla="*/ 140407 h 285390"/>
              <a:gd name="T8" fmla="*/ 264489 w 285390"/>
              <a:gd name="T9" fmla="*/ 119856 h 285390"/>
              <a:gd name="T10" fmla="*/ 259702 w 285390"/>
              <a:gd name="T11" fmla="*/ 114878 h 285390"/>
              <a:gd name="T12" fmla="*/ 170216 w 285390"/>
              <a:gd name="T13" fmla="*/ 202556 h 285390"/>
              <a:gd name="T14" fmla="*/ 139432 w 285390"/>
              <a:gd name="T15" fmla="*/ 204363 h 285390"/>
              <a:gd name="T16" fmla="*/ 135449 w 285390"/>
              <a:gd name="T17" fmla="*/ 223535 h 285390"/>
              <a:gd name="T18" fmla="*/ 190860 w 285390"/>
              <a:gd name="T19" fmla="*/ 255002 h 285390"/>
              <a:gd name="T20" fmla="*/ 245546 w 285390"/>
              <a:gd name="T21" fmla="*/ 161682 h 285390"/>
              <a:gd name="T22" fmla="*/ 234319 w 285390"/>
              <a:gd name="T23" fmla="*/ 160236 h 285390"/>
              <a:gd name="T24" fmla="*/ 214400 w 285390"/>
              <a:gd name="T25" fmla="*/ 156257 h 285390"/>
              <a:gd name="T26" fmla="*/ 190497 w 285390"/>
              <a:gd name="T27" fmla="*/ 155895 h 285390"/>
              <a:gd name="T28" fmla="*/ 178908 w 285390"/>
              <a:gd name="T29" fmla="*/ 95852 h 285390"/>
              <a:gd name="T30" fmla="*/ 259702 w 285390"/>
              <a:gd name="T31" fmla="*/ 103342 h 285390"/>
              <a:gd name="T32" fmla="*/ 23933 w 285390"/>
              <a:gd name="T33" fmla="*/ 84563 h 285390"/>
              <a:gd name="T34" fmla="*/ 23933 w 285390"/>
              <a:gd name="T35" fmla="*/ 133663 h 285390"/>
              <a:gd name="T36" fmla="*/ 23933 w 285390"/>
              <a:gd name="T37" fmla="*/ 84563 h 285390"/>
              <a:gd name="T38" fmla="*/ 264489 w 285390"/>
              <a:gd name="T39" fmla="*/ 76584 h 285390"/>
              <a:gd name="T40" fmla="*/ 256757 w 285390"/>
              <a:gd name="T41" fmla="*/ 79531 h 285390"/>
              <a:gd name="T42" fmla="*/ 125867 w 285390"/>
              <a:gd name="T43" fmla="*/ 46270 h 285390"/>
              <a:gd name="T44" fmla="*/ 143761 w 285390"/>
              <a:gd name="T45" fmla="*/ 65006 h 285390"/>
              <a:gd name="T46" fmla="*/ 125867 w 285390"/>
              <a:gd name="T47" fmla="*/ 62484 h 285390"/>
              <a:gd name="T48" fmla="*/ 144834 w 285390"/>
              <a:gd name="T49" fmla="*/ 98871 h 285390"/>
              <a:gd name="T50" fmla="*/ 125867 w 285390"/>
              <a:gd name="T51" fmla="*/ 124091 h 285390"/>
              <a:gd name="T52" fmla="*/ 107974 w 285390"/>
              <a:gd name="T53" fmla="*/ 105356 h 285390"/>
              <a:gd name="T54" fmla="*/ 125867 w 285390"/>
              <a:gd name="T55" fmla="*/ 108238 h 285390"/>
              <a:gd name="T56" fmla="*/ 106900 w 285390"/>
              <a:gd name="T57" fmla="*/ 71490 h 285390"/>
              <a:gd name="T58" fmla="*/ 125867 w 285390"/>
              <a:gd name="T59" fmla="*/ 46270 h 285390"/>
              <a:gd name="T60" fmla="*/ 74967 w 285390"/>
              <a:gd name="T61" fmla="*/ 129129 h 285390"/>
              <a:gd name="T62" fmla="*/ 161524 w 285390"/>
              <a:gd name="T63" fmla="*/ 102001 h 285390"/>
              <a:gd name="T64" fmla="*/ 169493 w 285390"/>
              <a:gd name="T65" fmla="*/ 35085 h 285390"/>
              <a:gd name="T66" fmla="*/ 49255 w 285390"/>
              <a:gd name="T67" fmla="*/ 208342 h 285390"/>
              <a:gd name="T68" fmla="*/ 161524 w 285390"/>
              <a:gd name="T69" fmla="*/ 197129 h 285390"/>
              <a:gd name="T70" fmla="*/ 66639 w 285390"/>
              <a:gd name="T71" fmla="*/ 129129 h 285390"/>
              <a:gd name="T72" fmla="*/ 169493 w 285390"/>
              <a:gd name="T73" fmla="*/ 26404 h 285390"/>
              <a:gd name="T74" fmla="*/ 196292 w 285390"/>
              <a:gd name="T75" fmla="*/ 102001 h 285390"/>
              <a:gd name="T76" fmla="*/ 224541 w 285390"/>
              <a:gd name="T77" fmla="*/ 143959 h 285390"/>
              <a:gd name="T78" fmla="*/ 264016 w 285390"/>
              <a:gd name="T79" fmla="*/ 170002 h 285390"/>
              <a:gd name="T80" fmla="*/ 278141 w 285390"/>
              <a:gd name="T81" fmla="*/ 190981 h 285390"/>
              <a:gd name="T82" fmla="*/ 49255 w 285390"/>
              <a:gd name="T83" fmla="*/ 8681 h 285390"/>
              <a:gd name="T84" fmla="*/ 8692 w 285390"/>
              <a:gd name="T85" fmla="*/ 190981 h 285390"/>
              <a:gd name="T86" fmla="*/ 40562 w 285390"/>
              <a:gd name="T87" fmla="*/ 8681 h 285390"/>
              <a:gd name="T88" fmla="*/ 260757 w 285390"/>
              <a:gd name="T89" fmla="*/ 0 h 285390"/>
              <a:gd name="T90" fmla="*/ 264379 w 285390"/>
              <a:gd name="T91" fmla="*/ 217023 h 285390"/>
              <a:gd name="T92" fmla="*/ 190860 w 285390"/>
              <a:gd name="T93" fmla="*/ 286832 h 285390"/>
              <a:gd name="T94" fmla="*/ 168406 w 285390"/>
              <a:gd name="T95" fmla="*/ 250663 h 285390"/>
              <a:gd name="T96" fmla="*/ 109373 w 285390"/>
              <a:gd name="T97" fmla="*/ 232938 h 285390"/>
              <a:gd name="T98" fmla="*/ 25712 w 285390"/>
              <a:gd name="T99" fmla="*/ 217023 h 285390"/>
              <a:gd name="T100" fmla="*/ 25712 w 285390"/>
              <a:gd name="T101" fmla="*/ 0 h 285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0">
                <a:moveTo>
                  <a:pt x="194224" y="262358"/>
                </a:moveTo>
                <a:lnTo>
                  <a:pt x="194224" y="276753"/>
                </a:lnTo>
                <a:lnTo>
                  <a:pt x="254040" y="276753"/>
                </a:lnTo>
                <a:lnTo>
                  <a:pt x="254040" y="262358"/>
                </a:lnTo>
                <a:lnTo>
                  <a:pt x="194224" y="262358"/>
                </a:lnTo>
                <a:close/>
                <a:moveTo>
                  <a:pt x="255466" y="136404"/>
                </a:moveTo>
                <a:cubicBezTo>
                  <a:pt x="257297" y="134938"/>
                  <a:pt x="259862" y="134938"/>
                  <a:pt x="261694" y="136404"/>
                </a:cubicBezTo>
                <a:cubicBezTo>
                  <a:pt x="262793" y="137503"/>
                  <a:pt x="263159" y="138602"/>
                  <a:pt x="263159" y="139701"/>
                </a:cubicBezTo>
                <a:cubicBezTo>
                  <a:pt x="263159" y="140800"/>
                  <a:pt x="262793" y="141899"/>
                  <a:pt x="261694" y="142631"/>
                </a:cubicBezTo>
                <a:cubicBezTo>
                  <a:pt x="260961" y="143730"/>
                  <a:pt x="259862" y="144097"/>
                  <a:pt x="258396" y="144097"/>
                </a:cubicBezTo>
                <a:cubicBezTo>
                  <a:pt x="257297" y="144097"/>
                  <a:pt x="256198" y="143730"/>
                  <a:pt x="255466" y="142631"/>
                </a:cubicBezTo>
                <a:cubicBezTo>
                  <a:pt x="254733" y="141899"/>
                  <a:pt x="254000" y="140800"/>
                  <a:pt x="254000" y="139701"/>
                </a:cubicBezTo>
                <a:cubicBezTo>
                  <a:pt x="254000" y="138602"/>
                  <a:pt x="254733" y="137503"/>
                  <a:pt x="255466" y="136404"/>
                </a:cubicBezTo>
                <a:close/>
                <a:moveTo>
                  <a:pt x="258396" y="114300"/>
                </a:moveTo>
                <a:cubicBezTo>
                  <a:pt x="260961" y="114300"/>
                  <a:pt x="263159" y="116586"/>
                  <a:pt x="263159" y="119253"/>
                </a:cubicBezTo>
                <a:cubicBezTo>
                  <a:pt x="263159" y="121539"/>
                  <a:pt x="260961" y="123444"/>
                  <a:pt x="258396" y="123444"/>
                </a:cubicBezTo>
                <a:cubicBezTo>
                  <a:pt x="256198" y="123444"/>
                  <a:pt x="254000" y="121539"/>
                  <a:pt x="254000" y="119253"/>
                </a:cubicBezTo>
                <a:cubicBezTo>
                  <a:pt x="254000" y="116586"/>
                  <a:pt x="256198" y="114300"/>
                  <a:pt x="258396" y="114300"/>
                </a:cubicBezTo>
                <a:close/>
                <a:moveTo>
                  <a:pt x="178008" y="95370"/>
                </a:moveTo>
                <a:cubicBezTo>
                  <a:pt x="173324" y="95370"/>
                  <a:pt x="169360" y="98249"/>
                  <a:pt x="169360" y="101488"/>
                </a:cubicBezTo>
                <a:lnTo>
                  <a:pt x="169360" y="201537"/>
                </a:lnTo>
                <a:cubicBezTo>
                  <a:pt x="169360" y="202976"/>
                  <a:pt x="168640" y="204056"/>
                  <a:pt x="167559" y="205136"/>
                </a:cubicBezTo>
                <a:cubicBezTo>
                  <a:pt x="166478" y="205855"/>
                  <a:pt x="165036" y="206215"/>
                  <a:pt x="163955" y="205495"/>
                </a:cubicBezTo>
                <a:cubicBezTo>
                  <a:pt x="160352" y="204416"/>
                  <a:pt x="150623" y="202256"/>
                  <a:pt x="138731" y="203336"/>
                </a:cubicBezTo>
                <a:cubicBezTo>
                  <a:pt x="125399" y="204416"/>
                  <a:pt x="115670" y="210534"/>
                  <a:pt x="115309" y="217372"/>
                </a:cubicBezTo>
                <a:cubicBezTo>
                  <a:pt x="115309" y="220611"/>
                  <a:pt x="115309" y="223130"/>
                  <a:pt x="115670" y="224569"/>
                </a:cubicBezTo>
                <a:cubicBezTo>
                  <a:pt x="120714" y="223490"/>
                  <a:pt x="128281" y="222410"/>
                  <a:pt x="134768" y="222410"/>
                </a:cubicBezTo>
                <a:cubicBezTo>
                  <a:pt x="138011" y="222410"/>
                  <a:pt x="140173" y="222770"/>
                  <a:pt x="142695" y="223490"/>
                </a:cubicBezTo>
                <a:cubicBezTo>
                  <a:pt x="153866" y="227089"/>
                  <a:pt x="163955" y="235366"/>
                  <a:pt x="172964" y="242564"/>
                </a:cubicBezTo>
                <a:cubicBezTo>
                  <a:pt x="179450" y="247602"/>
                  <a:pt x="186657" y="253720"/>
                  <a:pt x="189900" y="253720"/>
                </a:cubicBezTo>
                <a:lnTo>
                  <a:pt x="254040" y="253720"/>
                </a:lnTo>
                <a:lnTo>
                  <a:pt x="254040" y="170586"/>
                </a:lnTo>
                <a:cubicBezTo>
                  <a:pt x="253680" y="164828"/>
                  <a:pt x="249356" y="160869"/>
                  <a:pt x="244311" y="160869"/>
                </a:cubicBezTo>
                <a:cubicBezTo>
                  <a:pt x="242509" y="160869"/>
                  <a:pt x="241068" y="161229"/>
                  <a:pt x="239266" y="162309"/>
                </a:cubicBezTo>
                <a:cubicBezTo>
                  <a:pt x="238185" y="162669"/>
                  <a:pt x="236744" y="163029"/>
                  <a:pt x="235663" y="162309"/>
                </a:cubicBezTo>
                <a:cubicBezTo>
                  <a:pt x="234222" y="161589"/>
                  <a:pt x="233501" y="160510"/>
                  <a:pt x="233141" y="159430"/>
                </a:cubicBezTo>
                <a:cubicBezTo>
                  <a:pt x="232060" y="154751"/>
                  <a:pt x="228096" y="151512"/>
                  <a:pt x="223411" y="151512"/>
                </a:cubicBezTo>
                <a:cubicBezTo>
                  <a:pt x="220889" y="151512"/>
                  <a:pt x="218367" y="152592"/>
                  <a:pt x="216565" y="154032"/>
                </a:cubicBezTo>
                <a:cubicBezTo>
                  <a:pt x="215844" y="155111"/>
                  <a:pt x="214403" y="155471"/>
                  <a:pt x="213322" y="155471"/>
                </a:cubicBezTo>
                <a:cubicBezTo>
                  <a:pt x="212241" y="155111"/>
                  <a:pt x="210799" y="154392"/>
                  <a:pt x="210079" y="153672"/>
                </a:cubicBezTo>
                <a:cubicBezTo>
                  <a:pt x="206475" y="148273"/>
                  <a:pt x="198188" y="148273"/>
                  <a:pt x="194224" y="153312"/>
                </a:cubicBezTo>
                <a:cubicBezTo>
                  <a:pt x="193143" y="155111"/>
                  <a:pt x="190981" y="155471"/>
                  <a:pt x="189539" y="155111"/>
                </a:cubicBezTo>
                <a:cubicBezTo>
                  <a:pt x="187377" y="154392"/>
                  <a:pt x="186657" y="152952"/>
                  <a:pt x="186657" y="150793"/>
                </a:cubicBezTo>
                <a:lnTo>
                  <a:pt x="186657" y="101488"/>
                </a:lnTo>
                <a:cubicBezTo>
                  <a:pt x="186657" y="98249"/>
                  <a:pt x="182693" y="95370"/>
                  <a:pt x="178008" y="95370"/>
                </a:cubicBezTo>
                <a:close/>
                <a:moveTo>
                  <a:pt x="258396" y="93663"/>
                </a:moveTo>
                <a:cubicBezTo>
                  <a:pt x="260961" y="93663"/>
                  <a:pt x="263159" y="95861"/>
                  <a:pt x="263159" y="98426"/>
                </a:cubicBezTo>
                <a:cubicBezTo>
                  <a:pt x="263159" y="100624"/>
                  <a:pt x="260961" y="102822"/>
                  <a:pt x="258396" y="102822"/>
                </a:cubicBezTo>
                <a:cubicBezTo>
                  <a:pt x="256198" y="102822"/>
                  <a:pt x="254000" y="100624"/>
                  <a:pt x="254000" y="98426"/>
                </a:cubicBezTo>
                <a:cubicBezTo>
                  <a:pt x="254000" y="95861"/>
                  <a:pt x="256198" y="93663"/>
                  <a:pt x="258396" y="93663"/>
                </a:cubicBezTo>
                <a:close/>
                <a:moveTo>
                  <a:pt x="23813" y="84138"/>
                </a:moveTo>
                <a:cubicBezTo>
                  <a:pt x="26011" y="84138"/>
                  <a:pt x="28209" y="85934"/>
                  <a:pt x="28209" y="88449"/>
                </a:cubicBezTo>
                <a:lnTo>
                  <a:pt x="28209" y="128680"/>
                </a:lnTo>
                <a:cubicBezTo>
                  <a:pt x="28209" y="131195"/>
                  <a:pt x="26011" y="132991"/>
                  <a:pt x="23813" y="132991"/>
                </a:cubicBezTo>
                <a:cubicBezTo>
                  <a:pt x="21248" y="132991"/>
                  <a:pt x="19050" y="131195"/>
                  <a:pt x="19050" y="128680"/>
                </a:cubicBezTo>
                <a:lnTo>
                  <a:pt x="19050" y="88449"/>
                </a:lnTo>
                <a:cubicBezTo>
                  <a:pt x="19050" y="85934"/>
                  <a:pt x="21248" y="84138"/>
                  <a:pt x="23813" y="84138"/>
                </a:cubicBezTo>
                <a:close/>
                <a:moveTo>
                  <a:pt x="255466" y="72903"/>
                </a:moveTo>
                <a:cubicBezTo>
                  <a:pt x="257297" y="71438"/>
                  <a:pt x="259862" y="71438"/>
                  <a:pt x="261694" y="72903"/>
                </a:cubicBezTo>
                <a:cubicBezTo>
                  <a:pt x="262793" y="73636"/>
                  <a:pt x="263159" y="75101"/>
                  <a:pt x="263159" y="76200"/>
                </a:cubicBezTo>
                <a:cubicBezTo>
                  <a:pt x="263159" y="77299"/>
                  <a:pt x="262793" y="78398"/>
                  <a:pt x="261694" y="79131"/>
                </a:cubicBezTo>
                <a:cubicBezTo>
                  <a:pt x="260961" y="80230"/>
                  <a:pt x="259862" y="80597"/>
                  <a:pt x="258396" y="80597"/>
                </a:cubicBezTo>
                <a:cubicBezTo>
                  <a:pt x="257297" y="80597"/>
                  <a:pt x="256198" y="80230"/>
                  <a:pt x="255466" y="79131"/>
                </a:cubicBezTo>
                <a:cubicBezTo>
                  <a:pt x="254733" y="78398"/>
                  <a:pt x="254000" y="77299"/>
                  <a:pt x="254000" y="76200"/>
                </a:cubicBezTo>
                <a:cubicBezTo>
                  <a:pt x="254000" y="75101"/>
                  <a:pt x="254733" y="73636"/>
                  <a:pt x="255466" y="72903"/>
                </a:cubicBezTo>
                <a:close/>
                <a:moveTo>
                  <a:pt x="125234" y="46038"/>
                </a:moveTo>
                <a:cubicBezTo>
                  <a:pt x="127371" y="46038"/>
                  <a:pt x="129507" y="47830"/>
                  <a:pt x="129507" y="50339"/>
                </a:cubicBezTo>
                <a:lnTo>
                  <a:pt x="129507" y="53924"/>
                </a:lnTo>
                <a:cubicBezTo>
                  <a:pt x="135560" y="55000"/>
                  <a:pt x="140545" y="58943"/>
                  <a:pt x="143038" y="64678"/>
                </a:cubicBezTo>
                <a:cubicBezTo>
                  <a:pt x="143750" y="66829"/>
                  <a:pt x="143038" y="69338"/>
                  <a:pt x="140545" y="70414"/>
                </a:cubicBezTo>
                <a:cubicBezTo>
                  <a:pt x="138765" y="71489"/>
                  <a:pt x="135916" y="70414"/>
                  <a:pt x="135204" y="67904"/>
                </a:cubicBezTo>
                <a:cubicBezTo>
                  <a:pt x="133424" y="64320"/>
                  <a:pt x="129507" y="62169"/>
                  <a:pt x="125234" y="62169"/>
                </a:cubicBezTo>
                <a:cubicBezTo>
                  <a:pt x="119181" y="62169"/>
                  <a:pt x="114552" y="66112"/>
                  <a:pt x="114552" y="71130"/>
                </a:cubicBezTo>
                <a:cubicBezTo>
                  <a:pt x="114552" y="77224"/>
                  <a:pt x="118113" y="80451"/>
                  <a:pt x="125234" y="80451"/>
                </a:cubicBezTo>
                <a:cubicBezTo>
                  <a:pt x="139121" y="80451"/>
                  <a:pt x="144106" y="89771"/>
                  <a:pt x="144106" y="98374"/>
                </a:cubicBezTo>
                <a:cubicBezTo>
                  <a:pt x="144106" y="106619"/>
                  <a:pt x="138053" y="113788"/>
                  <a:pt x="129507" y="115580"/>
                </a:cubicBezTo>
                <a:lnTo>
                  <a:pt x="129507" y="119165"/>
                </a:lnTo>
                <a:cubicBezTo>
                  <a:pt x="129507" y="121674"/>
                  <a:pt x="127371" y="123467"/>
                  <a:pt x="125234" y="123467"/>
                </a:cubicBezTo>
                <a:cubicBezTo>
                  <a:pt x="122742" y="123467"/>
                  <a:pt x="120961" y="121674"/>
                  <a:pt x="120961" y="119165"/>
                </a:cubicBezTo>
                <a:lnTo>
                  <a:pt x="120961" y="115580"/>
                </a:lnTo>
                <a:cubicBezTo>
                  <a:pt x="114908" y="114147"/>
                  <a:pt x="109923" y="110203"/>
                  <a:pt x="107430" y="104826"/>
                </a:cubicBezTo>
                <a:cubicBezTo>
                  <a:pt x="106718" y="102317"/>
                  <a:pt x="107430" y="99808"/>
                  <a:pt x="109923" y="99091"/>
                </a:cubicBezTo>
                <a:cubicBezTo>
                  <a:pt x="112059" y="98374"/>
                  <a:pt x="114552" y="99091"/>
                  <a:pt x="115264" y="101600"/>
                </a:cubicBezTo>
                <a:cubicBezTo>
                  <a:pt x="117044" y="105185"/>
                  <a:pt x="120961" y="107694"/>
                  <a:pt x="125234" y="107694"/>
                </a:cubicBezTo>
                <a:cubicBezTo>
                  <a:pt x="130931" y="107694"/>
                  <a:pt x="135916" y="103393"/>
                  <a:pt x="135916" y="98374"/>
                </a:cubicBezTo>
                <a:cubicBezTo>
                  <a:pt x="135916" y="92280"/>
                  <a:pt x="132356" y="89054"/>
                  <a:pt x="125234" y="89054"/>
                </a:cubicBezTo>
                <a:cubicBezTo>
                  <a:pt x="110991" y="89054"/>
                  <a:pt x="106362" y="79734"/>
                  <a:pt x="106362" y="71130"/>
                </a:cubicBezTo>
                <a:cubicBezTo>
                  <a:pt x="106362" y="62527"/>
                  <a:pt x="112416" y="55716"/>
                  <a:pt x="120961" y="53924"/>
                </a:cubicBezTo>
                <a:lnTo>
                  <a:pt x="120961" y="50339"/>
                </a:lnTo>
                <a:cubicBezTo>
                  <a:pt x="120961" y="47830"/>
                  <a:pt x="122742" y="46038"/>
                  <a:pt x="125234" y="46038"/>
                </a:cubicBezTo>
                <a:close/>
                <a:moveTo>
                  <a:pt x="82158" y="34909"/>
                </a:moveTo>
                <a:cubicBezTo>
                  <a:pt x="78194" y="34909"/>
                  <a:pt x="74591" y="37788"/>
                  <a:pt x="74591" y="42107"/>
                </a:cubicBezTo>
                <a:lnTo>
                  <a:pt x="74591" y="128480"/>
                </a:lnTo>
                <a:cubicBezTo>
                  <a:pt x="74591" y="132438"/>
                  <a:pt x="78194" y="135677"/>
                  <a:pt x="82158" y="135677"/>
                </a:cubicBezTo>
                <a:lnTo>
                  <a:pt x="160712" y="135677"/>
                </a:lnTo>
                <a:lnTo>
                  <a:pt x="160712" y="101488"/>
                </a:lnTo>
                <a:cubicBezTo>
                  <a:pt x="160712" y="93931"/>
                  <a:pt x="167559" y="87812"/>
                  <a:pt x="175846" y="86733"/>
                </a:cubicBezTo>
                <a:lnTo>
                  <a:pt x="175846" y="42107"/>
                </a:lnTo>
                <a:cubicBezTo>
                  <a:pt x="175846" y="37788"/>
                  <a:pt x="172603" y="34909"/>
                  <a:pt x="168640" y="34909"/>
                </a:cubicBezTo>
                <a:lnTo>
                  <a:pt x="82158" y="34909"/>
                </a:lnTo>
                <a:close/>
                <a:moveTo>
                  <a:pt x="49007" y="8637"/>
                </a:moveTo>
                <a:lnTo>
                  <a:pt x="49007" y="207295"/>
                </a:lnTo>
                <a:lnTo>
                  <a:pt x="110264" y="207295"/>
                </a:lnTo>
                <a:cubicBezTo>
                  <a:pt x="115309" y="200457"/>
                  <a:pt x="125038" y="196138"/>
                  <a:pt x="138011" y="194699"/>
                </a:cubicBezTo>
                <a:cubicBezTo>
                  <a:pt x="147019" y="193979"/>
                  <a:pt x="155307" y="195059"/>
                  <a:pt x="160712" y="196138"/>
                </a:cubicBezTo>
                <a:lnTo>
                  <a:pt x="160712" y="144315"/>
                </a:lnTo>
                <a:lnTo>
                  <a:pt x="82158" y="144315"/>
                </a:lnTo>
                <a:cubicBezTo>
                  <a:pt x="73510" y="144315"/>
                  <a:pt x="66303" y="137477"/>
                  <a:pt x="66303" y="128480"/>
                </a:cubicBezTo>
                <a:lnTo>
                  <a:pt x="66303" y="42107"/>
                </a:lnTo>
                <a:cubicBezTo>
                  <a:pt x="66303" y="33469"/>
                  <a:pt x="73510" y="26272"/>
                  <a:pt x="82158" y="26272"/>
                </a:cubicBezTo>
                <a:lnTo>
                  <a:pt x="168640" y="26272"/>
                </a:lnTo>
                <a:cubicBezTo>
                  <a:pt x="177288" y="26272"/>
                  <a:pt x="184495" y="33469"/>
                  <a:pt x="184495" y="42107"/>
                </a:cubicBezTo>
                <a:lnTo>
                  <a:pt x="184495" y="87812"/>
                </a:lnTo>
                <a:cubicBezTo>
                  <a:pt x="190620" y="90332"/>
                  <a:pt x="195305" y="95370"/>
                  <a:pt x="195305" y="101488"/>
                </a:cubicBezTo>
                <a:lnTo>
                  <a:pt x="195305" y="142515"/>
                </a:lnTo>
                <a:cubicBezTo>
                  <a:pt x="201070" y="139996"/>
                  <a:pt x="208998" y="141436"/>
                  <a:pt x="214403" y="145754"/>
                </a:cubicBezTo>
                <a:cubicBezTo>
                  <a:pt x="216925" y="143955"/>
                  <a:pt x="220168" y="143235"/>
                  <a:pt x="223411" y="143235"/>
                </a:cubicBezTo>
                <a:cubicBezTo>
                  <a:pt x="230258" y="143235"/>
                  <a:pt x="236744" y="147194"/>
                  <a:pt x="239987" y="152952"/>
                </a:cubicBezTo>
                <a:cubicBezTo>
                  <a:pt x="241428" y="152592"/>
                  <a:pt x="242870" y="152592"/>
                  <a:pt x="244311" y="152592"/>
                </a:cubicBezTo>
                <a:cubicBezTo>
                  <a:pt x="253680" y="152592"/>
                  <a:pt x="261968" y="159790"/>
                  <a:pt x="262688" y="169147"/>
                </a:cubicBezTo>
                <a:cubicBezTo>
                  <a:pt x="263049" y="169507"/>
                  <a:pt x="263049" y="169867"/>
                  <a:pt x="263049" y="170586"/>
                </a:cubicBezTo>
                <a:lnTo>
                  <a:pt x="263049" y="207295"/>
                </a:lnTo>
                <a:cubicBezTo>
                  <a:pt x="270616" y="205495"/>
                  <a:pt x="276742" y="198658"/>
                  <a:pt x="276742" y="190020"/>
                </a:cubicBezTo>
                <a:lnTo>
                  <a:pt x="276742" y="26272"/>
                </a:lnTo>
                <a:cubicBezTo>
                  <a:pt x="276742" y="16555"/>
                  <a:pt x="269175" y="8637"/>
                  <a:pt x="259445" y="8637"/>
                </a:cubicBezTo>
                <a:lnTo>
                  <a:pt x="49007" y="8637"/>
                </a:lnTo>
                <a:close/>
                <a:moveTo>
                  <a:pt x="25584" y="8637"/>
                </a:moveTo>
                <a:cubicBezTo>
                  <a:pt x="16215" y="8637"/>
                  <a:pt x="8648" y="16555"/>
                  <a:pt x="8648" y="26272"/>
                </a:cubicBezTo>
                <a:lnTo>
                  <a:pt x="8648" y="190020"/>
                </a:lnTo>
                <a:cubicBezTo>
                  <a:pt x="8648" y="199737"/>
                  <a:pt x="16215" y="207295"/>
                  <a:pt x="25584" y="207295"/>
                </a:cubicBezTo>
                <a:lnTo>
                  <a:pt x="40358" y="207295"/>
                </a:lnTo>
                <a:lnTo>
                  <a:pt x="40358" y="8637"/>
                </a:lnTo>
                <a:lnTo>
                  <a:pt x="25584" y="8637"/>
                </a:lnTo>
                <a:close/>
                <a:moveTo>
                  <a:pt x="25584" y="0"/>
                </a:moveTo>
                <a:lnTo>
                  <a:pt x="259445" y="0"/>
                </a:lnTo>
                <a:cubicBezTo>
                  <a:pt x="273859" y="0"/>
                  <a:pt x="285390" y="11876"/>
                  <a:pt x="285390" y="26272"/>
                </a:cubicBezTo>
                <a:lnTo>
                  <a:pt x="285390" y="190020"/>
                </a:lnTo>
                <a:cubicBezTo>
                  <a:pt x="285390" y="203336"/>
                  <a:pt x="275661" y="214133"/>
                  <a:pt x="263049" y="215932"/>
                </a:cubicBezTo>
                <a:lnTo>
                  <a:pt x="263049" y="281072"/>
                </a:lnTo>
                <a:cubicBezTo>
                  <a:pt x="263049" y="283591"/>
                  <a:pt x="260887" y="285390"/>
                  <a:pt x="258364" y="285390"/>
                </a:cubicBezTo>
                <a:lnTo>
                  <a:pt x="189900" y="285390"/>
                </a:lnTo>
                <a:cubicBezTo>
                  <a:pt x="187377" y="285390"/>
                  <a:pt x="185576" y="283591"/>
                  <a:pt x="185576" y="281072"/>
                </a:cubicBezTo>
                <a:lnTo>
                  <a:pt x="185576" y="261638"/>
                </a:lnTo>
                <a:cubicBezTo>
                  <a:pt x="180170" y="259478"/>
                  <a:pt x="174405" y="254800"/>
                  <a:pt x="167559" y="249402"/>
                </a:cubicBezTo>
                <a:cubicBezTo>
                  <a:pt x="158910" y="242564"/>
                  <a:pt x="149542" y="235006"/>
                  <a:pt x="139812" y="231767"/>
                </a:cubicBezTo>
                <a:cubicBezTo>
                  <a:pt x="135488" y="230328"/>
                  <a:pt x="121795" y="232127"/>
                  <a:pt x="113507" y="233926"/>
                </a:cubicBezTo>
                <a:cubicBezTo>
                  <a:pt x="111706" y="233926"/>
                  <a:pt x="109904" y="233207"/>
                  <a:pt x="108823" y="231767"/>
                </a:cubicBezTo>
                <a:cubicBezTo>
                  <a:pt x="108463" y="231047"/>
                  <a:pt x="106301" y="226729"/>
                  <a:pt x="106661" y="217012"/>
                </a:cubicBezTo>
                <a:cubicBezTo>
                  <a:pt x="106661" y="216652"/>
                  <a:pt x="106661" y="216292"/>
                  <a:pt x="106661" y="215932"/>
                </a:cubicBezTo>
                <a:lnTo>
                  <a:pt x="25584" y="215932"/>
                </a:lnTo>
                <a:cubicBezTo>
                  <a:pt x="11531" y="215932"/>
                  <a:pt x="0" y="204416"/>
                  <a:pt x="0" y="190020"/>
                </a:cubicBezTo>
                <a:lnTo>
                  <a:pt x="0" y="26272"/>
                </a:lnTo>
                <a:cubicBezTo>
                  <a:pt x="0" y="11876"/>
                  <a:pt x="11531" y="0"/>
                  <a:pt x="25584" y="0"/>
                </a:cubicBezTo>
                <a:close/>
              </a:path>
            </a:pathLst>
          </a:custGeom>
          <a:solidFill>
            <a:schemeClr val="bg1"/>
          </a:solidFill>
          <a:ln>
            <a:noFill/>
          </a:ln>
          <a:effectLst/>
        </p:spPr>
        <p:txBody>
          <a:bodyPr anchor="ctr"/>
          <a:lstStyle/>
          <a:p>
            <a:endParaRPr lang="en-US" sz="1200" dirty="0"/>
          </a:p>
        </p:txBody>
      </p:sp>
      <p:sp>
        <p:nvSpPr>
          <p:cNvPr id="66" name="Freeform 988">
            <a:extLst>
              <a:ext uri="{FF2B5EF4-FFF2-40B4-BE49-F238E27FC236}">
                <a16:creationId xmlns:a16="http://schemas.microsoft.com/office/drawing/2014/main" id="{E8FBCF27-3D0B-9E79-B765-B7456BD60560}"/>
              </a:ext>
            </a:extLst>
          </p:cNvPr>
          <p:cNvSpPr>
            <a:spLocks noChangeAspect="1" noChangeArrowheads="1"/>
          </p:cNvSpPr>
          <p:nvPr/>
        </p:nvSpPr>
        <p:spPr bwMode="auto">
          <a:xfrm>
            <a:off x="11355215" y="5627325"/>
            <a:ext cx="344374" cy="344374"/>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1200" dirty="0"/>
          </a:p>
        </p:txBody>
      </p:sp>
      <p:sp>
        <p:nvSpPr>
          <p:cNvPr id="5" name="Footer Placeholder 4">
            <a:extLst>
              <a:ext uri="{FF2B5EF4-FFF2-40B4-BE49-F238E27FC236}">
                <a16:creationId xmlns:a16="http://schemas.microsoft.com/office/drawing/2014/main" id="{2A048FDB-4787-8DF7-4E34-A36E3CA67F18}"/>
              </a:ext>
            </a:extLst>
          </p:cNvPr>
          <p:cNvSpPr>
            <a:spLocks noGrp="1"/>
          </p:cNvSpPr>
          <p:nvPr>
            <p:ph type="ftr" sz="quarter" idx="3"/>
          </p:nvPr>
        </p:nvSpPr>
        <p:spPr/>
        <p:txBody>
          <a:bodyPr/>
          <a:lstStyle/>
          <a:p>
            <a:r>
              <a:rPr lang="en-US"/>
              <a:t>Source:_______</a:t>
            </a:r>
            <a:endParaRPr lang="en-US" dirty="0"/>
          </a:p>
        </p:txBody>
      </p:sp>
      <p:sp>
        <p:nvSpPr>
          <p:cNvPr id="14" name="Título 13">
            <a:extLst>
              <a:ext uri="{FF2B5EF4-FFF2-40B4-BE49-F238E27FC236}">
                <a16:creationId xmlns:a16="http://schemas.microsoft.com/office/drawing/2014/main" id="{6C0D5B5A-F722-C041-DA95-5ED1BC6A41CA}"/>
              </a:ext>
            </a:extLst>
          </p:cNvPr>
          <p:cNvSpPr>
            <a:spLocks noGrp="1"/>
          </p:cNvSpPr>
          <p:nvPr>
            <p:ph type="title"/>
          </p:nvPr>
        </p:nvSpPr>
        <p:spPr/>
        <p:txBody>
          <a:bodyPr vert="horz"/>
          <a:lstStyle/>
          <a:p>
            <a:r>
              <a:rPr lang="en-US" dirty="0"/>
              <a:t>Template - Business Plan</a:t>
            </a:r>
          </a:p>
        </p:txBody>
      </p:sp>
    </p:spTree>
    <p:extLst>
      <p:ext uri="{BB962C8B-B14F-4D97-AF65-F5344CB8AC3E}">
        <p14:creationId xmlns:p14="http://schemas.microsoft.com/office/powerpoint/2010/main" val="18071366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5" name="Objeto 154" hidden="1">
            <a:extLst>
              <a:ext uri="{FF2B5EF4-FFF2-40B4-BE49-F238E27FC236}">
                <a16:creationId xmlns:a16="http://schemas.microsoft.com/office/drawing/2014/main" id="{E3900BBA-C2C4-AE3D-3FA7-B2BB98F1F1D4}"/>
              </a:ext>
            </a:extLst>
          </p:cNvPr>
          <p:cNvGraphicFramePr>
            <a:graphicFrameLocks noChangeAspect="1"/>
          </p:cNvGraphicFramePr>
          <p:nvPr>
            <p:custDataLst>
              <p:tags r:id="rId1"/>
            </p:custDataLst>
            <p:extLst>
              <p:ext uri="{D42A27DB-BD31-4B8C-83A1-F6EECF244321}">
                <p14:modId xmlns:p14="http://schemas.microsoft.com/office/powerpoint/2010/main" val="27202897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5" name="Objeto 154" hidden="1">
                        <a:extLst>
                          <a:ext uri="{FF2B5EF4-FFF2-40B4-BE49-F238E27FC236}">
                            <a16:creationId xmlns:a16="http://schemas.microsoft.com/office/drawing/2014/main" id="{E3900BBA-C2C4-AE3D-3FA7-B2BB98F1F1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8" name="Marcador de texto 157">
            <a:extLst>
              <a:ext uri="{FF2B5EF4-FFF2-40B4-BE49-F238E27FC236}">
                <a16:creationId xmlns:a16="http://schemas.microsoft.com/office/drawing/2014/main" id="{3CE54C1C-A05B-A6FD-8E52-A8CD4D83B8D8}"/>
              </a:ext>
            </a:extLst>
          </p:cNvPr>
          <p:cNvSpPr>
            <a:spLocks noGrp="1"/>
          </p:cNvSpPr>
          <p:nvPr>
            <p:ph type="body" sz="quarter" idx="14"/>
          </p:nvPr>
        </p:nvSpPr>
        <p:spPr/>
        <p:txBody>
          <a:bodyPr/>
          <a:lstStyle/>
          <a:p>
            <a:r>
              <a:rPr lang="en-US" dirty="0"/>
              <a:t>Subtitle</a:t>
            </a:r>
          </a:p>
        </p:txBody>
      </p:sp>
      <p:sp>
        <p:nvSpPr>
          <p:cNvPr id="106" name="Shape 61666">
            <a:extLst>
              <a:ext uri="{FF2B5EF4-FFF2-40B4-BE49-F238E27FC236}">
                <a16:creationId xmlns:a16="http://schemas.microsoft.com/office/drawing/2014/main" id="{1950E9E5-C146-7107-F494-6F383DAF1479}"/>
              </a:ext>
            </a:extLst>
          </p:cNvPr>
          <p:cNvSpPr/>
          <p:nvPr/>
        </p:nvSpPr>
        <p:spPr>
          <a:xfrm>
            <a:off x="645397" y="1520825"/>
            <a:ext cx="3100297" cy="956056"/>
          </a:xfrm>
          <a:prstGeom prst="roundRect">
            <a:avLst>
              <a:gd name="adj" fmla="val 9057"/>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07" name="Shape 61667">
            <a:extLst>
              <a:ext uri="{FF2B5EF4-FFF2-40B4-BE49-F238E27FC236}">
                <a16:creationId xmlns:a16="http://schemas.microsoft.com/office/drawing/2014/main" id="{5E4B79A1-1399-31D9-9277-B9D6D06C9272}"/>
              </a:ext>
            </a:extLst>
          </p:cNvPr>
          <p:cNvSpPr/>
          <p:nvPr/>
        </p:nvSpPr>
        <p:spPr>
          <a:xfrm>
            <a:off x="3648456" y="1520825"/>
            <a:ext cx="2450702" cy="956056"/>
          </a:xfrm>
          <a:prstGeom prst="rect">
            <a:avLst/>
          </a:prstGeom>
          <a:solidFill>
            <a:schemeClr val="tx2"/>
          </a:solidFill>
          <a:ln w="12700" cap="flat">
            <a:noFill/>
            <a:miter lim="400000"/>
          </a:ln>
          <a:effectLst/>
        </p:spPr>
        <p:txBody>
          <a:bodyPr wrap="square" lIns="0" tIns="0" rIns="0" bIns="0" numCol="1" anchor="t">
            <a:noAutofit/>
          </a:bodyPr>
          <a:lstStyle/>
          <a:p>
            <a:endParaRPr sz="1200" dirty="0"/>
          </a:p>
        </p:txBody>
      </p:sp>
      <p:sp>
        <p:nvSpPr>
          <p:cNvPr id="108" name="Shape 61668">
            <a:extLst>
              <a:ext uri="{FF2B5EF4-FFF2-40B4-BE49-F238E27FC236}">
                <a16:creationId xmlns:a16="http://schemas.microsoft.com/office/drawing/2014/main" id="{FC46AE09-7ABD-64C0-CB2A-39B1AE7301A9}"/>
              </a:ext>
            </a:extLst>
          </p:cNvPr>
          <p:cNvSpPr/>
          <p:nvPr/>
        </p:nvSpPr>
        <p:spPr>
          <a:xfrm>
            <a:off x="5853742" y="1520889"/>
            <a:ext cx="2216086" cy="956056"/>
          </a:xfrm>
          <a:prstGeom prst="rect">
            <a:avLst/>
          </a:prstGeom>
          <a:solidFill>
            <a:schemeClr val="accent2"/>
          </a:solidFill>
          <a:ln w="12700" cap="flat">
            <a:noFill/>
            <a:miter lim="400000"/>
          </a:ln>
          <a:effectLst/>
        </p:spPr>
        <p:txBody>
          <a:bodyPr wrap="square" lIns="0" tIns="0" rIns="0" bIns="0" numCol="1" anchor="t">
            <a:noAutofit/>
          </a:bodyPr>
          <a:lstStyle/>
          <a:p>
            <a:endParaRPr sz="1200" dirty="0"/>
          </a:p>
        </p:txBody>
      </p:sp>
      <p:sp>
        <p:nvSpPr>
          <p:cNvPr id="109" name="Shape 61669">
            <a:extLst>
              <a:ext uri="{FF2B5EF4-FFF2-40B4-BE49-F238E27FC236}">
                <a16:creationId xmlns:a16="http://schemas.microsoft.com/office/drawing/2014/main" id="{B12392D8-994B-A0AA-BBB5-E75E215C2C3B}"/>
              </a:ext>
            </a:extLst>
          </p:cNvPr>
          <p:cNvSpPr/>
          <p:nvPr/>
        </p:nvSpPr>
        <p:spPr>
          <a:xfrm>
            <a:off x="8060266" y="1520825"/>
            <a:ext cx="1973061" cy="14331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4409"/>
                </a:lnTo>
                <a:lnTo>
                  <a:pt x="11134" y="14409"/>
                </a:lnTo>
                <a:lnTo>
                  <a:pt x="11134" y="21600"/>
                </a:lnTo>
                <a:lnTo>
                  <a:pt x="21600" y="21600"/>
                </a:lnTo>
                <a:lnTo>
                  <a:pt x="21600" y="12198"/>
                </a:lnTo>
                <a:lnTo>
                  <a:pt x="21600" y="2202"/>
                </a:lnTo>
                <a:cubicBezTo>
                  <a:pt x="21600" y="1886"/>
                  <a:pt x="21600" y="1647"/>
                  <a:pt x="21590" y="1445"/>
                </a:cubicBezTo>
                <a:cubicBezTo>
                  <a:pt x="21580" y="1244"/>
                  <a:pt x="21561" y="1080"/>
                  <a:pt x="21521" y="910"/>
                </a:cubicBezTo>
                <a:cubicBezTo>
                  <a:pt x="21472" y="723"/>
                  <a:pt x="21395" y="556"/>
                  <a:pt x="21296" y="419"/>
                </a:cubicBezTo>
                <a:cubicBezTo>
                  <a:pt x="21196" y="282"/>
                  <a:pt x="21075" y="176"/>
                  <a:pt x="20939" y="108"/>
                </a:cubicBezTo>
                <a:cubicBezTo>
                  <a:pt x="20816" y="54"/>
                  <a:pt x="20697" y="27"/>
                  <a:pt x="20550" y="14"/>
                </a:cubicBezTo>
                <a:cubicBezTo>
                  <a:pt x="20403" y="0"/>
                  <a:pt x="20227" y="0"/>
                  <a:pt x="19994" y="0"/>
                </a:cubicBezTo>
                <a:lnTo>
                  <a:pt x="12733"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200" dirty="0"/>
          </a:p>
        </p:txBody>
      </p:sp>
      <p:sp>
        <p:nvSpPr>
          <p:cNvPr id="110" name="Shape 61670">
            <a:extLst>
              <a:ext uri="{FF2B5EF4-FFF2-40B4-BE49-F238E27FC236}">
                <a16:creationId xmlns:a16="http://schemas.microsoft.com/office/drawing/2014/main" id="{BFCE12BA-3A1F-8B86-9C4A-35444432223A}"/>
              </a:ext>
            </a:extLst>
          </p:cNvPr>
          <p:cNvSpPr/>
          <p:nvPr/>
        </p:nvSpPr>
        <p:spPr>
          <a:xfrm>
            <a:off x="8060266" y="2952220"/>
            <a:ext cx="1973061" cy="1440059"/>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1"/>
                </a:lnTo>
                <a:lnTo>
                  <a:pt x="21600" y="19252"/>
                </a:lnTo>
                <a:lnTo>
                  <a:pt x="21600" y="9460"/>
                </a:lnTo>
                <a:lnTo>
                  <a:pt x="21600" y="0"/>
                </a:lnTo>
                <a:lnTo>
                  <a:pt x="11134" y="0"/>
                </a:lnTo>
                <a:close/>
              </a:path>
            </a:pathLst>
          </a:custGeom>
          <a:solidFill>
            <a:schemeClr val="accent3"/>
          </a:solidFill>
          <a:ln w="12700" cap="flat">
            <a:noFill/>
            <a:miter lim="400000"/>
          </a:ln>
          <a:effectLst/>
        </p:spPr>
        <p:txBody>
          <a:bodyPr wrap="square" lIns="0" tIns="0" rIns="0" bIns="0" numCol="1" anchor="t">
            <a:noAutofit/>
          </a:bodyPr>
          <a:lstStyle/>
          <a:p>
            <a:endParaRPr sz="1200" dirty="0"/>
          </a:p>
        </p:txBody>
      </p:sp>
      <p:sp>
        <p:nvSpPr>
          <p:cNvPr id="111" name="Shape 61671">
            <a:extLst>
              <a:ext uri="{FF2B5EF4-FFF2-40B4-BE49-F238E27FC236}">
                <a16:creationId xmlns:a16="http://schemas.microsoft.com/office/drawing/2014/main" id="{FC7F8580-39F9-D0CD-CB08-DA7AD7E527F8}"/>
              </a:ext>
            </a:extLst>
          </p:cNvPr>
          <p:cNvSpPr/>
          <p:nvPr/>
        </p:nvSpPr>
        <p:spPr>
          <a:xfrm>
            <a:off x="6099158" y="3436272"/>
            <a:ext cx="1970670" cy="956056"/>
          </a:xfrm>
          <a:prstGeom prst="rect">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2" name="Shape 61672">
            <a:extLst>
              <a:ext uri="{FF2B5EF4-FFF2-40B4-BE49-F238E27FC236}">
                <a16:creationId xmlns:a16="http://schemas.microsoft.com/office/drawing/2014/main" id="{A843D383-1620-F2B0-21CC-0CA6905CBA5F}"/>
              </a:ext>
            </a:extLst>
          </p:cNvPr>
          <p:cNvSpPr/>
          <p:nvPr/>
        </p:nvSpPr>
        <p:spPr>
          <a:xfrm>
            <a:off x="4128488" y="3436036"/>
            <a:ext cx="1970670" cy="956056"/>
          </a:xfrm>
          <a:prstGeom prst="rect">
            <a:avLst/>
          </a:prstGeom>
          <a:solidFill>
            <a:schemeClr val="accent1"/>
          </a:solidFill>
          <a:ln w="12700" cap="flat">
            <a:noFill/>
            <a:miter lim="400000"/>
          </a:ln>
          <a:effectLst/>
        </p:spPr>
        <p:txBody>
          <a:bodyPr wrap="square" lIns="0" tIns="0" rIns="0" bIns="0" numCol="1" anchor="t">
            <a:noAutofit/>
          </a:bodyPr>
          <a:lstStyle/>
          <a:p>
            <a:endParaRPr sz="1200" dirty="0"/>
          </a:p>
        </p:txBody>
      </p:sp>
      <p:sp>
        <p:nvSpPr>
          <p:cNvPr id="113" name="Shape 61673">
            <a:extLst>
              <a:ext uri="{FF2B5EF4-FFF2-40B4-BE49-F238E27FC236}">
                <a16:creationId xmlns:a16="http://schemas.microsoft.com/office/drawing/2014/main" id="{879470FE-3EA1-1A93-ADC4-71E3742BC124}"/>
              </a:ext>
            </a:extLst>
          </p:cNvPr>
          <p:cNvSpPr/>
          <p:nvPr/>
        </p:nvSpPr>
        <p:spPr>
          <a:xfrm rot="10800000">
            <a:off x="2155428" y="3436123"/>
            <a:ext cx="1973060" cy="1440060"/>
          </a:xfrm>
          <a:custGeom>
            <a:avLst/>
            <a:gdLst/>
            <a:ahLst/>
            <a:cxnLst>
              <a:cxn ang="0">
                <a:pos x="wd2" y="hd2"/>
              </a:cxn>
              <a:cxn ang="5400000">
                <a:pos x="wd2" y="hd2"/>
              </a:cxn>
              <a:cxn ang="10800000">
                <a:pos x="wd2" y="hd2"/>
              </a:cxn>
              <a:cxn ang="16200000">
                <a:pos x="wd2" y="hd2"/>
              </a:cxn>
            </a:cxnLst>
            <a:rect l="0" t="0" r="r" b="b"/>
            <a:pathLst>
              <a:path w="21600" h="21600" extrusionOk="0">
                <a:moveTo>
                  <a:pt x="11134" y="0"/>
                </a:moveTo>
                <a:lnTo>
                  <a:pt x="11134" y="7260"/>
                </a:lnTo>
                <a:lnTo>
                  <a:pt x="0" y="7260"/>
                </a:lnTo>
                <a:lnTo>
                  <a:pt x="0" y="21600"/>
                </a:lnTo>
                <a:lnTo>
                  <a:pt x="19994" y="21600"/>
                </a:lnTo>
                <a:lnTo>
                  <a:pt x="20001" y="21600"/>
                </a:lnTo>
                <a:cubicBezTo>
                  <a:pt x="20231" y="21600"/>
                  <a:pt x="20404" y="21600"/>
                  <a:pt x="20550" y="21586"/>
                </a:cubicBezTo>
                <a:cubicBezTo>
                  <a:pt x="20696" y="21573"/>
                  <a:pt x="20816" y="21546"/>
                  <a:pt x="20939" y="21492"/>
                </a:cubicBezTo>
                <a:cubicBezTo>
                  <a:pt x="21075" y="21425"/>
                  <a:pt x="21196" y="21319"/>
                  <a:pt x="21296" y="21183"/>
                </a:cubicBezTo>
                <a:cubicBezTo>
                  <a:pt x="21395" y="21047"/>
                  <a:pt x="21472" y="20880"/>
                  <a:pt x="21521" y="20695"/>
                </a:cubicBezTo>
                <a:cubicBezTo>
                  <a:pt x="21561" y="20525"/>
                  <a:pt x="21580" y="20362"/>
                  <a:pt x="21590" y="20161"/>
                </a:cubicBezTo>
                <a:cubicBezTo>
                  <a:pt x="21600" y="19961"/>
                  <a:pt x="21600" y="19723"/>
                  <a:pt x="21600" y="19409"/>
                </a:cubicBezTo>
                <a:lnTo>
                  <a:pt x="21600" y="19265"/>
                </a:lnTo>
                <a:lnTo>
                  <a:pt x="21600" y="19256"/>
                </a:lnTo>
                <a:lnTo>
                  <a:pt x="21600" y="9460"/>
                </a:lnTo>
                <a:lnTo>
                  <a:pt x="21600" y="0"/>
                </a:lnTo>
                <a:lnTo>
                  <a:pt x="11134" y="0"/>
                </a:lnTo>
                <a:close/>
              </a:path>
            </a:pathLst>
          </a:custGeom>
          <a:solidFill>
            <a:schemeClr val="tx2"/>
          </a:solidFill>
          <a:ln w="12700" cap="flat">
            <a:noFill/>
            <a:miter lim="400000"/>
          </a:ln>
          <a:effectLst/>
        </p:spPr>
        <p:txBody>
          <a:bodyPr wrap="square" lIns="0" tIns="0" rIns="0" bIns="0" numCol="1" anchor="t">
            <a:noAutofit/>
          </a:bodyPr>
          <a:lstStyle/>
          <a:p>
            <a:endParaRPr sz="1200" dirty="0"/>
          </a:p>
        </p:txBody>
      </p:sp>
      <p:sp>
        <p:nvSpPr>
          <p:cNvPr id="114" name="Shape 61674">
            <a:extLst>
              <a:ext uri="{FF2B5EF4-FFF2-40B4-BE49-F238E27FC236}">
                <a16:creationId xmlns:a16="http://schemas.microsoft.com/office/drawing/2014/main" id="{C4BD6F44-4E29-405A-7EF2-23C3F307E4BE}"/>
              </a:ext>
            </a:extLst>
          </p:cNvPr>
          <p:cNvSpPr/>
          <p:nvPr/>
        </p:nvSpPr>
        <p:spPr>
          <a:xfrm>
            <a:off x="2155428" y="4876282"/>
            <a:ext cx="1973060" cy="144005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9460"/>
                </a:lnTo>
                <a:lnTo>
                  <a:pt x="0" y="19252"/>
                </a:lnTo>
                <a:lnTo>
                  <a:pt x="0" y="19261"/>
                </a:lnTo>
                <a:lnTo>
                  <a:pt x="0" y="19409"/>
                </a:lnTo>
                <a:cubicBezTo>
                  <a:pt x="0" y="19723"/>
                  <a:pt x="0" y="19961"/>
                  <a:pt x="10" y="20161"/>
                </a:cubicBezTo>
                <a:cubicBezTo>
                  <a:pt x="20" y="20362"/>
                  <a:pt x="39" y="20525"/>
                  <a:pt x="79" y="20695"/>
                </a:cubicBezTo>
                <a:cubicBezTo>
                  <a:pt x="128" y="20880"/>
                  <a:pt x="205" y="21047"/>
                  <a:pt x="304" y="21183"/>
                </a:cubicBezTo>
                <a:cubicBezTo>
                  <a:pt x="404" y="21319"/>
                  <a:pt x="525" y="21425"/>
                  <a:pt x="661" y="21492"/>
                </a:cubicBezTo>
                <a:cubicBezTo>
                  <a:pt x="784" y="21546"/>
                  <a:pt x="904" y="21573"/>
                  <a:pt x="1050" y="21586"/>
                </a:cubicBezTo>
                <a:cubicBezTo>
                  <a:pt x="1196" y="21600"/>
                  <a:pt x="1369" y="21600"/>
                  <a:pt x="1599" y="21600"/>
                </a:cubicBezTo>
                <a:lnTo>
                  <a:pt x="1606" y="21600"/>
                </a:lnTo>
                <a:lnTo>
                  <a:pt x="21600" y="21600"/>
                </a:lnTo>
                <a:lnTo>
                  <a:pt x="21600" y="7260"/>
                </a:lnTo>
                <a:lnTo>
                  <a:pt x="10466" y="7260"/>
                </a:lnTo>
                <a:lnTo>
                  <a:pt x="10466"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200" dirty="0"/>
          </a:p>
        </p:txBody>
      </p:sp>
      <p:sp>
        <p:nvSpPr>
          <p:cNvPr id="115" name="Shape 61675">
            <a:extLst>
              <a:ext uri="{FF2B5EF4-FFF2-40B4-BE49-F238E27FC236}">
                <a16:creationId xmlns:a16="http://schemas.microsoft.com/office/drawing/2014/main" id="{56AE2457-512F-3F7A-C431-2EE9029A727F}"/>
              </a:ext>
            </a:extLst>
          </p:cNvPr>
          <p:cNvSpPr/>
          <p:nvPr/>
        </p:nvSpPr>
        <p:spPr>
          <a:xfrm flipH="1">
            <a:off x="8357616" y="5361514"/>
            <a:ext cx="3099814" cy="956056"/>
          </a:xfrm>
          <a:prstGeom prst="roundRect">
            <a:avLst>
              <a:gd name="adj" fmla="val 9234"/>
            </a:avLst>
          </a:prstGeom>
          <a:solidFill>
            <a:schemeClr val="accent5"/>
          </a:solidFill>
          <a:ln w="12700" cap="flat">
            <a:noFill/>
            <a:miter lim="400000"/>
          </a:ln>
          <a:effectLst/>
        </p:spPr>
        <p:txBody>
          <a:bodyPr wrap="square" lIns="0" tIns="0" rIns="0" bIns="0" numCol="1" anchor="t">
            <a:noAutofit/>
          </a:bodyPr>
          <a:lstStyle/>
          <a:p>
            <a:endParaRPr sz="1200" dirty="0"/>
          </a:p>
        </p:txBody>
      </p:sp>
      <p:sp>
        <p:nvSpPr>
          <p:cNvPr id="116" name="Shape 61676">
            <a:extLst>
              <a:ext uri="{FF2B5EF4-FFF2-40B4-BE49-F238E27FC236}">
                <a16:creationId xmlns:a16="http://schemas.microsoft.com/office/drawing/2014/main" id="{DAE0E5BA-662E-F2B8-69DD-2C58B6BB6937}"/>
              </a:ext>
            </a:extLst>
          </p:cNvPr>
          <p:cNvSpPr/>
          <p:nvPr/>
        </p:nvSpPr>
        <p:spPr>
          <a:xfrm>
            <a:off x="6341670" y="5361516"/>
            <a:ext cx="2250182" cy="956056"/>
          </a:xfrm>
          <a:prstGeom prst="rect">
            <a:avLst/>
          </a:prstGeom>
          <a:solidFill>
            <a:schemeClr val="accent3"/>
          </a:solidFill>
          <a:ln w="12700" cap="flat">
            <a:noFill/>
            <a:miter lim="400000"/>
          </a:ln>
          <a:effectLst/>
        </p:spPr>
        <p:txBody>
          <a:bodyPr wrap="square" lIns="0" tIns="0" rIns="0" bIns="0" numCol="1" anchor="t">
            <a:noAutofit/>
          </a:bodyPr>
          <a:lstStyle/>
          <a:p>
            <a:endParaRPr sz="1200" dirty="0"/>
          </a:p>
        </p:txBody>
      </p:sp>
      <p:sp>
        <p:nvSpPr>
          <p:cNvPr id="117" name="Shape 61677">
            <a:extLst>
              <a:ext uri="{FF2B5EF4-FFF2-40B4-BE49-F238E27FC236}">
                <a16:creationId xmlns:a16="http://schemas.microsoft.com/office/drawing/2014/main" id="{BE275C7C-AA63-5019-5996-913E55CC3E6F}"/>
              </a:ext>
            </a:extLst>
          </p:cNvPr>
          <p:cNvSpPr/>
          <p:nvPr/>
        </p:nvSpPr>
        <p:spPr>
          <a:xfrm>
            <a:off x="4128487" y="5361280"/>
            <a:ext cx="2213183" cy="956056"/>
          </a:xfrm>
          <a:prstGeom prst="rect">
            <a:avLst/>
          </a:prstGeom>
          <a:solidFill>
            <a:schemeClr val="accent4"/>
          </a:solidFill>
          <a:ln w="12700" cap="flat">
            <a:noFill/>
            <a:miter lim="400000"/>
          </a:ln>
          <a:effectLst/>
        </p:spPr>
        <p:txBody>
          <a:bodyPr wrap="square" lIns="0" tIns="0" rIns="0" bIns="0" numCol="1" anchor="t">
            <a:noAutofit/>
          </a:bodyPr>
          <a:lstStyle/>
          <a:p>
            <a:endParaRPr sz="1200" dirty="0"/>
          </a:p>
        </p:txBody>
      </p:sp>
      <p:sp>
        <p:nvSpPr>
          <p:cNvPr id="118" name="Rectangle 16">
            <a:extLst>
              <a:ext uri="{FF2B5EF4-FFF2-40B4-BE49-F238E27FC236}">
                <a16:creationId xmlns:a16="http://schemas.microsoft.com/office/drawing/2014/main" id="{3DE7F1BA-6F7D-7BCF-9D60-7C36EC99E9FE}"/>
              </a:ext>
            </a:extLst>
          </p:cNvPr>
          <p:cNvSpPr/>
          <p:nvPr/>
        </p:nvSpPr>
        <p:spPr>
          <a:xfrm>
            <a:off x="1656494"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1</a:t>
            </a:r>
            <a:endParaRPr lang="en-US" sz="3600" dirty="0">
              <a:solidFill>
                <a:schemeClr val="bg1"/>
              </a:solidFill>
            </a:endParaRPr>
          </a:p>
        </p:txBody>
      </p:sp>
      <p:sp>
        <p:nvSpPr>
          <p:cNvPr id="119" name="Subtitle 2">
            <a:extLst>
              <a:ext uri="{FF2B5EF4-FFF2-40B4-BE49-F238E27FC236}">
                <a16:creationId xmlns:a16="http://schemas.microsoft.com/office/drawing/2014/main" id="{71C089FD-463A-C043-7D6E-E6A6D52FD91D}"/>
              </a:ext>
            </a:extLst>
          </p:cNvPr>
          <p:cNvSpPr txBox="1">
            <a:spLocks/>
          </p:cNvSpPr>
          <p:nvPr/>
        </p:nvSpPr>
        <p:spPr>
          <a:xfrm>
            <a:off x="2152043" y="1578024"/>
            <a:ext cx="1368397" cy="830997"/>
          </a:xfrm>
          <a:prstGeom prst="rect">
            <a:avLst/>
          </a:prstGeom>
          <a:effectLst/>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0" name="Rectangle 20">
            <a:extLst>
              <a:ext uri="{FF2B5EF4-FFF2-40B4-BE49-F238E27FC236}">
                <a16:creationId xmlns:a16="http://schemas.microsoft.com/office/drawing/2014/main" id="{B94F5086-B33B-A6CD-DB0E-ED053A00EC46}"/>
              </a:ext>
            </a:extLst>
          </p:cNvPr>
          <p:cNvSpPr/>
          <p:nvPr/>
        </p:nvSpPr>
        <p:spPr>
          <a:xfrm>
            <a:off x="3639068"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2</a:t>
            </a:r>
            <a:endParaRPr lang="en-US" sz="3600" dirty="0">
              <a:solidFill>
                <a:schemeClr val="bg1"/>
              </a:solidFill>
            </a:endParaRPr>
          </a:p>
        </p:txBody>
      </p:sp>
      <p:sp>
        <p:nvSpPr>
          <p:cNvPr id="121" name="Subtitle 2">
            <a:extLst>
              <a:ext uri="{FF2B5EF4-FFF2-40B4-BE49-F238E27FC236}">
                <a16:creationId xmlns:a16="http://schemas.microsoft.com/office/drawing/2014/main" id="{46E23F22-A9D0-44D7-1CB8-23202DCCE46C}"/>
              </a:ext>
            </a:extLst>
          </p:cNvPr>
          <p:cNvSpPr txBox="1">
            <a:spLocks/>
          </p:cNvSpPr>
          <p:nvPr/>
        </p:nvSpPr>
        <p:spPr>
          <a:xfrm>
            <a:off x="4213271" y="1578024"/>
            <a:ext cx="1607715"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2" name="Rectangle 23">
            <a:extLst>
              <a:ext uri="{FF2B5EF4-FFF2-40B4-BE49-F238E27FC236}">
                <a16:creationId xmlns:a16="http://schemas.microsoft.com/office/drawing/2014/main" id="{24E1CBBA-241D-A7EA-9787-95A56CDC75FD}"/>
              </a:ext>
            </a:extLst>
          </p:cNvPr>
          <p:cNvSpPr/>
          <p:nvPr/>
        </p:nvSpPr>
        <p:spPr>
          <a:xfrm>
            <a:off x="6027879"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3</a:t>
            </a:r>
            <a:endParaRPr lang="en-US" sz="3600" dirty="0">
              <a:solidFill>
                <a:schemeClr val="bg1"/>
              </a:solidFill>
            </a:endParaRPr>
          </a:p>
        </p:txBody>
      </p:sp>
      <p:sp>
        <p:nvSpPr>
          <p:cNvPr id="123" name="Subtitle 2">
            <a:extLst>
              <a:ext uri="{FF2B5EF4-FFF2-40B4-BE49-F238E27FC236}">
                <a16:creationId xmlns:a16="http://schemas.microsoft.com/office/drawing/2014/main" id="{4171B52A-B271-7F36-023C-8B39FA8CAB40}"/>
              </a:ext>
            </a:extLst>
          </p:cNvPr>
          <p:cNvSpPr txBox="1">
            <a:spLocks/>
          </p:cNvSpPr>
          <p:nvPr/>
        </p:nvSpPr>
        <p:spPr>
          <a:xfrm>
            <a:off x="6422026" y="1578024"/>
            <a:ext cx="1540182"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4" name="Rectangle 26">
            <a:extLst>
              <a:ext uri="{FF2B5EF4-FFF2-40B4-BE49-F238E27FC236}">
                <a16:creationId xmlns:a16="http://schemas.microsoft.com/office/drawing/2014/main" id="{278094BD-8B87-4682-01F2-486AC8D2C029}"/>
              </a:ext>
            </a:extLst>
          </p:cNvPr>
          <p:cNvSpPr/>
          <p:nvPr/>
        </p:nvSpPr>
        <p:spPr>
          <a:xfrm>
            <a:off x="8113836" y="1670359"/>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4</a:t>
            </a:r>
            <a:endParaRPr lang="en-US" sz="3600" dirty="0">
              <a:solidFill>
                <a:schemeClr val="bg1"/>
              </a:solidFill>
            </a:endParaRPr>
          </a:p>
        </p:txBody>
      </p:sp>
      <p:sp>
        <p:nvSpPr>
          <p:cNvPr id="125" name="Subtitle 2">
            <a:extLst>
              <a:ext uri="{FF2B5EF4-FFF2-40B4-BE49-F238E27FC236}">
                <a16:creationId xmlns:a16="http://schemas.microsoft.com/office/drawing/2014/main" id="{44728B31-4D1B-F1EB-2245-864218220E94}"/>
              </a:ext>
            </a:extLst>
          </p:cNvPr>
          <p:cNvSpPr txBox="1">
            <a:spLocks/>
          </p:cNvSpPr>
          <p:nvPr/>
        </p:nvSpPr>
        <p:spPr>
          <a:xfrm>
            <a:off x="8576600" y="1578024"/>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6" name="Rectangle 29">
            <a:extLst>
              <a:ext uri="{FF2B5EF4-FFF2-40B4-BE49-F238E27FC236}">
                <a16:creationId xmlns:a16="http://schemas.microsoft.com/office/drawing/2014/main" id="{B6CAFB3C-4692-311C-4A69-60FB9E421CA9}"/>
              </a:ext>
            </a:extLst>
          </p:cNvPr>
          <p:cNvSpPr/>
          <p:nvPr/>
        </p:nvSpPr>
        <p:spPr>
          <a:xfrm>
            <a:off x="8113836"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5</a:t>
            </a:r>
            <a:endParaRPr lang="en-US" sz="3600" dirty="0">
              <a:solidFill>
                <a:schemeClr val="bg1"/>
              </a:solidFill>
            </a:endParaRPr>
          </a:p>
        </p:txBody>
      </p:sp>
      <p:sp>
        <p:nvSpPr>
          <p:cNvPr id="127" name="Subtitle 2">
            <a:extLst>
              <a:ext uri="{FF2B5EF4-FFF2-40B4-BE49-F238E27FC236}">
                <a16:creationId xmlns:a16="http://schemas.microsoft.com/office/drawing/2014/main" id="{62DD926F-B010-4889-16CF-0A453C2610D9}"/>
              </a:ext>
            </a:extLst>
          </p:cNvPr>
          <p:cNvSpPr txBox="1">
            <a:spLocks/>
          </p:cNvSpPr>
          <p:nvPr/>
        </p:nvSpPr>
        <p:spPr>
          <a:xfrm>
            <a:off x="8576600"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28" name="Rectangle 36">
            <a:extLst>
              <a:ext uri="{FF2B5EF4-FFF2-40B4-BE49-F238E27FC236}">
                <a16:creationId xmlns:a16="http://schemas.microsoft.com/office/drawing/2014/main" id="{72E11CE7-71AE-6AB5-CDAE-07892434D056}"/>
              </a:ext>
            </a:extLst>
          </p:cNvPr>
          <p:cNvSpPr/>
          <p:nvPr/>
        </p:nvSpPr>
        <p:spPr>
          <a:xfrm>
            <a:off x="614675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6</a:t>
            </a:r>
            <a:endParaRPr lang="en-US" sz="3600" dirty="0">
              <a:solidFill>
                <a:schemeClr val="bg1"/>
              </a:solidFill>
            </a:endParaRPr>
          </a:p>
        </p:txBody>
      </p:sp>
      <p:sp>
        <p:nvSpPr>
          <p:cNvPr id="129" name="Subtitle 2">
            <a:extLst>
              <a:ext uri="{FF2B5EF4-FFF2-40B4-BE49-F238E27FC236}">
                <a16:creationId xmlns:a16="http://schemas.microsoft.com/office/drawing/2014/main" id="{9F560528-983C-3DCC-EFC0-16FEFC806804}"/>
              </a:ext>
            </a:extLst>
          </p:cNvPr>
          <p:cNvSpPr txBox="1">
            <a:spLocks/>
          </p:cNvSpPr>
          <p:nvPr/>
        </p:nvSpPr>
        <p:spPr>
          <a:xfrm>
            <a:off x="660951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0" name="Rectangle 39">
            <a:extLst>
              <a:ext uri="{FF2B5EF4-FFF2-40B4-BE49-F238E27FC236}">
                <a16:creationId xmlns:a16="http://schemas.microsoft.com/office/drawing/2014/main" id="{390F9919-DDDC-4E68-EEB0-0306008F90AF}"/>
              </a:ext>
            </a:extLst>
          </p:cNvPr>
          <p:cNvSpPr/>
          <p:nvPr/>
        </p:nvSpPr>
        <p:spPr>
          <a:xfrm>
            <a:off x="4176081"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7</a:t>
            </a:r>
            <a:endParaRPr lang="en-US" sz="3600" dirty="0">
              <a:solidFill>
                <a:schemeClr val="bg1"/>
              </a:solidFill>
            </a:endParaRPr>
          </a:p>
        </p:txBody>
      </p:sp>
      <p:sp>
        <p:nvSpPr>
          <p:cNvPr id="131" name="Subtitle 2">
            <a:extLst>
              <a:ext uri="{FF2B5EF4-FFF2-40B4-BE49-F238E27FC236}">
                <a16:creationId xmlns:a16="http://schemas.microsoft.com/office/drawing/2014/main" id="{20D8F0C4-F4A2-FD11-8DFC-74D412009F0D}"/>
              </a:ext>
            </a:extLst>
          </p:cNvPr>
          <p:cNvSpPr txBox="1">
            <a:spLocks/>
          </p:cNvSpPr>
          <p:nvPr/>
        </p:nvSpPr>
        <p:spPr>
          <a:xfrm>
            <a:off x="4638845"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2" name="Rectangle 42">
            <a:extLst>
              <a:ext uri="{FF2B5EF4-FFF2-40B4-BE49-F238E27FC236}">
                <a16:creationId xmlns:a16="http://schemas.microsoft.com/office/drawing/2014/main" id="{96130289-1D58-D743-88EF-C88570BB6866}"/>
              </a:ext>
            </a:extLst>
          </p:cNvPr>
          <p:cNvSpPr/>
          <p:nvPr/>
        </p:nvSpPr>
        <p:spPr>
          <a:xfrm>
            <a:off x="2204217" y="3590366"/>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8</a:t>
            </a:r>
            <a:endParaRPr lang="en-US" sz="3600" dirty="0">
              <a:solidFill>
                <a:schemeClr val="bg1"/>
              </a:solidFill>
            </a:endParaRPr>
          </a:p>
        </p:txBody>
      </p:sp>
      <p:sp>
        <p:nvSpPr>
          <p:cNvPr id="133" name="Subtitle 2">
            <a:extLst>
              <a:ext uri="{FF2B5EF4-FFF2-40B4-BE49-F238E27FC236}">
                <a16:creationId xmlns:a16="http://schemas.microsoft.com/office/drawing/2014/main" id="{542DB582-C161-A38C-8A62-8D4E7F9411F5}"/>
              </a:ext>
            </a:extLst>
          </p:cNvPr>
          <p:cNvSpPr txBox="1">
            <a:spLocks/>
          </p:cNvSpPr>
          <p:nvPr/>
        </p:nvSpPr>
        <p:spPr>
          <a:xfrm>
            <a:off x="2666981" y="3498031"/>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4" name="Rectangle 57">
            <a:extLst>
              <a:ext uri="{FF2B5EF4-FFF2-40B4-BE49-F238E27FC236}">
                <a16:creationId xmlns:a16="http://schemas.microsoft.com/office/drawing/2014/main" id="{F4C8842D-A26E-2D7D-BE2A-E1D8F3A94844}"/>
              </a:ext>
            </a:extLst>
          </p:cNvPr>
          <p:cNvSpPr/>
          <p:nvPr/>
        </p:nvSpPr>
        <p:spPr>
          <a:xfrm>
            <a:off x="6361527"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1</a:t>
            </a:r>
            <a:endParaRPr lang="en-US" sz="3600" dirty="0">
              <a:solidFill>
                <a:schemeClr val="bg1"/>
              </a:solidFill>
            </a:endParaRPr>
          </a:p>
        </p:txBody>
      </p:sp>
      <p:sp>
        <p:nvSpPr>
          <p:cNvPr id="135" name="Subtitle 2">
            <a:extLst>
              <a:ext uri="{FF2B5EF4-FFF2-40B4-BE49-F238E27FC236}">
                <a16:creationId xmlns:a16="http://schemas.microsoft.com/office/drawing/2014/main" id="{B6C871F8-7389-4AF8-3BE8-FE64C98B23FF}"/>
              </a:ext>
            </a:extLst>
          </p:cNvPr>
          <p:cNvSpPr txBox="1">
            <a:spLocks/>
          </p:cNvSpPr>
          <p:nvPr/>
        </p:nvSpPr>
        <p:spPr>
          <a:xfrm>
            <a:off x="7011851" y="5421332"/>
            <a:ext cx="1460313"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6" name="Rectangle 60">
            <a:extLst>
              <a:ext uri="{FF2B5EF4-FFF2-40B4-BE49-F238E27FC236}">
                <a16:creationId xmlns:a16="http://schemas.microsoft.com/office/drawing/2014/main" id="{F5A7C031-B438-382E-A489-A7085A64A53E}"/>
              </a:ext>
            </a:extLst>
          </p:cNvPr>
          <p:cNvSpPr/>
          <p:nvPr/>
        </p:nvSpPr>
        <p:spPr>
          <a:xfrm>
            <a:off x="4179076"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0</a:t>
            </a:r>
            <a:endParaRPr lang="en-US" sz="3600" dirty="0">
              <a:solidFill>
                <a:schemeClr val="bg1"/>
              </a:solidFill>
            </a:endParaRPr>
          </a:p>
        </p:txBody>
      </p:sp>
      <p:sp>
        <p:nvSpPr>
          <p:cNvPr id="137" name="Subtitle 2">
            <a:extLst>
              <a:ext uri="{FF2B5EF4-FFF2-40B4-BE49-F238E27FC236}">
                <a16:creationId xmlns:a16="http://schemas.microsoft.com/office/drawing/2014/main" id="{E7040EDD-536E-820D-2469-F496BA855BCF}"/>
              </a:ext>
            </a:extLst>
          </p:cNvPr>
          <p:cNvSpPr txBox="1">
            <a:spLocks/>
          </p:cNvSpPr>
          <p:nvPr/>
        </p:nvSpPr>
        <p:spPr>
          <a:xfrm>
            <a:off x="485830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38" name="Rectangle 63">
            <a:extLst>
              <a:ext uri="{FF2B5EF4-FFF2-40B4-BE49-F238E27FC236}">
                <a16:creationId xmlns:a16="http://schemas.microsoft.com/office/drawing/2014/main" id="{16882CF9-38CA-C9F4-5854-614A59EB358D}"/>
              </a:ext>
            </a:extLst>
          </p:cNvPr>
          <p:cNvSpPr/>
          <p:nvPr/>
        </p:nvSpPr>
        <p:spPr>
          <a:xfrm>
            <a:off x="2204217" y="5513667"/>
            <a:ext cx="478016" cy="646331"/>
          </a:xfrm>
          <a:prstGeom prst="rect">
            <a:avLst/>
          </a:prstGeom>
          <a:effectLst/>
        </p:spPr>
        <p:txBody>
          <a:bodyPr wrap="none" anchor="ctr">
            <a:spAutoFit/>
          </a:bodyPr>
          <a:lstStyle/>
          <a:p>
            <a:pPr algn="ctr"/>
            <a:r>
              <a:rPr lang="en-US" sz="3600" dirty="0">
                <a:solidFill>
                  <a:schemeClr val="bg1"/>
                </a:solidFill>
                <a:cs typeface="Poppins" pitchFamily="2" charset="77"/>
              </a:rPr>
              <a:t>9</a:t>
            </a:r>
            <a:endParaRPr lang="en-US" sz="3600" dirty="0">
              <a:solidFill>
                <a:schemeClr val="bg1"/>
              </a:solidFill>
            </a:endParaRPr>
          </a:p>
        </p:txBody>
      </p:sp>
      <p:sp>
        <p:nvSpPr>
          <p:cNvPr id="139" name="Subtitle 2">
            <a:extLst>
              <a:ext uri="{FF2B5EF4-FFF2-40B4-BE49-F238E27FC236}">
                <a16:creationId xmlns:a16="http://schemas.microsoft.com/office/drawing/2014/main" id="{E9D8A6FD-FECF-3A82-B13F-40BE13B31E73}"/>
              </a:ext>
            </a:extLst>
          </p:cNvPr>
          <p:cNvSpPr txBox="1">
            <a:spLocks/>
          </p:cNvSpPr>
          <p:nvPr/>
        </p:nvSpPr>
        <p:spPr>
          <a:xfrm>
            <a:off x="2666981" y="5421332"/>
            <a:ext cx="1350068"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0" name="Rectangle 66">
            <a:extLst>
              <a:ext uri="{FF2B5EF4-FFF2-40B4-BE49-F238E27FC236}">
                <a16:creationId xmlns:a16="http://schemas.microsoft.com/office/drawing/2014/main" id="{3D5F710E-6F82-E4AF-6C6B-A17479CBBCBF}"/>
              </a:ext>
            </a:extLst>
          </p:cNvPr>
          <p:cNvSpPr/>
          <p:nvPr/>
        </p:nvSpPr>
        <p:spPr>
          <a:xfrm>
            <a:off x="8646365" y="5513667"/>
            <a:ext cx="771365" cy="646331"/>
          </a:xfrm>
          <a:prstGeom prst="rect">
            <a:avLst/>
          </a:prstGeom>
          <a:effectLst/>
        </p:spPr>
        <p:txBody>
          <a:bodyPr wrap="none" anchor="ctr">
            <a:spAutoFit/>
          </a:bodyPr>
          <a:lstStyle/>
          <a:p>
            <a:pPr algn="ctr"/>
            <a:r>
              <a:rPr lang="en-US" sz="3600" dirty="0">
                <a:solidFill>
                  <a:schemeClr val="bg1"/>
                </a:solidFill>
                <a:cs typeface="Poppins" pitchFamily="2" charset="77"/>
              </a:rPr>
              <a:t>12</a:t>
            </a:r>
            <a:endParaRPr lang="en-US" sz="3600" dirty="0">
              <a:solidFill>
                <a:schemeClr val="bg1"/>
              </a:solidFill>
            </a:endParaRPr>
          </a:p>
        </p:txBody>
      </p:sp>
      <p:sp>
        <p:nvSpPr>
          <p:cNvPr id="141" name="Subtitle 2">
            <a:extLst>
              <a:ext uri="{FF2B5EF4-FFF2-40B4-BE49-F238E27FC236}">
                <a16:creationId xmlns:a16="http://schemas.microsoft.com/office/drawing/2014/main" id="{73AFEB77-19AF-3213-4662-499F8D74101F}"/>
              </a:ext>
            </a:extLst>
          </p:cNvPr>
          <p:cNvSpPr txBox="1">
            <a:spLocks/>
          </p:cNvSpPr>
          <p:nvPr/>
        </p:nvSpPr>
        <p:spPr>
          <a:xfrm>
            <a:off x="9475260" y="5421332"/>
            <a:ext cx="1415244" cy="830997"/>
          </a:xfrm>
          <a:prstGeom prst="rect">
            <a:avLst/>
          </a:prstGeom>
          <a:effectLst/>
        </p:spPr>
        <p:txBody>
          <a:bodyPr vert="horz" wrap="square" lIns="91440" tIns="45720" rIns="91440" bIns="45720" rtlCol="0">
            <a:spAutoFit/>
          </a:bodyPr>
          <a:lstStyle>
            <a:defPPr>
              <a:defRPr lang="en-US"/>
            </a:defPPr>
            <a:lvl1pPr indent="0" defTabSz="1087636">
              <a:lnSpc>
                <a:spcPct val="100000"/>
              </a:lnSpc>
              <a:spcBef>
                <a:spcPts val="0"/>
              </a:spcBef>
              <a:buFont typeface="Arial"/>
              <a:buNone/>
              <a:defRPr sz="1200">
                <a:solidFill>
                  <a:schemeClr val="bg1"/>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dirty="0" err="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dirty="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p>
        </p:txBody>
      </p:sp>
      <p:sp>
        <p:nvSpPr>
          <p:cNvPr id="142" name="TextBox 3">
            <a:extLst>
              <a:ext uri="{FF2B5EF4-FFF2-40B4-BE49-F238E27FC236}">
                <a16:creationId xmlns:a16="http://schemas.microsoft.com/office/drawing/2014/main" id="{F8E487A4-CEA6-632F-7AE6-F5DBD6C0815C}"/>
              </a:ext>
            </a:extLst>
          </p:cNvPr>
          <p:cNvSpPr txBox="1"/>
          <p:nvPr/>
        </p:nvSpPr>
        <p:spPr>
          <a:xfrm rot="16200000">
            <a:off x="167458" y="1868996"/>
            <a:ext cx="696169" cy="259711"/>
          </a:xfrm>
          <a:prstGeom prst="rect">
            <a:avLst/>
          </a:prstGeom>
          <a:noFill/>
          <a:effectLst/>
        </p:spPr>
        <p:txBody>
          <a:bodyPr wrap="none" rtlCol="0" anchor="ctr">
            <a:spAutoFit/>
          </a:bodyPr>
          <a:lstStyle/>
          <a:p>
            <a:pPr algn="ctr"/>
            <a:r>
              <a:rPr lang="en-US" sz="1200" b="1" dirty="0">
                <a:solidFill>
                  <a:schemeClr val="tx2"/>
                </a:solidFill>
                <a:cs typeface="Poppins" pitchFamily="2" charset="77"/>
              </a:rPr>
              <a:t>START</a:t>
            </a:r>
          </a:p>
        </p:txBody>
      </p:sp>
      <p:sp>
        <p:nvSpPr>
          <p:cNvPr id="143" name="TextBox 68">
            <a:extLst>
              <a:ext uri="{FF2B5EF4-FFF2-40B4-BE49-F238E27FC236}">
                <a16:creationId xmlns:a16="http://schemas.microsoft.com/office/drawing/2014/main" id="{870AF929-01AB-6569-3505-FDA456A36476}"/>
              </a:ext>
            </a:extLst>
          </p:cNvPr>
          <p:cNvSpPr txBox="1"/>
          <p:nvPr/>
        </p:nvSpPr>
        <p:spPr>
          <a:xfrm rot="5400000">
            <a:off x="11437591" y="5709452"/>
            <a:ext cx="514312" cy="259711"/>
          </a:xfrm>
          <a:prstGeom prst="rect">
            <a:avLst/>
          </a:prstGeom>
          <a:noFill/>
        </p:spPr>
        <p:txBody>
          <a:bodyPr wrap="none" rtlCol="0" anchor="ctr">
            <a:spAutoFit/>
          </a:bodyPr>
          <a:lstStyle/>
          <a:p>
            <a:pPr algn="ctr"/>
            <a:r>
              <a:rPr lang="en-US" sz="1200" b="1" dirty="0">
                <a:solidFill>
                  <a:schemeClr val="tx2"/>
                </a:solidFill>
                <a:cs typeface="Poppins" pitchFamily="2" charset="77"/>
              </a:rPr>
              <a:t>END</a:t>
            </a:r>
          </a:p>
        </p:txBody>
      </p:sp>
      <p:grpSp>
        <p:nvGrpSpPr>
          <p:cNvPr id="144" name="Grupo 42">
            <a:extLst>
              <a:ext uri="{FF2B5EF4-FFF2-40B4-BE49-F238E27FC236}">
                <a16:creationId xmlns:a16="http://schemas.microsoft.com/office/drawing/2014/main" id="{A24D8291-8111-9E2D-89B9-A0D5C15F45B2}"/>
              </a:ext>
            </a:extLst>
          </p:cNvPr>
          <p:cNvGrpSpPr/>
          <p:nvPr/>
        </p:nvGrpSpPr>
        <p:grpSpPr>
          <a:xfrm>
            <a:off x="858252" y="1721226"/>
            <a:ext cx="478016" cy="565261"/>
            <a:chOff x="3657318" y="2960019"/>
            <a:chExt cx="428407" cy="506598"/>
          </a:xfrm>
          <a:effectLst/>
        </p:grpSpPr>
        <p:grpSp>
          <p:nvGrpSpPr>
            <p:cNvPr id="145" name="Grupo 43">
              <a:extLst>
                <a:ext uri="{FF2B5EF4-FFF2-40B4-BE49-F238E27FC236}">
                  <a16:creationId xmlns:a16="http://schemas.microsoft.com/office/drawing/2014/main" id="{F244BB54-EBDB-346C-80B7-A6F11DD5AAA5}"/>
                </a:ext>
              </a:extLst>
            </p:cNvPr>
            <p:cNvGrpSpPr/>
            <p:nvPr/>
          </p:nvGrpSpPr>
          <p:grpSpPr>
            <a:xfrm>
              <a:off x="3828604" y="2960019"/>
              <a:ext cx="257121" cy="506598"/>
              <a:chOff x="2468880" y="3319199"/>
              <a:chExt cx="257121" cy="506598"/>
            </a:xfrm>
          </p:grpSpPr>
          <p:cxnSp>
            <p:nvCxnSpPr>
              <p:cNvPr id="147" name="Conector recto 45">
                <a:extLst>
                  <a:ext uri="{FF2B5EF4-FFF2-40B4-BE49-F238E27FC236}">
                    <a16:creationId xmlns:a16="http://schemas.microsoft.com/office/drawing/2014/main" id="{EE6220FC-D352-41A6-6760-F022293F7A80}"/>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Conector recto 46">
                <a:extLst>
                  <a:ext uri="{FF2B5EF4-FFF2-40B4-BE49-F238E27FC236}">
                    <a16:creationId xmlns:a16="http://schemas.microsoft.com/office/drawing/2014/main" id="{74E6FD5A-F851-7BE4-7FFB-3951DEF0EBCD}"/>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46" name="Conector recto 44">
              <a:extLst>
                <a:ext uri="{FF2B5EF4-FFF2-40B4-BE49-F238E27FC236}">
                  <a16:creationId xmlns:a16="http://schemas.microsoft.com/office/drawing/2014/main" id="{8027E99E-4909-A8E1-B78F-12FF79B4C751}"/>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9" name="Grupo 42">
            <a:extLst>
              <a:ext uri="{FF2B5EF4-FFF2-40B4-BE49-F238E27FC236}">
                <a16:creationId xmlns:a16="http://schemas.microsoft.com/office/drawing/2014/main" id="{C30E417F-3943-49B8-4676-3917A4B34399}"/>
              </a:ext>
            </a:extLst>
          </p:cNvPr>
          <p:cNvGrpSpPr/>
          <p:nvPr/>
        </p:nvGrpSpPr>
        <p:grpSpPr>
          <a:xfrm>
            <a:off x="10890504" y="5562959"/>
            <a:ext cx="478016" cy="565261"/>
            <a:chOff x="3657318" y="2960019"/>
            <a:chExt cx="428407" cy="506598"/>
          </a:xfrm>
          <a:effectLst/>
        </p:grpSpPr>
        <p:grpSp>
          <p:nvGrpSpPr>
            <p:cNvPr id="150" name="Grupo 43">
              <a:extLst>
                <a:ext uri="{FF2B5EF4-FFF2-40B4-BE49-F238E27FC236}">
                  <a16:creationId xmlns:a16="http://schemas.microsoft.com/office/drawing/2014/main" id="{030A8BDF-FF3E-A73B-4860-81FADD89CA9B}"/>
                </a:ext>
              </a:extLst>
            </p:cNvPr>
            <p:cNvGrpSpPr/>
            <p:nvPr/>
          </p:nvGrpSpPr>
          <p:grpSpPr>
            <a:xfrm>
              <a:off x="3828604" y="2960019"/>
              <a:ext cx="257121" cy="506598"/>
              <a:chOff x="2468880" y="3319199"/>
              <a:chExt cx="257121" cy="506598"/>
            </a:xfrm>
          </p:grpSpPr>
          <p:cxnSp>
            <p:nvCxnSpPr>
              <p:cNvPr id="152" name="Conector recto 45">
                <a:extLst>
                  <a:ext uri="{FF2B5EF4-FFF2-40B4-BE49-F238E27FC236}">
                    <a16:creationId xmlns:a16="http://schemas.microsoft.com/office/drawing/2014/main" id="{EB671E09-F9EC-33EB-E70D-D130D0F7CE3A}"/>
                  </a:ext>
                </a:extLst>
              </p:cNvPr>
              <p:cNvCxnSpPr/>
              <p:nvPr/>
            </p:nvCxnSpPr>
            <p:spPr>
              <a:xfrm>
                <a:off x="2468880" y="3319199"/>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Conector recto 46">
                <a:extLst>
                  <a:ext uri="{FF2B5EF4-FFF2-40B4-BE49-F238E27FC236}">
                    <a16:creationId xmlns:a16="http://schemas.microsoft.com/office/drawing/2014/main" id="{AB72B258-D1AC-816B-A6B4-01EA34084945}"/>
                  </a:ext>
                </a:extLst>
              </p:cNvPr>
              <p:cNvCxnSpPr>
                <a:cxnSpLocks/>
              </p:cNvCxnSpPr>
              <p:nvPr/>
            </p:nvCxnSpPr>
            <p:spPr>
              <a:xfrm flipH="1">
                <a:off x="2468880" y="3568676"/>
                <a:ext cx="257121" cy="2571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1" name="Conector recto 44">
              <a:extLst>
                <a:ext uri="{FF2B5EF4-FFF2-40B4-BE49-F238E27FC236}">
                  <a16:creationId xmlns:a16="http://schemas.microsoft.com/office/drawing/2014/main" id="{A2367831-FA6C-D190-4B62-85D4B1195C7A}"/>
                </a:ext>
              </a:extLst>
            </p:cNvPr>
            <p:cNvCxnSpPr>
              <a:cxnSpLocks/>
            </p:cNvCxnSpPr>
            <p:nvPr/>
          </p:nvCxnSpPr>
          <p:spPr>
            <a:xfrm>
              <a:off x="3657318" y="3213306"/>
              <a:ext cx="4148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95C3DA1-3D21-2FA9-0649-5A7D622F17C4}"/>
              </a:ext>
            </a:extLst>
          </p:cNvPr>
          <p:cNvSpPr>
            <a:spLocks noGrp="1"/>
          </p:cNvSpPr>
          <p:nvPr>
            <p:ph type="ftr" sz="quarter" idx="3"/>
          </p:nvPr>
        </p:nvSpPr>
        <p:spPr/>
        <p:txBody>
          <a:bodyPr/>
          <a:lstStyle/>
          <a:p>
            <a:r>
              <a:rPr lang="en-US"/>
              <a:t>Source:_______</a:t>
            </a:r>
            <a:endParaRPr lang="en-US" dirty="0"/>
          </a:p>
        </p:txBody>
      </p:sp>
      <p:sp>
        <p:nvSpPr>
          <p:cNvPr id="5" name="Título 4">
            <a:extLst>
              <a:ext uri="{FF2B5EF4-FFF2-40B4-BE49-F238E27FC236}">
                <a16:creationId xmlns:a16="http://schemas.microsoft.com/office/drawing/2014/main" id="{11E47216-3A15-A77B-C6A8-1EC5217DFEC1}"/>
              </a:ext>
            </a:extLst>
          </p:cNvPr>
          <p:cNvSpPr>
            <a:spLocks noGrp="1"/>
          </p:cNvSpPr>
          <p:nvPr>
            <p:ph type="title"/>
          </p:nvPr>
        </p:nvSpPr>
        <p:spPr/>
        <p:txBody>
          <a:bodyPr vert="horz"/>
          <a:lstStyle/>
          <a:p>
            <a:r>
              <a:rPr lang="en-US" dirty="0"/>
              <a:t>Template - Business Infographic</a:t>
            </a:r>
          </a:p>
        </p:txBody>
      </p:sp>
    </p:spTree>
    <p:extLst>
      <p:ext uri="{BB962C8B-B14F-4D97-AF65-F5344CB8AC3E}">
        <p14:creationId xmlns:p14="http://schemas.microsoft.com/office/powerpoint/2010/main" val="6691931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2" name="Objeto 31" hidden="1">
            <a:extLst>
              <a:ext uri="{FF2B5EF4-FFF2-40B4-BE49-F238E27FC236}">
                <a16:creationId xmlns:a16="http://schemas.microsoft.com/office/drawing/2014/main" id="{7E88B5EB-E56C-5DE8-BEC6-B1E7E0F5F9C2}"/>
              </a:ext>
            </a:extLst>
          </p:cNvPr>
          <p:cNvGraphicFramePr>
            <a:graphicFrameLocks noChangeAspect="1"/>
          </p:cNvGraphicFramePr>
          <p:nvPr>
            <p:custDataLst>
              <p:tags r:id="rId1"/>
            </p:custDataLst>
            <p:extLst>
              <p:ext uri="{D42A27DB-BD31-4B8C-83A1-F6EECF244321}">
                <p14:modId xmlns:p14="http://schemas.microsoft.com/office/powerpoint/2010/main" val="20466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2" name="Objeto 31" hidden="1">
                        <a:extLst>
                          <a:ext uri="{FF2B5EF4-FFF2-40B4-BE49-F238E27FC236}">
                            <a16:creationId xmlns:a16="http://schemas.microsoft.com/office/drawing/2014/main" id="{7E88B5EB-E56C-5DE8-BEC6-B1E7E0F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01F72A35-C242-FC37-9091-37B6A167EFF6}"/>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931D2F36-E3C4-5E86-64EF-4567528C5AF6}"/>
              </a:ext>
            </a:extLst>
          </p:cNvPr>
          <p:cNvSpPr>
            <a:spLocks noGrp="1"/>
          </p:cNvSpPr>
          <p:nvPr>
            <p:ph type="title"/>
          </p:nvPr>
        </p:nvSpPr>
        <p:spPr/>
        <p:txBody>
          <a:bodyPr vert="horz"/>
          <a:lstStyle/>
          <a:p>
            <a:r>
              <a:rPr lang="en-US" dirty="0"/>
              <a:t>Template - Infographic pyramid chart</a:t>
            </a:r>
          </a:p>
        </p:txBody>
      </p:sp>
      <p:grpSp>
        <p:nvGrpSpPr>
          <p:cNvPr id="5" name="Group 25">
            <a:extLst>
              <a:ext uri="{FF2B5EF4-FFF2-40B4-BE49-F238E27FC236}">
                <a16:creationId xmlns:a16="http://schemas.microsoft.com/office/drawing/2014/main" id="{810E8AAE-8E5D-39D4-F72E-64F86C2F7A8E}"/>
              </a:ext>
            </a:extLst>
          </p:cNvPr>
          <p:cNvGrpSpPr/>
          <p:nvPr/>
        </p:nvGrpSpPr>
        <p:grpSpPr>
          <a:xfrm>
            <a:off x="372153" y="3824016"/>
            <a:ext cx="1262988" cy="1509566"/>
            <a:chOff x="0" y="177186"/>
            <a:chExt cx="1046075" cy="1403965"/>
          </a:xfrm>
          <a:effectLst/>
        </p:grpSpPr>
        <p:sp>
          <p:nvSpPr>
            <p:cNvPr id="18" name="Shape 22">
              <a:extLst>
                <a:ext uri="{FF2B5EF4-FFF2-40B4-BE49-F238E27FC236}">
                  <a16:creationId xmlns:a16="http://schemas.microsoft.com/office/drawing/2014/main" id="{77FE7C87-FB7D-87EF-C5CE-6DA5AC6F3E03}"/>
                </a:ext>
              </a:extLst>
            </p:cNvPr>
            <p:cNvSpPr/>
            <p:nvPr/>
          </p:nvSpPr>
          <p:spPr>
            <a:xfrm>
              <a:off x="0" y="536517"/>
              <a:ext cx="1046075" cy="10446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1"/>
            </a:solidFill>
            <a:ln w="12700" cap="flat">
              <a:noFill/>
              <a:miter lim="400000"/>
            </a:ln>
            <a:effectLst/>
          </p:spPr>
          <p:txBody>
            <a:bodyPr wrap="square" lIns="0" tIns="0" rIns="0" bIns="0" numCol="1" anchor="ctr">
              <a:noAutofit/>
            </a:bodyPr>
            <a:lstStyle/>
            <a:p>
              <a:pPr algn="ctr"/>
              <a:endParaRPr sz="1200" dirty="0"/>
            </a:p>
          </p:txBody>
        </p:sp>
        <p:sp>
          <p:nvSpPr>
            <p:cNvPr id="19" name="Shape 23">
              <a:extLst>
                <a:ext uri="{FF2B5EF4-FFF2-40B4-BE49-F238E27FC236}">
                  <a16:creationId xmlns:a16="http://schemas.microsoft.com/office/drawing/2014/main" id="{33DAC9BF-33DB-F7B8-25A4-0CF2C7FB66F0}"/>
                </a:ext>
              </a:extLst>
            </p:cNvPr>
            <p:cNvSpPr/>
            <p:nvPr/>
          </p:nvSpPr>
          <p:spPr>
            <a:xfrm flipH="1">
              <a:off x="523036" y="177186"/>
              <a:ext cx="0" cy="558870"/>
            </a:xfrm>
            <a:prstGeom prst="line">
              <a:avLst/>
            </a:prstGeom>
            <a:noFill/>
            <a:ln w="38100" cap="flat">
              <a:solidFill>
                <a:schemeClr val="accent1"/>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6" name="Group 30">
            <a:extLst>
              <a:ext uri="{FF2B5EF4-FFF2-40B4-BE49-F238E27FC236}">
                <a16:creationId xmlns:a16="http://schemas.microsoft.com/office/drawing/2014/main" id="{718A1742-B5FF-C5BF-B288-06C259508CD0}"/>
              </a:ext>
            </a:extLst>
          </p:cNvPr>
          <p:cNvGrpSpPr/>
          <p:nvPr/>
        </p:nvGrpSpPr>
        <p:grpSpPr>
          <a:xfrm>
            <a:off x="1327487" y="2390876"/>
            <a:ext cx="2509782" cy="2942705"/>
            <a:chOff x="0" y="139701"/>
            <a:chExt cx="2078737" cy="2736849"/>
          </a:xfrm>
          <a:effectLst/>
        </p:grpSpPr>
        <p:sp>
          <p:nvSpPr>
            <p:cNvPr id="16" name="Shape 26">
              <a:extLst>
                <a:ext uri="{FF2B5EF4-FFF2-40B4-BE49-F238E27FC236}">
                  <a16:creationId xmlns:a16="http://schemas.microsoft.com/office/drawing/2014/main" id="{6C3DAD48-FCAC-E1F4-D8C4-18799CE9CB9C}"/>
                </a:ext>
              </a:extLst>
            </p:cNvPr>
            <p:cNvSpPr/>
            <p:nvPr/>
          </p:nvSpPr>
          <p:spPr>
            <a:xfrm>
              <a:off x="0" y="800678"/>
              <a:ext cx="2078737" cy="20758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tx2"/>
            </a:solidFill>
            <a:ln w="12700" cap="flat">
              <a:noFill/>
              <a:miter lim="400000"/>
            </a:ln>
            <a:effectLst/>
          </p:spPr>
          <p:txBody>
            <a:bodyPr wrap="square" lIns="0" tIns="0" rIns="0" bIns="0" numCol="1" anchor="ctr">
              <a:noAutofit/>
            </a:bodyPr>
            <a:lstStyle/>
            <a:p>
              <a:pPr algn="ctr"/>
              <a:endParaRPr sz="1200" dirty="0"/>
            </a:p>
          </p:txBody>
        </p:sp>
        <p:sp>
          <p:nvSpPr>
            <p:cNvPr id="17" name="Shape 28">
              <a:extLst>
                <a:ext uri="{FF2B5EF4-FFF2-40B4-BE49-F238E27FC236}">
                  <a16:creationId xmlns:a16="http://schemas.microsoft.com/office/drawing/2014/main" id="{2B2160ED-ADD3-2C7C-55F9-ED573B5A3117}"/>
                </a:ext>
              </a:extLst>
            </p:cNvPr>
            <p:cNvSpPr/>
            <p:nvPr/>
          </p:nvSpPr>
          <p:spPr>
            <a:xfrm flipH="1">
              <a:off x="1039367" y="139701"/>
              <a:ext cx="0" cy="939869"/>
            </a:xfrm>
            <a:prstGeom prst="line">
              <a:avLst/>
            </a:prstGeom>
            <a:noFill/>
            <a:ln w="38100" cap="flat">
              <a:solidFill>
                <a:schemeClr val="tx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7" name="Group 35">
            <a:extLst>
              <a:ext uri="{FF2B5EF4-FFF2-40B4-BE49-F238E27FC236}">
                <a16:creationId xmlns:a16="http://schemas.microsoft.com/office/drawing/2014/main" id="{B3750BEB-30FE-9A7F-0F35-2E3104C6659E}"/>
              </a:ext>
            </a:extLst>
          </p:cNvPr>
          <p:cNvGrpSpPr/>
          <p:nvPr/>
        </p:nvGrpSpPr>
        <p:grpSpPr>
          <a:xfrm>
            <a:off x="3288451" y="1735387"/>
            <a:ext cx="3562269" cy="3598193"/>
            <a:chOff x="0" y="177765"/>
            <a:chExt cx="2950465" cy="3346484"/>
          </a:xfrm>
          <a:effectLst/>
        </p:grpSpPr>
        <p:sp>
          <p:nvSpPr>
            <p:cNvPr id="14" name="Shape 31">
              <a:extLst>
                <a:ext uri="{FF2B5EF4-FFF2-40B4-BE49-F238E27FC236}">
                  <a16:creationId xmlns:a16="http://schemas.microsoft.com/office/drawing/2014/main" id="{56900AB0-D5E9-1D62-2AC6-F652C896B553}"/>
                </a:ext>
              </a:extLst>
            </p:cNvPr>
            <p:cNvSpPr/>
            <p:nvPr/>
          </p:nvSpPr>
          <p:spPr>
            <a:xfrm>
              <a:off x="0" y="577851"/>
              <a:ext cx="2950465" cy="29463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bg2"/>
            </a:solidFill>
            <a:ln w="12700" cap="flat">
              <a:noFill/>
              <a:miter lim="400000"/>
            </a:ln>
            <a:effectLst/>
          </p:spPr>
          <p:txBody>
            <a:bodyPr wrap="square" lIns="0" tIns="0" rIns="0" bIns="0" numCol="1" anchor="ctr">
              <a:noAutofit/>
            </a:bodyPr>
            <a:lstStyle/>
            <a:p>
              <a:pPr algn="ctr"/>
              <a:endParaRPr sz="1200" dirty="0"/>
            </a:p>
          </p:txBody>
        </p:sp>
        <p:sp>
          <p:nvSpPr>
            <p:cNvPr id="15" name="Shape 33">
              <a:extLst>
                <a:ext uri="{FF2B5EF4-FFF2-40B4-BE49-F238E27FC236}">
                  <a16:creationId xmlns:a16="http://schemas.microsoft.com/office/drawing/2014/main" id="{3CF280C8-9863-403F-6916-7B5C8EB25D6E}"/>
                </a:ext>
              </a:extLst>
            </p:cNvPr>
            <p:cNvSpPr/>
            <p:nvPr/>
          </p:nvSpPr>
          <p:spPr>
            <a:xfrm flipH="1">
              <a:off x="1475233" y="177765"/>
              <a:ext cx="0" cy="800170"/>
            </a:xfrm>
            <a:prstGeom prst="line">
              <a:avLst/>
            </a:prstGeom>
            <a:noFill/>
            <a:ln w="38100" cap="flat">
              <a:solidFill>
                <a:schemeClr val="accent2"/>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8" name="Group 40">
            <a:extLst>
              <a:ext uri="{FF2B5EF4-FFF2-40B4-BE49-F238E27FC236}">
                <a16:creationId xmlns:a16="http://schemas.microsoft.com/office/drawing/2014/main" id="{2782C7FA-2A92-0E33-212E-1327F3EE5B44}"/>
              </a:ext>
            </a:extLst>
          </p:cNvPr>
          <p:cNvGrpSpPr/>
          <p:nvPr/>
        </p:nvGrpSpPr>
        <p:grpSpPr>
          <a:xfrm>
            <a:off x="6042827" y="2541083"/>
            <a:ext cx="2768853" cy="2792495"/>
            <a:chOff x="0" y="152399"/>
            <a:chExt cx="2293315" cy="2597148"/>
          </a:xfrm>
          <a:effectLst/>
        </p:grpSpPr>
        <p:sp>
          <p:nvSpPr>
            <p:cNvPr id="12" name="Shape 36">
              <a:extLst>
                <a:ext uri="{FF2B5EF4-FFF2-40B4-BE49-F238E27FC236}">
                  <a16:creationId xmlns:a16="http://schemas.microsoft.com/office/drawing/2014/main" id="{A4BEC7C6-2734-7944-0731-D1F662918FBF}"/>
                </a:ext>
              </a:extLst>
            </p:cNvPr>
            <p:cNvSpPr/>
            <p:nvPr/>
          </p:nvSpPr>
          <p:spPr>
            <a:xfrm>
              <a:off x="0" y="459393"/>
              <a:ext cx="2293315" cy="22901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4"/>
            </a:solidFill>
            <a:ln w="12700" cap="flat">
              <a:noFill/>
              <a:miter lim="400000"/>
            </a:ln>
            <a:effectLst/>
          </p:spPr>
          <p:txBody>
            <a:bodyPr wrap="square" lIns="0" tIns="0" rIns="0" bIns="0" numCol="1" anchor="ctr">
              <a:noAutofit/>
            </a:bodyPr>
            <a:lstStyle/>
            <a:p>
              <a:pPr algn="ctr"/>
              <a:endParaRPr sz="1200" dirty="0"/>
            </a:p>
          </p:txBody>
        </p:sp>
        <p:sp>
          <p:nvSpPr>
            <p:cNvPr id="13" name="Shape 38">
              <a:extLst>
                <a:ext uri="{FF2B5EF4-FFF2-40B4-BE49-F238E27FC236}">
                  <a16:creationId xmlns:a16="http://schemas.microsoft.com/office/drawing/2014/main" id="{0C1F0798-EB73-BC8A-3E20-421FDA42A1E1}"/>
                </a:ext>
              </a:extLst>
            </p:cNvPr>
            <p:cNvSpPr/>
            <p:nvPr/>
          </p:nvSpPr>
          <p:spPr>
            <a:xfrm flipH="1">
              <a:off x="1146658" y="152399"/>
              <a:ext cx="0" cy="800170"/>
            </a:xfrm>
            <a:prstGeom prst="line">
              <a:avLst/>
            </a:prstGeom>
            <a:noFill/>
            <a:ln w="38100" cap="flat">
              <a:solidFill>
                <a:schemeClr val="accent4"/>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grpSp>
        <p:nvGrpSpPr>
          <p:cNvPr id="9" name="Group 45">
            <a:extLst>
              <a:ext uri="{FF2B5EF4-FFF2-40B4-BE49-F238E27FC236}">
                <a16:creationId xmlns:a16="http://schemas.microsoft.com/office/drawing/2014/main" id="{502FE650-9B9F-26D5-2B54-9AC6B7EEBA1A}"/>
              </a:ext>
            </a:extLst>
          </p:cNvPr>
          <p:cNvGrpSpPr/>
          <p:nvPr/>
        </p:nvGrpSpPr>
        <p:grpSpPr>
          <a:xfrm>
            <a:off x="8242380" y="1876980"/>
            <a:ext cx="3562269" cy="3456601"/>
            <a:chOff x="0" y="160737"/>
            <a:chExt cx="2950466" cy="3214797"/>
          </a:xfrm>
          <a:effectLst/>
        </p:grpSpPr>
        <p:sp>
          <p:nvSpPr>
            <p:cNvPr id="10" name="Shape 41">
              <a:extLst>
                <a:ext uri="{FF2B5EF4-FFF2-40B4-BE49-F238E27FC236}">
                  <a16:creationId xmlns:a16="http://schemas.microsoft.com/office/drawing/2014/main" id="{E673A619-6EB3-B7B3-AC04-05F4E3109574}"/>
                </a:ext>
              </a:extLst>
            </p:cNvPr>
            <p:cNvSpPr/>
            <p:nvPr/>
          </p:nvSpPr>
          <p:spPr>
            <a:xfrm>
              <a:off x="0" y="429135"/>
              <a:ext cx="2950466" cy="29463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10800" y="0"/>
                  </a:lnTo>
                  <a:close/>
                </a:path>
              </a:pathLst>
            </a:custGeom>
            <a:solidFill>
              <a:schemeClr val="accent3"/>
            </a:solidFill>
            <a:ln w="12700" cap="flat">
              <a:noFill/>
              <a:miter lim="400000"/>
            </a:ln>
            <a:effectLst/>
          </p:spPr>
          <p:txBody>
            <a:bodyPr wrap="square" lIns="0" tIns="0" rIns="0" bIns="0" numCol="1" anchor="ctr">
              <a:noAutofit/>
            </a:bodyPr>
            <a:lstStyle/>
            <a:p>
              <a:pPr algn="ctr"/>
              <a:endParaRPr sz="1200" dirty="0"/>
            </a:p>
          </p:txBody>
        </p:sp>
        <p:sp>
          <p:nvSpPr>
            <p:cNvPr id="11" name="Shape 43">
              <a:extLst>
                <a:ext uri="{FF2B5EF4-FFF2-40B4-BE49-F238E27FC236}">
                  <a16:creationId xmlns:a16="http://schemas.microsoft.com/office/drawing/2014/main" id="{EC5D6183-ADC4-8D75-5A9B-42C97C6270A2}"/>
                </a:ext>
              </a:extLst>
            </p:cNvPr>
            <p:cNvSpPr/>
            <p:nvPr/>
          </p:nvSpPr>
          <p:spPr>
            <a:xfrm flipH="1">
              <a:off x="1475233" y="160737"/>
              <a:ext cx="0" cy="800170"/>
            </a:xfrm>
            <a:prstGeom prst="line">
              <a:avLst/>
            </a:prstGeom>
            <a:noFill/>
            <a:ln w="38100" cap="flat">
              <a:solidFill>
                <a:schemeClr val="accent3"/>
              </a:solidFill>
              <a:prstDash val="solid"/>
              <a:miter lim="400000"/>
              <a:headEnd type="oval" w="med" len="med"/>
            </a:ln>
            <a:effectLst/>
          </p:spPr>
          <p:txBody>
            <a:bodyPr wrap="square" lIns="71438" tIns="71438" rIns="71438" bIns="71438" numCol="1" anchor="ctr">
              <a:noAutofit/>
            </a:bodyPr>
            <a:lstStyle/>
            <a:p>
              <a:pPr algn="ctr">
                <a:defRPr sz="1200">
                  <a:solidFill>
                    <a:srgbClr val="000000"/>
                  </a:solidFill>
                  <a:latin typeface="Helvetica"/>
                  <a:ea typeface="Helvetica"/>
                  <a:cs typeface="Helvetica"/>
                  <a:sym typeface="Helvetica"/>
                </a:defRPr>
              </a:pPr>
              <a:endParaRPr sz="1200" dirty="0">
                <a:ea typeface="Lato Light" panose="020F0502020204030203" pitchFamily="34" charset="0"/>
                <a:cs typeface="Lato Light" panose="020F0502020204030203" pitchFamily="34" charset="0"/>
              </a:endParaRPr>
            </a:p>
          </p:txBody>
        </p:sp>
      </p:grpSp>
      <p:sp>
        <p:nvSpPr>
          <p:cNvPr id="20" name="TextBox 31">
            <a:extLst>
              <a:ext uri="{FF2B5EF4-FFF2-40B4-BE49-F238E27FC236}">
                <a16:creationId xmlns:a16="http://schemas.microsoft.com/office/drawing/2014/main" id="{CF5893E5-D08A-88A8-AC7B-4D01DE8F2482}"/>
              </a:ext>
            </a:extLst>
          </p:cNvPr>
          <p:cNvSpPr txBox="1"/>
          <p:nvPr/>
        </p:nvSpPr>
        <p:spPr>
          <a:xfrm>
            <a:off x="404148" y="3386251"/>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1" name="TextBox 32">
            <a:extLst>
              <a:ext uri="{FF2B5EF4-FFF2-40B4-BE49-F238E27FC236}">
                <a16:creationId xmlns:a16="http://schemas.microsoft.com/office/drawing/2014/main" id="{3FB2F7FD-DFB6-3B39-5B1F-EFF9E796688B}"/>
              </a:ext>
            </a:extLst>
          </p:cNvPr>
          <p:cNvSpPr txBox="1"/>
          <p:nvPr/>
        </p:nvSpPr>
        <p:spPr>
          <a:xfrm>
            <a:off x="1978823" y="198720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2" name="TextBox 33">
            <a:extLst>
              <a:ext uri="{FF2B5EF4-FFF2-40B4-BE49-F238E27FC236}">
                <a16:creationId xmlns:a16="http://schemas.microsoft.com/office/drawing/2014/main" id="{660178F1-2F87-22E1-43C5-05B531A6DCAE}"/>
              </a:ext>
            </a:extLst>
          </p:cNvPr>
          <p:cNvSpPr txBox="1"/>
          <p:nvPr/>
        </p:nvSpPr>
        <p:spPr>
          <a:xfrm>
            <a:off x="4461437" y="1335189"/>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3" name="TextBox 34">
            <a:extLst>
              <a:ext uri="{FF2B5EF4-FFF2-40B4-BE49-F238E27FC236}">
                <a16:creationId xmlns:a16="http://schemas.microsoft.com/office/drawing/2014/main" id="{2799CE0D-7EA3-B4C5-C233-A0E0B5E56A16}"/>
              </a:ext>
            </a:extLst>
          </p:cNvPr>
          <p:cNvSpPr txBox="1"/>
          <p:nvPr/>
        </p:nvSpPr>
        <p:spPr>
          <a:xfrm>
            <a:off x="6819106" y="2123944"/>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4" name="TextBox 35">
            <a:extLst>
              <a:ext uri="{FF2B5EF4-FFF2-40B4-BE49-F238E27FC236}">
                <a16:creationId xmlns:a16="http://schemas.microsoft.com/office/drawing/2014/main" id="{EC333044-FC7D-0CD9-377D-4CD87D81FB34}"/>
              </a:ext>
            </a:extLst>
          </p:cNvPr>
          <p:cNvSpPr txBox="1"/>
          <p:nvPr/>
        </p:nvSpPr>
        <p:spPr>
          <a:xfrm>
            <a:off x="9415367" y="1480590"/>
            <a:ext cx="1223412" cy="276999"/>
          </a:xfrm>
          <a:prstGeom prst="rect">
            <a:avLst/>
          </a:prstGeom>
          <a:noFill/>
        </p:spPr>
        <p:txBody>
          <a:bodyPr wrap="none" rtlCol="0" anchor="ctr" anchorCtr="0">
            <a:spAutoFit/>
          </a:bodyPr>
          <a:lstStyle/>
          <a:p>
            <a:pPr algn="ctr"/>
            <a:r>
              <a:rPr lang="en-US" sz="1200" b="1" dirty="0">
                <a:solidFill>
                  <a:schemeClr val="tx2"/>
                </a:solidFill>
                <a:ea typeface="League Spartan" charset="0"/>
                <a:cs typeface="Poppins" pitchFamily="2" charset="77"/>
              </a:rPr>
              <a:t>YOUR TITLE</a:t>
            </a:r>
          </a:p>
        </p:txBody>
      </p:sp>
      <p:sp>
        <p:nvSpPr>
          <p:cNvPr id="25" name="TextBox 37">
            <a:extLst>
              <a:ext uri="{FF2B5EF4-FFF2-40B4-BE49-F238E27FC236}">
                <a16:creationId xmlns:a16="http://schemas.microsoft.com/office/drawing/2014/main" id="{E12196E4-76D6-8243-9446-81EB03F40C2B}"/>
              </a:ext>
            </a:extLst>
          </p:cNvPr>
          <p:cNvSpPr txBox="1"/>
          <p:nvPr/>
        </p:nvSpPr>
        <p:spPr>
          <a:xfrm>
            <a:off x="694904"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0.9M</a:t>
            </a:r>
          </a:p>
        </p:txBody>
      </p:sp>
      <p:sp>
        <p:nvSpPr>
          <p:cNvPr id="26" name="TextBox 38">
            <a:extLst>
              <a:ext uri="{FF2B5EF4-FFF2-40B4-BE49-F238E27FC236}">
                <a16:creationId xmlns:a16="http://schemas.microsoft.com/office/drawing/2014/main" id="{26271D1A-D4F4-9F6D-CF62-21D1E7D88F8B}"/>
              </a:ext>
            </a:extLst>
          </p:cNvPr>
          <p:cNvSpPr txBox="1"/>
          <p:nvPr/>
        </p:nvSpPr>
        <p:spPr>
          <a:xfrm>
            <a:off x="2273636"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1M</a:t>
            </a:r>
          </a:p>
        </p:txBody>
      </p:sp>
      <p:sp>
        <p:nvSpPr>
          <p:cNvPr id="27" name="TextBox 39">
            <a:extLst>
              <a:ext uri="{FF2B5EF4-FFF2-40B4-BE49-F238E27FC236}">
                <a16:creationId xmlns:a16="http://schemas.microsoft.com/office/drawing/2014/main" id="{1EC6C9B9-9706-44A9-1E2C-3990EFBEF86E}"/>
              </a:ext>
            </a:extLst>
          </p:cNvPr>
          <p:cNvSpPr txBox="1"/>
          <p:nvPr/>
        </p:nvSpPr>
        <p:spPr>
          <a:xfrm>
            <a:off x="4760847"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3.3M</a:t>
            </a:r>
          </a:p>
        </p:txBody>
      </p:sp>
      <p:sp>
        <p:nvSpPr>
          <p:cNvPr id="28" name="TextBox 40">
            <a:extLst>
              <a:ext uri="{FF2B5EF4-FFF2-40B4-BE49-F238E27FC236}">
                <a16:creationId xmlns:a16="http://schemas.microsoft.com/office/drawing/2014/main" id="{994A19E5-654D-0EEF-ABC8-E6E6413F59DA}"/>
              </a:ext>
            </a:extLst>
          </p:cNvPr>
          <p:cNvSpPr txBox="1"/>
          <p:nvPr/>
        </p:nvSpPr>
        <p:spPr>
          <a:xfrm>
            <a:off x="7118515" y="4827982"/>
            <a:ext cx="617477"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5M</a:t>
            </a:r>
          </a:p>
        </p:txBody>
      </p:sp>
      <p:sp>
        <p:nvSpPr>
          <p:cNvPr id="29" name="TextBox 41">
            <a:extLst>
              <a:ext uri="{FF2B5EF4-FFF2-40B4-BE49-F238E27FC236}">
                <a16:creationId xmlns:a16="http://schemas.microsoft.com/office/drawing/2014/main" id="{87C3652D-617D-CE63-1048-3CE8C03FBD4A}"/>
              </a:ext>
            </a:extLst>
          </p:cNvPr>
          <p:cNvSpPr txBox="1"/>
          <p:nvPr/>
        </p:nvSpPr>
        <p:spPr>
          <a:xfrm>
            <a:off x="9808208" y="4827982"/>
            <a:ext cx="617478" cy="276999"/>
          </a:xfrm>
          <a:prstGeom prst="rect">
            <a:avLst/>
          </a:prstGeom>
          <a:noFill/>
        </p:spPr>
        <p:txBody>
          <a:bodyPr wrap="none" rtlCol="0" anchor="ctr" anchorCtr="0">
            <a:spAutoFit/>
          </a:bodyPr>
          <a:lstStyle/>
          <a:p>
            <a:pPr algn="ctr"/>
            <a:r>
              <a:rPr lang="en-US" sz="1200" b="1" spc="-150" dirty="0">
                <a:solidFill>
                  <a:schemeClr val="bg1"/>
                </a:solidFill>
                <a:ea typeface="League Spartan" charset="0"/>
                <a:cs typeface="Poppins" pitchFamily="2" charset="77"/>
              </a:rPr>
              <a:t>$2.9M</a:t>
            </a:r>
          </a:p>
        </p:txBody>
      </p:sp>
      <p:sp>
        <p:nvSpPr>
          <p:cNvPr id="31" name="Text Placeholder 6">
            <a:extLst>
              <a:ext uri="{FF2B5EF4-FFF2-40B4-BE49-F238E27FC236}">
                <a16:creationId xmlns:a16="http://schemas.microsoft.com/office/drawing/2014/main" id="{288A532F-7650-22E6-9B3C-FCA010C0679B}"/>
              </a:ext>
            </a:extLst>
          </p:cNvPr>
          <p:cNvSpPr txBox="1">
            <a:spLocks/>
          </p:cNvSpPr>
          <p:nvPr/>
        </p:nvSpPr>
        <p:spPr>
          <a:xfrm>
            <a:off x="371474" y="5333581"/>
            <a:ext cx="11449051" cy="975144"/>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r>
              <a:rPr lang="en-US" sz="1200" b="0" dirty="0">
                <a:latin typeface="Verdana" panose="020B0604030504040204" pitchFamily="34" charset="0"/>
                <a:ea typeface="Verdana" panose="020B0604030504040204" pitchFamily="34" charset="0"/>
                <a:cs typeface="Verdana" panose="020B0604030504040204" pitchFamily="34" charset="0"/>
              </a:rPr>
              <a:t>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Lorem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Lorem</a:t>
            </a:r>
            <a:r>
              <a:rPr lang="en-US" sz="1200" b="0" dirty="0">
                <a:latin typeface="Verdana" panose="020B0604030504040204" pitchFamily="34" charset="0"/>
                <a:ea typeface="Verdana" panose="020B0604030504040204" pitchFamily="34" charset="0"/>
                <a:cs typeface="Verdana" panose="020B0604030504040204" pitchFamily="34" charset="0"/>
              </a:rPr>
              <a:t> ipsum dolor sit </a:t>
            </a:r>
            <a:r>
              <a:rPr lang="en-US" sz="1200" b="0" dirty="0" err="1">
                <a:latin typeface="Verdana" panose="020B0604030504040204" pitchFamily="34" charset="0"/>
                <a:ea typeface="Verdana" panose="020B0604030504040204" pitchFamily="34" charset="0"/>
                <a:cs typeface="Verdana" panose="020B0604030504040204" pitchFamily="34" charset="0"/>
              </a:rPr>
              <a:t>amet</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consectetur</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adipiscing</a:t>
            </a:r>
            <a:r>
              <a:rPr lang="en-US" sz="1200" b="0" dirty="0">
                <a:latin typeface="Verdana" panose="020B0604030504040204" pitchFamily="34" charset="0"/>
                <a:ea typeface="Verdana" panose="020B0604030504040204" pitchFamily="34" charset="0"/>
                <a:cs typeface="Verdana" panose="020B0604030504040204" pitchFamily="34" charset="0"/>
              </a:rPr>
              <a:t> </a:t>
            </a:r>
            <a:r>
              <a:rPr lang="en-US" sz="1200" b="0" dirty="0" err="1">
                <a:latin typeface="Verdana" panose="020B0604030504040204" pitchFamily="34" charset="0"/>
                <a:ea typeface="Verdana" panose="020B0604030504040204" pitchFamily="34" charset="0"/>
                <a:cs typeface="Verdana" panose="020B0604030504040204" pitchFamily="34" charset="0"/>
              </a:rPr>
              <a:t>elit</a:t>
            </a:r>
            <a:r>
              <a:rPr lang="en-US" sz="1200" b="0" dirty="0">
                <a:latin typeface="Verdana" panose="020B0604030504040204" pitchFamily="34" charset="0"/>
                <a:ea typeface="Verdana" panose="020B0604030504040204" pitchFamily="34" charset="0"/>
                <a:cs typeface="Verdana" panose="020B0604030504040204" pitchFamily="34" charset="0"/>
              </a:rPr>
              <a:t>. Sed </a:t>
            </a:r>
            <a:r>
              <a:rPr lang="en-US" sz="1200" b="0" dirty="0" err="1">
                <a:latin typeface="Verdana" panose="020B0604030504040204" pitchFamily="34" charset="0"/>
                <a:ea typeface="Verdana" panose="020B0604030504040204" pitchFamily="34" charset="0"/>
                <a:cs typeface="Verdana" panose="020B0604030504040204" pitchFamily="34" charset="0"/>
              </a:rPr>
              <a:t>eget</a:t>
            </a:r>
            <a:r>
              <a:rPr lang="en-US" sz="1200" b="0" dirty="0">
                <a:latin typeface="Verdana" panose="020B0604030504040204" pitchFamily="34" charset="0"/>
                <a:ea typeface="Verdana" panose="020B0604030504040204" pitchFamily="34" charset="0"/>
                <a:cs typeface="Verdana" panose="020B0604030504040204" pitchFamily="34" charset="0"/>
              </a:rPr>
              <a:t>..</a:t>
            </a:r>
          </a:p>
        </p:txBody>
      </p:sp>
      <p:sp>
        <p:nvSpPr>
          <p:cNvPr id="4" name="Footer Placeholder 3">
            <a:extLst>
              <a:ext uri="{FF2B5EF4-FFF2-40B4-BE49-F238E27FC236}">
                <a16:creationId xmlns:a16="http://schemas.microsoft.com/office/drawing/2014/main" id="{E66EC2EE-29EC-F4D4-1B25-36044AC9C11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98748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403F42D-B3C5-1DCD-8C83-7A71F9D61500}"/>
              </a:ext>
            </a:extLst>
          </p:cNvPr>
          <p:cNvGraphicFramePr>
            <a:graphicFrameLocks noChangeAspect="1"/>
          </p:cNvGraphicFramePr>
          <p:nvPr>
            <p:custDataLst>
              <p:tags r:id="rId1"/>
            </p:custDataLst>
            <p:extLst>
              <p:ext uri="{D42A27DB-BD31-4B8C-83A1-F6EECF244321}">
                <p14:modId xmlns:p14="http://schemas.microsoft.com/office/powerpoint/2010/main" val="3077377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to 6" hidden="1">
                        <a:extLst>
                          <a:ext uri="{FF2B5EF4-FFF2-40B4-BE49-F238E27FC236}">
                            <a16:creationId xmlns:a16="http://schemas.microsoft.com/office/drawing/2014/main" id="{6403F42D-B3C5-1DCD-8C83-7A71F9D615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23A82922-25E0-A1EB-BB63-7C154753F48A}"/>
              </a:ext>
            </a:extLst>
          </p:cNvPr>
          <p:cNvGrpSpPr/>
          <p:nvPr/>
        </p:nvGrpSpPr>
        <p:grpSpPr>
          <a:xfrm>
            <a:off x="3517424" y="1342940"/>
            <a:ext cx="2884485" cy="2275649"/>
            <a:chOff x="3517424" y="1342940"/>
            <a:chExt cx="2884485" cy="2275649"/>
          </a:xfrm>
        </p:grpSpPr>
        <p:pic>
          <p:nvPicPr>
            <p:cNvPr id="19" name="Picture 2" descr="Motion Planning in a Simulated 6DoF Robotic Arm - Conn Bots">
              <a:extLst>
                <a:ext uri="{FF2B5EF4-FFF2-40B4-BE49-F238E27FC236}">
                  <a16:creationId xmlns:a16="http://schemas.microsoft.com/office/drawing/2014/main" id="{55742DCC-C5EE-971E-131C-D8DF066B2C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17424" y="1342940"/>
              <a:ext cx="2884485" cy="227564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4F7C04F4-2073-4963-9C2B-86AE50A9284D}"/>
                </a:ext>
              </a:extLst>
            </p:cNvPr>
            <p:cNvSpPr/>
            <p:nvPr/>
          </p:nvSpPr>
          <p:spPr>
            <a:xfrm rot="19398646">
              <a:off x="3568247" y="2302448"/>
              <a:ext cx="716312" cy="624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grpSp>
      <p:pic>
        <p:nvPicPr>
          <p:cNvPr id="10" name="Picture 9">
            <a:extLst>
              <a:ext uri="{FF2B5EF4-FFF2-40B4-BE49-F238E27FC236}">
                <a16:creationId xmlns:a16="http://schemas.microsoft.com/office/drawing/2014/main" id="{14CD330D-C423-55CE-7B92-5EBFDA7C9EB1}"/>
              </a:ext>
            </a:extLst>
          </p:cNvPr>
          <p:cNvPicPr>
            <a:picLocks noChangeAspect="1"/>
          </p:cNvPicPr>
          <p:nvPr/>
        </p:nvPicPr>
        <p:blipFill>
          <a:blip r:embed="rId6"/>
          <a:stretch>
            <a:fillRect/>
          </a:stretch>
        </p:blipFill>
        <p:spPr>
          <a:xfrm>
            <a:off x="-5507969" y="1177686"/>
            <a:ext cx="5210447" cy="4907136"/>
          </a:xfrm>
          <a:prstGeom prst="rect">
            <a:avLst/>
          </a:prstGeom>
        </p:spPr>
      </p:pic>
      <p:grpSp>
        <p:nvGrpSpPr>
          <p:cNvPr id="17" name="Group 16">
            <a:extLst>
              <a:ext uri="{FF2B5EF4-FFF2-40B4-BE49-F238E27FC236}">
                <a16:creationId xmlns:a16="http://schemas.microsoft.com/office/drawing/2014/main" id="{41BEF765-C32B-FAB2-0471-26E82E25E3B6}"/>
              </a:ext>
            </a:extLst>
          </p:cNvPr>
          <p:cNvGrpSpPr/>
          <p:nvPr/>
        </p:nvGrpSpPr>
        <p:grpSpPr>
          <a:xfrm>
            <a:off x="6099822" y="1396362"/>
            <a:ext cx="4037054" cy="2738244"/>
            <a:chOff x="6814424" y="2063217"/>
            <a:chExt cx="4037054" cy="2738244"/>
          </a:xfrm>
        </p:grpSpPr>
        <p:pic>
          <p:nvPicPr>
            <p:cNvPr id="6" name="Picture 5">
              <a:extLst>
                <a:ext uri="{FF2B5EF4-FFF2-40B4-BE49-F238E27FC236}">
                  <a16:creationId xmlns:a16="http://schemas.microsoft.com/office/drawing/2014/main" id="{BE1D74A8-E604-46AB-E590-74799CF33F84}"/>
                </a:ext>
              </a:extLst>
            </p:cNvPr>
            <p:cNvPicPr>
              <a:picLocks noChangeAspect="1"/>
            </p:cNvPicPr>
            <p:nvPr/>
          </p:nvPicPr>
          <p:blipFill>
            <a:blip r:embed="rId7"/>
            <a:stretch>
              <a:fillRect/>
            </a:stretch>
          </p:blipFill>
          <p:spPr>
            <a:xfrm>
              <a:off x="6814424" y="2063217"/>
              <a:ext cx="3970321" cy="2634442"/>
            </a:xfrm>
            <a:prstGeom prst="rect">
              <a:avLst/>
            </a:prstGeom>
          </p:spPr>
        </p:pic>
        <p:pic>
          <p:nvPicPr>
            <p:cNvPr id="8" name="Picture 7">
              <a:extLst>
                <a:ext uri="{FF2B5EF4-FFF2-40B4-BE49-F238E27FC236}">
                  <a16:creationId xmlns:a16="http://schemas.microsoft.com/office/drawing/2014/main" id="{AFDBA516-89A1-89B0-DA59-4CCE9A41E89B}"/>
                </a:ext>
              </a:extLst>
            </p:cNvPr>
            <p:cNvPicPr>
              <a:picLocks noChangeAspect="1"/>
            </p:cNvPicPr>
            <p:nvPr/>
          </p:nvPicPr>
          <p:blipFill>
            <a:blip r:embed="rId8"/>
            <a:stretch>
              <a:fillRect/>
            </a:stretch>
          </p:blipFill>
          <p:spPr>
            <a:xfrm>
              <a:off x="9254548" y="3892440"/>
              <a:ext cx="1596930" cy="909021"/>
            </a:xfrm>
            <a:prstGeom prst="rect">
              <a:avLst/>
            </a:prstGeom>
          </p:spPr>
        </p:pic>
      </p:grpSp>
      <p:sp>
        <p:nvSpPr>
          <p:cNvPr id="13" name="TextBox 12">
            <a:extLst>
              <a:ext uri="{FF2B5EF4-FFF2-40B4-BE49-F238E27FC236}">
                <a16:creationId xmlns:a16="http://schemas.microsoft.com/office/drawing/2014/main" id="{C33D20E0-D1AD-A00C-ED46-FEC23AB25051}"/>
              </a:ext>
            </a:extLst>
          </p:cNvPr>
          <p:cNvSpPr txBox="1"/>
          <p:nvPr/>
        </p:nvSpPr>
        <p:spPr>
          <a:xfrm>
            <a:off x="412301" y="4902173"/>
            <a:ext cx="11309799" cy="1400383"/>
          </a:xfrm>
          <a:prstGeom prst="rect">
            <a:avLst/>
          </a:prstGeom>
          <a:noFill/>
        </p:spPr>
        <p:txBody>
          <a:bodyPr wrap="square">
            <a:spAutoFit/>
          </a:bodyPr>
          <a:lstStyle/>
          <a:p>
            <a:pPr marL="171450" indent="-171450" algn="l">
              <a:spcAft>
                <a:spcPts val="300"/>
              </a:spcAft>
              <a:buFont typeface="Arial" panose="020B0604020202020204" pitchFamily="34" charset="0"/>
              <a:buChar char="•"/>
            </a:pPr>
            <a:r>
              <a:rPr lang="en-US" sz="1600" b="0" i="0" u="none" strike="noStrike" baseline="0" dirty="0">
                <a:latin typeface="Calibri" panose="020F0502020204030204" pitchFamily="34" charset="0"/>
                <a:cs typeface="Calibri" panose="020F0502020204030204" pitchFamily="34" charset="0"/>
              </a:rPr>
              <a:t>One key difference between the differential drive robot and our design is that the wheels are replaced by external permanent magnets mounted on actuators such as the end-effector of a 6-DOF robotic arm</a:t>
            </a:r>
          </a:p>
          <a:p>
            <a:pPr marL="171450" indent="-171450">
              <a:spcAft>
                <a:spcPts val="300"/>
              </a:spcAft>
              <a:buFont typeface="Arial" panose="020B0604020202020204" pitchFamily="34" charset="0"/>
              <a:buChar char="•"/>
            </a:pPr>
            <a:r>
              <a:rPr lang="en-US" sz="1600" b="0" i="0" u="none" strike="noStrike" baseline="0" dirty="0">
                <a:latin typeface="Calibri" panose="020F0502020204030204" pitchFamily="34" charset="0"/>
                <a:cs typeface="Calibri" panose="020F0502020204030204" pitchFamily="34" charset="0"/>
              </a:rPr>
              <a:t>Robot’s velocity and torque are based on the rotation of the externally mounted magnetic X, Y coils</a:t>
            </a:r>
          </a:p>
          <a:p>
            <a:pPr marL="171450" indent="-171450">
              <a:spcAft>
                <a:spcPts val="3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We choose the 2D analogy as a simplifying assumption, and subsequently our mechanical objective is to maneuver along a path towards a goal point, staying within a maximum acceptable deviation at all waypoints</a:t>
            </a:r>
          </a:p>
        </p:txBody>
      </p:sp>
      <p:grpSp>
        <p:nvGrpSpPr>
          <p:cNvPr id="16" name="Group 15">
            <a:extLst>
              <a:ext uri="{FF2B5EF4-FFF2-40B4-BE49-F238E27FC236}">
                <a16:creationId xmlns:a16="http://schemas.microsoft.com/office/drawing/2014/main" id="{0267FEBF-838D-0BBE-5593-EF8FE040DA8C}"/>
              </a:ext>
            </a:extLst>
          </p:cNvPr>
          <p:cNvGrpSpPr/>
          <p:nvPr/>
        </p:nvGrpSpPr>
        <p:grpSpPr>
          <a:xfrm>
            <a:off x="451933" y="1399721"/>
            <a:ext cx="3888222" cy="3230336"/>
            <a:chOff x="416340" y="1812472"/>
            <a:chExt cx="5080173" cy="4220611"/>
          </a:xfrm>
        </p:grpSpPr>
        <p:grpSp>
          <p:nvGrpSpPr>
            <p:cNvPr id="37" name="Group 36">
              <a:extLst>
                <a:ext uri="{FF2B5EF4-FFF2-40B4-BE49-F238E27FC236}">
                  <a16:creationId xmlns:a16="http://schemas.microsoft.com/office/drawing/2014/main" id="{6E7FE09E-332E-FEA0-614A-C48EA4D343FC}"/>
                </a:ext>
              </a:extLst>
            </p:cNvPr>
            <p:cNvGrpSpPr/>
            <p:nvPr/>
          </p:nvGrpSpPr>
          <p:grpSpPr>
            <a:xfrm>
              <a:off x="416340" y="2666077"/>
              <a:ext cx="4570453" cy="3367006"/>
              <a:chOff x="1345433" y="3281475"/>
              <a:chExt cx="2295063" cy="2098186"/>
            </a:xfrm>
          </p:grpSpPr>
          <p:sp>
            <p:nvSpPr>
              <p:cNvPr id="20" name="TextBox 19">
                <a:extLst>
                  <a:ext uri="{FF2B5EF4-FFF2-40B4-BE49-F238E27FC236}">
                    <a16:creationId xmlns:a16="http://schemas.microsoft.com/office/drawing/2014/main" id="{A2B2FCC5-C940-80E9-FB75-4881928BC612}"/>
                  </a:ext>
                </a:extLst>
              </p:cNvPr>
              <p:cNvSpPr txBox="1"/>
              <p:nvPr/>
            </p:nvSpPr>
            <p:spPr>
              <a:xfrm>
                <a:off x="2750345" y="3835648"/>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Y</a:t>
                </a:r>
                <a:endParaRPr lang="en-US" sz="1600" baseline="-25000" noProof="0" dirty="0">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6EC696F3-0E15-B9B4-72AF-47483A3B56FE}"/>
                  </a:ext>
                </a:extLst>
              </p:cNvPr>
              <p:cNvGrpSpPr/>
              <p:nvPr/>
            </p:nvGrpSpPr>
            <p:grpSpPr>
              <a:xfrm>
                <a:off x="1345433" y="3281475"/>
                <a:ext cx="1767839" cy="1519628"/>
                <a:chOff x="1345433" y="3281475"/>
                <a:chExt cx="1767839" cy="1519628"/>
              </a:xfrm>
            </p:grpSpPr>
            <p:sp>
              <p:nvSpPr>
                <p:cNvPr id="21" name="TextBox 20">
                  <a:extLst>
                    <a:ext uri="{FF2B5EF4-FFF2-40B4-BE49-F238E27FC236}">
                      <a16:creationId xmlns:a16="http://schemas.microsoft.com/office/drawing/2014/main" id="{6891DBF6-04BF-A79B-6FCA-70A806936EA8}"/>
                    </a:ext>
                  </a:extLst>
                </p:cNvPr>
                <p:cNvSpPr txBox="1"/>
                <p:nvPr/>
              </p:nvSpPr>
              <p:spPr>
                <a:xfrm>
                  <a:off x="1345433" y="3281475"/>
                  <a:ext cx="890151" cy="575793"/>
                </a:xfrm>
                <a:prstGeom prst="rect">
                  <a:avLst/>
                </a:prstGeom>
                <a:noFill/>
              </p:spPr>
              <p:txBody>
                <a:bodyPr wrap="square" lIns="0" tIns="0" rIns="0" bIns="0" rtlCol="0">
                  <a:noAutofit/>
                </a:bodyPr>
                <a:lstStyle/>
                <a:p>
                  <a:pPr algn="ctr" defTabSz="228600">
                    <a:spcAft>
                      <a:spcPts val="1200"/>
                    </a:spcAft>
                  </a:pPr>
                  <a:r>
                    <a:rPr lang="en-US" sz="1600" dirty="0">
                      <a:latin typeface="Calibri" panose="020F0502020204030204" pitchFamily="34" charset="0"/>
                      <a:cs typeface="Calibri" panose="020F0502020204030204" pitchFamily="34" charset="0"/>
                    </a:rPr>
                    <a:t>[Optional] Z</a:t>
                  </a:r>
                  <a:endParaRPr lang="en-US" sz="1600" baseline="-25000" noProof="0" dirty="0">
                    <a:latin typeface="Calibri" panose="020F0502020204030204" pitchFamily="34" charset="0"/>
                    <a:cs typeface="Calibri" panose="020F0502020204030204" pitchFamily="34" charset="0"/>
                  </a:endParaRPr>
                </a:p>
              </p:txBody>
            </p:sp>
            <p:grpSp>
              <p:nvGrpSpPr>
                <p:cNvPr id="31" name="Group 30">
                  <a:extLst>
                    <a:ext uri="{FF2B5EF4-FFF2-40B4-BE49-F238E27FC236}">
                      <a16:creationId xmlns:a16="http://schemas.microsoft.com/office/drawing/2014/main" id="{48A7291C-9507-689C-BBE3-35E3CBB09F69}"/>
                    </a:ext>
                  </a:extLst>
                </p:cNvPr>
                <p:cNvGrpSpPr/>
                <p:nvPr/>
              </p:nvGrpSpPr>
              <p:grpSpPr>
                <a:xfrm>
                  <a:off x="2207234" y="3335471"/>
                  <a:ext cx="906038" cy="1465632"/>
                  <a:chOff x="1947184" y="3355298"/>
                  <a:chExt cx="405422" cy="713795"/>
                </a:xfrm>
              </p:grpSpPr>
              <p:cxnSp>
                <p:nvCxnSpPr>
                  <p:cNvPr id="32" name="Straight Arrow Connector 31">
                    <a:extLst>
                      <a:ext uri="{FF2B5EF4-FFF2-40B4-BE49-F238E27FC236}">
                        <a16:creationId xmlns:a16="http://schemas.microsoft.com/office/drawing/2014/main" id="{C792558A-3706-90F6-A948-48652981B18C}"/>
                      </a:ext>
                    </a:extLst>
                  </p:cNvPr>
                  <p:cNvCxnSpPr>
                    <a:cxnSpLocks/>
                  </p:cNvCxnSpPr>
                  <p:nvPr/>
                </p:nvCxnSpPr>
                <p:spPr>
                  <a:xfrm flipH="1" flipV="1">
                    <a:off x="1947417" y="3355298"/>
                    <a:ext cx="2413" cy="43028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31E778B-73D3-FBA3-7732-817E98DD8DBC}"/>
                      </a:ext>
                    </a:extLst>
                  </p:cNvPr>
                  <p:cNvCxnSpPr>
                    <a:cxnSpLocks/>
                  </p:cNvCxnSpPr>
                  <p:nvPr/>
                </p:nvCxnSpPr>
                <p:spPr>
                  <a:xfrm flipV="1">
                    <a:off x="1947184" y="3640173"/>
                    <a:ext cx="405422" cy="1454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6F8C8F-9A3B-11C1-EA98-30706E5F9405}"/>
                      </a:ext>
                    </a:extLst>
                  </p:cNvPr>
                  <p:cNvCxnSpPr>
                    <a:cxnSpLocks/>
                  </p:cNvCxnSpPr>
                  <p:nvPr/>
                </p:nvCxnSpPr>
                <p:spPr>
                  <a:xfrm>
                    <a:off x="1950063" y="3784814"/>
                    <a:ext cx="216412" cy="2842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TextBox 41">
                <a:extLst>
                  <a:ext uri="{FF2B5EF4-FFF2-40B4-BE49-F238E27FC236}">
                    <a16:creationId xmlns:a16="http://schemas.microsoft.com/office/drawing/2014/main" id="{E7BB46B2-C681-0506-612D-307AB14A2F88}"/>
                  </a:ext>
                </a:extLst>
              </p:cNvPr>
              <p:cNvSpPr txBox="1"/>
              <p:nvPr/>
            </p:nvSpPr>
            <p:spPr>
              <a:xfrm>
                <a:off x="2300830" y="4803868"/>
                <a:ext cx="890151" cy="575793"/>
              </a:xfrm>
              <a:prstGeom prst="rect">
                <a:avLst/>
              </a:prstGeom>
              <a:noFill/>
            </p:spPr>
            <p:txBody>
              <a:bodyPr wrap="square" lIns="0" tIns="0" rIns="0" bIns="0" rtlCol="0">
                <a:noAutofit/>
              </a:bodyPr>
              <a:lstStyle/>
              <a:p>
                <a:pPr algn="ctr" defTabSz="228600">
                  <a:spcAft>
                    <a:spcPts val="1200"/>
                  </a:spcAft>
                </a:pPr>
                <a:r>
                  <a:rPr lang="en-US" sz="1600" noProof="0" dirty="0">
                    <a:latin typeface="Calibri" panose="020F0502020204030204" pitchFamily="34" charset="0"/>
                    <a:cs typeface="Calibri" panose="020F0502020204030204" pitchFamily="34" charset="0"/>
                  </a:rPr>
                  <a:t>X</a:t>
                </a:r>
                <a:endParaRPr lang="en-US" sz="1600" baseline="-25000" noProof="0" dirty="0">
                  <a:latin typeface="Calibri" panose="020F0502020204030204" pitchFamily="34" charset="0"/>
                  <a:cs typeface="Calibri" panose="020F0502020204030204" pitchFamily="34" charset="0"/>
                </a:endParaRPr>
              </a:p>
            </p:txBody>
          </p:sp>
        </p:grpSp>
        <p:grpSp>
          <p:nvGrpSpPr>
            <p:cNvPr id="15" name="Group 14">
              <a:extLst>
                <a:ext uri="{FF2B5EF4-FFF2-40B4-BE49-F238E27FC236}">
                  <a16:creationId xmlns:a16="http://schemas.microsoft.com/office/drawing/2014/main" id="{0177085C-FF2F-C99F-1335-C3531810AA40}"/>
                </a:ext>
              </a:extLst>
            </p:cNvPr>
            <p:cNvGrpSpPr/>
            <p:nvPr/>
          </p:nvGrpSpPr>
          <p:grpSpPr>
            <a:xfrm>
              <a:off x="2487814" y="1812472"/>
              <a:ext cx="3008699" cy="3710992"/>
              <a:chOff x="2487814" y="1812472"/>
              <a:chExt cx="3008699" cy="3710992"/>
            </a:xfrm>
          </p:grpSpPr>
          <p:cxnSp>
            <p:nvCxnSpPr>
              <p:cNvPr id="61" name="Straight Arrow Connector 60">
                <a:extLst>
                  <a:ext uri="{FF2B5EF4-FFF2-40B4-BE49-F238E27FC236}">
                    <a16:creationId xmlns:a16="http://schemas.microsoft.com/office/drawing/2014/main" id="{DF1FD328-B00A-0EA6-239E-A2777AF73E9F}"/>
                  </a:ext>
                </a:extLst>
              </p:cNvPr>
              <p:cNvCxnSpPr>
                <a:cxnSpLocks/>
              </p:cNvCxnSpPr>
              <p:nvPr/>
            </p:nvCxnSpPr>
            <p:spPr>
              <a:xfrm flipH="1">
                <a:off x="3352800" y="2362200"/>
                <a:ext cx="219075" cy="11049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BC3EEB9-B615-D4F7-3291-D71C77881F60}"/>
                  </a:ext>
                </a:extLst>
              </p:cNvPr>
              <p:cNvCxnSpPr>
                <a:cxnSpLocks/>
                <a:stCxn id="50" idx="0"/>
              </p:cNvCxnSpPr>
              <p:nvPr/>
            </p:nvCxnSpPr>
            <p:spPr>
              <a:xfrm flipH="1">
                <a:off x="4236281" y="3371971"/>
                <a:ext cx="917503" cy="6869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m3d="http://schemas.microsoft.com/office/drawing/2017/model3d" Requires="am3d">
              <p:graphicFrame>
                <p:nvGraphicFramePr>
                  <p:cNvPr id="43" name="3D Model 42" descr="Light Gray Cuboid">
                    <a:extLst>
                      <a:ext uri="{FF2B5EF4-FFF2-40B4-BE49-F238E27FC236}">
                        <a16:creationId xmlns:a16="http://schemas.microsoft.com/office/drawing/2014/main" id="{6DD08A78-023A-7B8F-B378-CA897E275DE8}"/>
                      </a:ext>
                    </a:extLst>
                  </p:cNvPr>
                  <p:cNvGraphicFramePr>
                    <a:graphicFrameLocks noChangeAspect="1"/>
                  </p:cNvGraphicFramePr>
                  <p:nvPr>
                    <p:extLst>
                      <p:ext uri="{D42A27DB-BD31-4B8C-83A1-F6EECF244321}">
                        <p14:modId xmlns:p14="http://schemas.microsoft.com/office/powerpoint/2010/main" val="2499884068"/>
                      </p:ext>
                    </p:extLst>
                  </p:nvPr>
                </p:nvGraphicFramePr>
                <p:xfrm>
                  <a:off x="2487814" y="3445809"/>
                  <a:ext cx="1820432" cy="1693831"/>
                </p:xfrm>
                <a:graphic>
                  <a:graphicData uri="http://schemas.microsoft.com/office/drawing/2017/model3d">
                    <am3d:model3d r:embed="rId9">
                      <am3d:spPr>
                        <a:xfrm>
                          <a:off x="0" y="0"/>
                          <a:ext cx="1393308" cy="1296410"/>
                        </a:xfrm>
                        <a:prstGeom prst="rect">
                          <a:avLst/>
                        </a:prstGeom>
                      </am3d:spPr>
                      <am3d:camera>
                        <am3d:pos x="0" y="0" z="57664451"/>
                        <am3d:up dx="0" dy="36000000" dz="0"/>
                        <am3d:lookAt x="0" y="0" z="0"/>
                        <am3d:perspective fov="2700000"/>
                      </am3d:camera>
                      <am3d:trans>
                        <am3d:meterPerModelUnit n="4361393" d="1000000"/>
                        <am3d:preTrans dx="0" dy="-6493603" dz="0"/>
                        <am3d:scale>
                          <am3d:sx n="1000000" d="1000000"/>
                          <am3d:sy n="1000000" d="1000000"/>
                          <am3d:sz n="1000000" d="1000000"/>
                        </am3d:scale>
                        <am3d:rot ax="2513614" ay="2045549" az="1601622"/>
                        <am3d:postTrans dx="0" dy="0" dz="0"/>
                      </am3d:trans>
                      <am3d:raster rName="Office3DRenderer" rVer="16.0.8326">
                        <am3d:blip r:embed="rId10"/>
                      </am3d:raster>
                      <am3d:objViewport viewportSz="140104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3" name="3D Model 42" descr="Light Gray Cuboid">
                    <a:extLst>
                      <a:ext uri="{FF2B5EF4-FFF2-40B4-BE49-F238E27FC236}">
                        <a16:creationId xmlns:a16="http://schemas.microsoft.com/office/drawing/2014/main" id="{6DD08A78-023A-7B8F-B378-CA897E275DE8}"/>
                      </a:ext>
                    </a:extLst>
                  </p:cNvPr>
                  <p:cNvPicPr>
                    <a:picLocks noGrp="1" noRot="1" noChangeAspect="1" noMove="1" noResize="1" noEditPoints="1" noAdjustHandles="1" noChangeArrowheads="1" noChangeShapeType="1" noCrop="1"/>
                  </p:cNvPicPr>
                  <p:nvPr/>
                </p:nvPicPr>
                <p:blipFill>
                  <a:blip r:embed="rId10"/>
                  <a:stretch>
                    <a:fillRect/>
                  </a:stretch>
                </p:blipFill>
                <p:spPr>
                  <a:xfrm>
                    <a:off x="2037381" y="2649831"/>
                    <a:ext cx="1393308" cy="1296410"/>
                  </a:xfrm>
                  <a:prstGeom prst="rect">
                    <a:avLst/>
                  </a:prstGeom>
                </p:spPr>
              </p:pic>
            </mc:Fallback>
          </mc:AlternateContent>
          <p:sp>
            <p:nvSpPr>
              <p:cNvPr id="51" name="Flowchart: Magnetic Disk 50">
                <a:extLst>
                  <a:ext uri="{FF2B5EF4-FFF2-40B4-BE49-F238E27FC236}">
                    <a16:creationId xmlns:a16="http://schemas.microsoft.com/office/drawing/2014/main" id="{5F90406B-78D2-D6C2-9A09-5853B5094881}"/>
                  </a:ext>
                </a:extLst>
              </p:cNvPr>
              <p:cNvSpPr/>
              <p:nvPr/>
            </p:nvSpPr>
            <p:spPr>
              <a:xfrm rot="18378186">
                <a:off x="4377503" y="4623682"/>
                <a:ext cx="565133" cy="1027921"/>
              </a:xfrm>
              <a:prstGeom prst="flowChartMagneticDisk">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52" name="Flowchart: Magnetic Disk 51">
                <a:extLst>
                  <a:ext uri="{FF2B5EF4-FFF2-40B4-BE49-F238E27FC236}">
                    <a16:creationId xmlns:a16="http://schemas.microsoft.com/office/drawing/2014/main" id="{7E7ED0E7-881D-B117-E399-C36421CC3F8B}"/>
                  </a:ext>
                </a:extLst>
              </p:cNvPr>
              <p:cNvSpPr/>
              <p:nvPr/>
            </p:nvSpPr>
            <p:spPr>
              <a:xfrm rot="575894">
                <a:off x="3212105" y="2178665"/>
                <a:ext cx="565133" cy="102792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sp>
            <p:nvSpPr>
              <p:cNvPr id="50" name="Flowchart: Magnetic Disk 49">
                <a:extLst>
                  <a:ext uri="{FF2B5EF4-FFF2-40B4-BE49-F238E27FC236}">
                    <a16:creationId xmlns:a16="http://schemas.microsoft.com/office/drawing/2014/main" id="{1D1FC960-85BB-AA2E-26C5-C472136CC887}"/>
                  </a:ext>
                </a:extLst>
              </p:cNvPr>
              <p:cNvSpPr/>
              <p:nvPr/>
            </p:nvSpPr>
            <p:spPr>
              <a:xfrm rot="3123930">
                <a:off x="4810124" y="3033047"/>
                <a:ext cx="463179" cy="852552"/>
              </a:xfrm>
              <a:prstGeom prst="flowChartMagneticDisk">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p:cxnSp>
            <p:nvCxnSpPr>
              <p:cNvPr id="56" name="Straight Arrow Connector 55">
                <a:extLst>
                  <a:ext uri="{FF2B5EF4-FFF2-40B4-BE49-F238E27FC236}">
                    <a16:creationId xmlns:a16="http://schemas.microsoft.com/office/drawing/2014/main" id="{BBF37FF4-3ED6-83DF-84F0-0DD2AC956135}"/>
                  </a:ext>
                </a:extLst>
              </p:cNvPr>
              <p:cNvCxnSpPr>
                <a:cxnSpLocks/>
              </p:cNvCxnSpPr>
              <p:nvPr/>
            </p:nvCxnSpPr>
            <p:spPr>
              <a:xfrm flipH="1" flipV="1">
                <a:off x="4078575" y="4673961"/>
                <a:ext cx="341025" cy="25652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95FDE49F-3ACE-9109-4632-1B7139BEA484}"/>
                  </a:ext>
                </a:extLst>
              </p:cNvPr>
              <p:cNvCxnSpPr/>
              <p:nvPr/>
            </p:nvCxnSpPr>
            <p:spPr>
              <a:xfrm flipH="1">
                <a:off x="3571875" y="1812472"/>
                <a:ext cx="114300" cy="5569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21E09165-0E3A-AA43-D329-4EE8753048F0}"/>
                  </a:ext>
                </a:extLst>
              </p:cNvPr>
              <p:cNvCxnSpPr>
                <a:cxnSpLocks/>
              </p:cNvCxnSpPr>
              <p:nvPr/>
            </p:nvCxnSpPr>
            <p:spPr>
              <a:xfrm flipH="1">
                <a:off x="5268263" y="3128071"/>
                <a:ext cx="228250" cy="18162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20816C8A-9372-E77A-BF21-FFC630A3EBA9}"/>
                  </a:ext>
                </a:extLst>
              </p:cNvPr>
              <p:cNvCxnSpPr>
                <a:cxnSpLocks/>
              </p:cNvCxnSpPr>
              <p:nvPr/>
            </p:nvCxnSpPr>
            <p:spPr>
              <a:xfrm flipH="1" flipV="1">
                <a:off x="5080742" y="5420228"/>
                <a:ext cx="146558" cy="10323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D5CFE184-8559-14B1-380D-7BD1EDC5871A}"/>
                  </a:ext>
                </a:extLst>
              </p:cNvPr>
              <p:cNvCxnSpPr/>
              <p:nvPr/>
            </p:nvCxnSpPr>
            <p:spPr>
              <a:xfrm>
                <a:off x="2759846" y="4082476"/>
                <a:ext cx="47625" cy="2999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66806BF7-A5D2-6053-3B17-3A80F034CAF5}"/>
                  </a:ext>
                </a:extLst>
              </p:cNvPr>
              <p:cNvCxnSpPr>
                <a:cxnSpLocks/>
              </p:cNvCxnSpPr>
              <p:nvPr/>
            </p:nvCxnSpPr>
            <p:spPr>
              <a:xfrm flipH="1">
                <a:off x="3446877" y="4620565"/>
                <a:ext cx="27344" cy="3008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004BC639-2401-F0B9-E113-9D880A529C39}"/>
                  </a:ext>
                </a:extLst>
              </p:cNvPr>
              <p:cNvCxnSpPr>
                <a:cxnSpLocks/>
              </p:cNvCxnSpPr>
              <p:nvPr/>
            </p:nvCxnSpPr>
            <p:spPr>
              <a:xfrm>
                <a:off x="2766196" y="4106215"/>
                <a:ext cx="723900" cy="5429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EE1F1189-F06A-C3E8-1875-17EC7B13AD3B}"/>
                  </a:ext>
                </a:extLst>
              </p:cNvPr>
              <p:cNvCxnSpPr>
                <a:cxnSpLocks/>
              </p:cNvCxnSpPr>
              <p:nvPr/>
            </p:nvCxnSpPr>
            <p:spPr>
              <a:xfrm>
                <a:off x="2813821" y="4379265"/>
                <a:ext cx="622300" cy="5270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50" name="Freeform: Shape 1049">
                <a:extLst>
                  <a:ext uri="{FF2B5EF4-FFF2-40B4-BE49-F238E27FC236}">
                    <a16:creationId xmlns:a16="http://schemas.microsoft.com/office/drawing/2014/main" id="{E5CD6670-8C2E-8907-7A4A-719FFEBCE369}"/>
                  </a:ext>
                </a:extLst>
              </p:cNvPr>
              <p:cNvSpPr/>
              <p:nvPr/>
            </p:nvSpPr>
            <p:spPr>
              <a:xfrm>
                <a:off x="2759846" y="4106215"/>
                <a:ext cx="714375" cy="800099"/>
              </a:xfrm>
              <a:custGeom>
                <a:avLst/>
                <a:gdLst>
                  <a:gd name="connsiteX0" fmla="*/ 0 w 698500"/>
                  <a:gd name="connsiteY0" fmla="*/ 0 h 781050"/>
                  <a:gd name="connsiteX1" fmla="*/ 0 w 698500"/>
                  <a:gd name="connsiteY1" fmla="*/ 0 h 781050"/>
                  <a:gd name="connsiteX2" fmla="*/ 19050 w 698500"/>
                  <a:gd name="connsiteY2" fmla="*/ 57150 h 781050"/>
                  <a:gd name="connsiteX3" fmla="*/ 28575 w 698500"/>
                  <a:gd name="connsiteY3" fmla="*/ 82550 h 781050"/>
                  <a:gd name="connsiteX4" fmla="*/ 38100 w 698500"/>
                  <a:gd name="connsiteY4" fmla="*/ 114300 h 781050"/>
                  <a:gd name="connsiteX5" fmla="*/ 34925 w 698500"/>
                  <a:gd name="connsiteY5" fmla="*/ 168275 h 781050"/>
                  <a:gd name="connsiteX6" fmla="*/ 31750 w 698500"/>
                  <a:gd name="connsiteY6" fmla="*/ 180975 h 781050"/>
                  <a:gd name="connsiteX7" fmla="*/ 34925 w 698500"/>
                  <a:gd name="connsiteY7" fmla="*/ 260350 h 781050"/>
                  <a:gd name="connsiteX8" fmla="*/ 79375 w 698500"/>
                  <a:gd name="connsiteY8" fmla="*/ 288925 h 781050"/>
                  <a:gd name="connsiteX9" fmla="*/ 98425 w 698500"/>
                  <a:gd name="connsiteY9" fmla="*/ 307975 h 781050"/>
                  <a:gd name="connsiteX10" fmla="*/ 111125 w 698500"/>
                  <a:gd name="connsiteY10" fmla="*/ 320675 h 781050"/>
                  <a:gd name="connsiteX11" fmla="*/ 142875 w 698500"/>
                  <a:gd name="connsiteY11" fmla="*/ 349250 h 781050"/>
                  <a:gd name="connsiteX12" fmla="*/ 155575 w 698500"/>
                  <a:gd name="connsiteY12" fmla="*/ 361950 h 781050"/>
                  <a:gd name="connsiteX13" fmla="*/ 168275 w 698500"/>
                  <a:gd name="connsiteY13" fmla="*/ 374650 h 781050"/>
                  <a:gd name="connsiteX14" fmla="*/ 177800 w 698500"/>
                  <a:gd name="connsiteY14" fmla="*/ 381000 h 781050"/>
                  <a:gd name="connsiteX15" fmla="*/ 196850 w 698500"/>
                  <a:gd name="connsiteY15" fmla="*/ 400050 h 781050"/>
                  <a:gd name="connsiteX16" fmla="*/ 206375 w 698500"/>
                  <a:gd name="connsiteY16" fmla="*/ 406400 h 781050"/>
                  <a:gd name="connsiteX17" fmla="*/ 215900 w 698500"/>
                  <a:gd name="connsiteY17" fmla="*/ 419100 h 781050"/>
                  <a:gd name="connsiteX18" fmla="*/ 225425 w 698500"/>
                  <a:gd name="connsiteY18" fmla="*/ 425450 h 781050"/>
                  <a:gd name="connsiteX19" fmla="*/ 247650 w 698500"/>
                  <a:gd name="connsiteY19" fmla="*/ 441325 h 781050"/>
                  <a:gd name="connsiteX20" fmla="*/ 263525 w 698500"/>
                  <a:gd name="connsiteY20" fmla="*/ 457200 h 781050"/>
                  <a:gd name="connsiteX21" fmla="*/ 273050 w 698500"/>
                  <a:gd name="connsiteY21" fmla="*/ 466725 h 781050"/>
                  <a:gd name="connsiteX22" fmla="*/ 285750 w 698500"/>
                  <a:gd name="connsiteY22" fmla="*/ 469900 h 781050"/>
                  <a:gd name="connsiteX23" fmla="*/ 295275 w 698500"/>
                  <a:gd name="connsiteY23" fmla="*/ 476250 h 781050"/>
                  <a:gd name="connsiteX24" fmla="*/ 307975 w 698500"/>
                  <a:gd name="connsiteY24" fmla="*/ 479425 h 781050"/>
                  <a:gd name="connsiteX25" fmla="*/ 317500 w 698500"/>
                  <a:gd name="connsiteY25" fmla="*/ 482600 h 781050"/>
                  <a:gd name="connsiteX26" fmla="*/ 333375 w 698500"/>
                  <a:gd name="connsiteY26" fmla="*/ 495300 h 781050"/>
                  <a:gd name="connsiteX27" fmla="*/ 355600 w 698500"/>
                  <a:gd name="connsiteY27" fmla="*/ 511175 h 781050"/>
                  <a:gd name="connsiteX28" fmla="*/ 387350 w 698500"/>
                  <a:gd name="connsiteY28" fmla="*/ 546100 h 781050"/>
                  <a:gd name="connsiteX29" fmla="*/ 396875 w 698500"/>
                  <a:gd name="connsiteY29" fmla="*/ 549275 h 781050"/>
                  <a:gd name="connsiteX30" fmla="*/ 428625 w 698500"/>
                  <a:gd name="connsiteY30" fmla="*/ 577850 h 781050"/>
                  <a:gd name="connsiteX31" fmla="*/ 447675 w 698500"/>
                  <a:gd name="connsiteY31" fmla="*/ 596900 h 781050"/>
                  <a:gd name="connsiteX32" fmla="*/ 466725 w 698500"/>
                  <a:gd name="connsiteY32" fmla="*/ 615950 h 781050"/>
                  <a:gd name="connsiteX33" fmla="*/ 485775 w 698500"/>
                  <a:gd name="connsiteY33" fmla="*/ 625475 h 781050"/>
                  <a:gd name="connsiteX34" fmla="*/ 495300 w 698500"/>
                  <a:gd name="connsiteY34" fmla="*/ 631825 h 781050"/>
                  <a:gd name="connsiteX35" fmla="*/ 508000 w 698500"/>
                  <a:gd name="connsiteY35" fmla="*/ 638175 h 781050"/>
                  <a:gd name="connsiteX36" fmla="*/ 517525 w 698500"/>
                  <a:gd name="connsiteY36" fmla="*/ 641350 h 781050"/>
                  <a:gd name="connsiteX37" fmla="*/ 539750 w 698500"/>
                  <a:gd name="connsiteY37" fmla="*/ 650875 h 781050"/>
                  <a:gd name="connsiteX38" fmla="*/ 552450 w 698500"/>
                  <a:gd name="connsiteY38" fmla="*/ 660400 h 781050"/>
                  <a:gd name="connsiteX39" fmla="*/ 561975 w 698500"/>
                  <a:gd name="connsiteY39" fmla="*/ 663575 h 781050"/>
                  <a:gd name="connsiteX40" fmla="*/ 574675 w 698500"/>
                  <a:gd name="connsiteY40" fmla="*/ 676275 h 781050"/>
                  <a:gd name="connsiteX41" fmla="*/ 584200 w 698500"/>
                  <a:gd name="connsiteY41" fmla="*/ 688975 h 781050"/>
                  <a:gd name="connsiteX42" fmla="*/ 603250 w 698500"/>
                  <a:gd name="connsiteY42" fmla="*/ 708025 h 781050"/>
                  <a:gd name="connsiteX43" fmla="*/ 619125 w 698500"/>
                  <a:gd name="connsiteY43" fmla="*/ 723900 h 781050"/>
                  <a:gd name="connsiteX44" fmla="*/ 631825 w 698500"/>
                  <a:gd name="connsiteY44" fmla="*/ 742950 h 781050"/>
                  <a:gd name="connsiteX45" fmla="*/ 638175 w 698500"/>
                  <a:gd name="connsiteY45" fmla="*/ 752475 h 781050"/>
                  <a:gd name="connsiteX46" fmla="*/ 663575 w 698500"/>
                  <a:gd name="connsiteY46" fmla="*/ 771525 h 781050"/>
                  <a:gd name="connsiteX47" fmla="*/ 676275 w 698500"/>
                  <a:gd name="connsiteY47" fmla="*/ 781050 h 781050"/>
                  <a:gd name="connsiteX48" fmla="*/ 682625 w 698500"/>
                  <a:gd name="connsiteY48" fmla="*/ 657225 h 781050"/>
                  <a:gd name="connsiteX49" fmla="*/ 685800 w 698500"/>
                  <a:gd name="connsiteY49" fmla="*/ 644525 h 781050"/>
                  <a:gd name="connsiteX50" fmla="*/ 688975 w 698500"/>
                  <a:gd name="connsiteY50" fmla="*/ 622300 h 781050"/>
                  <a:gd name="connsiteX51" fmla="*/ 692150 w 698500"/>
                  <a:gd name="connsiteY51" fmla="*/ 555625 h 781050"/>
                  <a:gd name="connsiteX52" fmla="*/ 698500 w 698500"/>
                  <a:gd name="connsiteY52" fmla="*/ 542925 h 781050"/>
                  <a:gd name="connsiteX53" fmla="*/ 679450 w 698500"/>
                  <a:gd name="connsiteY53" fmla="*/ 508000 h 781050"/>
                  <a:gd name="connsiteX54" fmla="*/ 669925 w 698500"/>
                  <a:gd name="connsiteY54" fmla="*/ 504825 h 781050"/>
                  <a:gd name="connsiteX55" fmla="*/ 657225 w 698500"/>
                  <a:gd name="connsiteY55" fmla="*/ 495300 h 781050"/>
                  <a:gd name="connsiteX56" fmla="*/ 647700 w 698500"/>
                  <a:gd name="connsiteY56" fmla="*/ 488950 h 781050"/>
                  <a:gd name="connsiteX57" fmla="*/ 638175 w 698500"/>
                  <a:gd name="connsiteY57" fmla="*/ 479425 h 781050"/>
                  <a:gd name="connsiteX58" fmla="*/ 625475 w 698500"/>
                  <a:gd name="connsiteY58" fmla="*/ 476250 h 781050"/>
                  <a:gd name="connsiteX59" fmla="*/ 603250 w 698500"/>
                  <a:gd name="connsiteY59" fmla="*/ 463550 h 781050"/>
                  <a:gd name="connsiteX60" fmla="*/ 593725 w 698500"/>
                  <a:gd name="connsiteY60" fmla="*/ 457200 h 781050"/>
                  <a:gd name="connsiteX61" fmla="*/ 574675 w 698500"/>
                  <a:gd name="connsiteY61" fmla="*/ 450850 h 781050"/>
                  <a:gd name="connsiteX62" fmla="*/ 565150 w 698500"/>
                  <a:gd name="connsiteY62" fmla="*/ 441325 h 781050"/>
                  <a:gd name="connsiteX63" fmla="*/ 552450 w 698500"/>
                  <a:gd name="connsiteY63" fmla="*/ 434975 h 781050"/>
                  <a:gd name="connsiteX64" fmla="*/ 536575 w 698500"/>
                  <a:gd name="connsiteY64" fmla="*/ 425450 h 781050"/>
                  <a:gd name="connsiteX65" fmla="*/ 514350 w 698500"/>
                  <a:gd name="connsiteY65" fmla="*/ 412750 h 781050"/>
                  <a:gd name="connsiteX66" fmla="*/ 495300 w 698500"/>
                  <a:gd name="connsiteY66" fmla="*/ 400050 h 781050"/>
                  <a:gd name="connsiteX67" fmla="*/ 485775 w 698500"/>
                  <a:gd name="connsiteY67" fmla="*/ 393700 h 781050"/>
                  <a:gd name="connsiteX68" fmla="*/ 473075 w 698500"/>
                  <a:gd name="connsiteY68" fmla="*/ 387350 h 781050"/>
                  <a:gd name="connsiteX69" fmla="*/ 463550 w 698500"/>
                  <a:gd name="connsiteY69" fmla="*/ 377825 h 781050"/>
                  <a:gd name="connsiteX70" fmla="*/ 441325 w 698500"/>
                  <a:gd name="connsiteY70" fmla="*/ 365125 h 781050"/>
                  <a:gd name="connsiteX71" fmla="*/ 431800 w 698500"/>
                  <a:gd name="connsiteY71" fmla="*/ 358775 h 781050"/>
                  <a:gd name="connsiteX72" fmla="*/ 409575 w 698500"/>
                  <a:gd name="connsiteY72" fmla="*/ 352425 h 781050"/>
                  <a:gd name="connsiteX73" fmla="*/ 396875 w 698500"/>
                  <a:gd name="connsiteY73" fmla="*/ 346075 h 781050"/>
                  <a:gd name="connsiteX74" fmla="*/ 387350 w 698500"/>
                  <a:gd name="connsiteY74" fmla="*/ 336550 h 781050"/>
                  <a:gd name="connsiteX75" fmla="*/ 355600 w 698500"/>
                  <a:gd name="connsiteY75" fmla="*/ 314325 h 781050"/>
                  <a:gd name="connsiteX76" fmla="*/ 339725 w 698500"/>
                  <a:gd name="connsiteY76" fmla="*/ 295275 h 781050"/>
                  <a:gd name="connsiteX77" fmla="*/ 330200 w 698500"/>
                  <a:gd name="connsiteY77" fmla="*/ 285750 h 781050"/>
                  <a:gd name="connsiteX78" fmla="*/ 317500 w 698500"/>
                  <a:gd name="connsiteY78" fmla="*/ 276225 h 781050"/>
                  <a:gd name="connsiteX79" fmla="*/ 298450 w 698500"/>
                  <a:gd name="connsiteY79" fmla="*/ 250825 h 781050"/>
                  <a:gd name="connsiteX80" fmla="*/ 273050 w 698500"/>
                  <a:gd name="connsiteY80" fmla="*/ 228600 h 781050"/>
                  <a:gd name="connsiteX81" fmla="*/ 250825 w 698500"/>
                  <a:gd name="connsiteY81" fmla="*/ 200025 h 781050"/>
                  <a:gd name="connsiteX82" fmla="*/ 238125 w 698500"/>
                  <a:gd name="connsiteY82" fmla="*/ 184150 h 781050"/>
                  <a:gd name="connsiteX83" fmla="*/ 215900 w 698500"/>
                  <a:gd name="connsiteY83" fmla="*/ 161925 h 781050"/>
                  <a:gd name="connsiteX84" fmla="*/ 200025 w 698500"/>
                  <a:gd name="connsiteY84" fmla="*/ 149225 h 781050"/>
                  <a:gd name="connsiteX85" fmla="*/ 158750 w 698500"/>
                  <a:gd name="connsiteY85" fmla="*/ 107950 h 781050"/>
                  <a:gd name="connsiteX86" fmla="*/ 149225 w 698500"/>
                  <a:gd name="connsiteY86" fmla="*/ 98425 h 781050"/>
                  <a:gd name="connsiteX87" fmla="*/ 136525 w 698500"/>
                  <a:gd name="connsiteY87" fmla="*/ 88900 h 781050"/>
                  <a:gd name="connsiteX88" fmla="*/ 127000 w 698500"/>
                  <a:gd name="connsiteY88" fmla="*/ 79375 h 781050"/>
                  <a:gd name="connsiteX89" fmla="*/ 114300 w 698500"/>
                  <a:gd name="connsiteY89" fmla="*/ 73025 h 781050"/>
                  <a:gd name="connsiteX90" fmla="*/ 98425 w 698500"/>
                  <a:gd name="connsiteY90" fmla="*/ 63500 h 781050"/>
                  <a:gd name="connsiteX91" fmla="*/ 85725 w 698500"/>
                  <a:gd name="connsiteY91" fmla="*/ 53975 h 781050"/>
                  <a:gd name="connsiteX92" fmla="*/ 79375 w 698500"/>
                  <a:gd name="connsiteY92" fmla="*/ 44450 h 781050"/>
                  <a:gd name="connsiteX93" fmla="*/ 66675 w 698500"/>
                  <a:gd name="connsiteY93" fmla="*/ 38100 h 781050"/>
                  <a:gd name="connsiteX94" fmla="*/ 44450 w 698500"/>
                  <a:gd name="connsiteY94" fmla="*/ 25400 h 781050"/>
                  <a:gd name="connsiteX95" fmla="*/ 31750 w 698500"/>
                  <a:gd name="connsiteY95" fmla="*/ 15875 h 781050"/>
                  <a:gd name="connsiteX96" fmla="*/ 19050 w 698500"/>
                  <a:gd name="connsiteY96" fmla="*/ 12700 h 781050"/>
                  <a:gd name="connsiteX97" fmla="*/ 0 w 698500"/>
                  <a:gd name="connsiteY97"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500" h="781050">
                    <a:moveTo>
                      <a:pt x="0" y="0"/>
                    </a:moveTo>
                    <a:lnTo>
                      <a:pt x="0" y="0"/>
                    </a:lnTo>
                    <a:cubicBezTo>
                      <a:pt x="6350" y="19050"/>
                      <a:pt x="12481" y="38174"/>
                      <a:pt x="19050" y="57150"/>
                    </a:cubicBezTo>
                    <a:cubicBezTo>
                      <a:pt x="22008" y="65695"/>
                      <a:pt x="25534" y="74034"/>
                      <a:pt x="28575" y="82550"/>
                    </a:cubicBezTo>
                    <a:cubicBezTo>
                      <a:pt x="35017" y="100586"/>
                      <a:pt x="34141" y="98466"/>
                      <a:pt x="38100" y="114300"/>
                    </a:cubicBezTo>
                    <a:cubicBezTo>
                      <a:pt x="37042" y="132292"/>
                      <a:pt x="36634" y="150333"/>
                      <a:pt x="34925" y="168275"/>
                    </a:cubicBezTo>
                    <a:cubicBezTo>
                      <a:pt x="34511" y="172619"/>
                      <a:pt x="31750" y="176611"/>
                      <a:pt x="31750" y="180975"/>
                    </a:cubicBezTo>
                    <a:cubicBezTo>
                      <a:pt x="31750" y="207454"/>
                      <a:pt x="28908" y="234563"/>
                      <a:pt x="34925" y="260350"/>
                    </a:cubicBezTo>
                    <a:cubicBezTo>
                      <a:pt x="37947" y="273303"/>
                      <a:pt x="73264" y="282814"/>
                      <a:pt x="79375" y="288925"/>
                    </a:cubicBezTo>
                    <a:lnTo>
                      <a:pt x="98425" y="307975"/>
                    </a:lnTo>
                    <a:cubicBezTo>
                      <a:pt x="102658" y="312208"/>
                      <a:pt x="106144" y="317354"/>
                      <a:pt x="111125" y="320675"/>
                    </a:cubicBezTo>
                    <a:cubicBezTo>
                      <a:pt x="129367" y="332837"/>
                      <a:pt x="117952" y="324327"/>
                      <a:pt x="142875" y="349250"/>
                    </a:cubicBezTo>
                    <a:lnTo>
                      <a:pt x="155575" y="361950"/>
                    </a:lnTo>
                    <a:cubicBezTo>
                      <a:pt x="159808" y="366183"/>
                      <a:pt x="163294" y="371329"/>
                      <a:pt x="168275" y="374650"/>
                    </a:cubicBezTo>
                    <a:cubicBezTo>
                      <a:pt x="171450" y="376767"/>
                      <a:pt x="174948" y="378465"/>
                      <a:pt x="177800" y="381000"/>
                    </a:cubicBezTo>
                    <a:cubicBezTo>
                      <a:pt x="184512" y="386966"/>
                      <a:pt x="189378" y="395069"/>
                      <a:pt x="196850" y="400050"/>
                    </a:cubicBezTo>
                    <a:cubicBezTo>
                      <a:pt x="200025" y="402167"/>
                      <a:pt x="203677" y="403702"/>
                      <a:pt x="206375" y="406400"/>
                    </a:cubicBezTo>
                    <a:cubicBezTo>
                      <a:pt x="210117" y="410142"/>
                      <a:pt x="212158" y="415358"/>
                      <a:pt x="215900" y="419100"/>
                    </a:cubicBezTo>
                    <a:cubicBezTo>
                      <a:pt x="218598" y="421798"/>
                      <a:pt x="222494" y="423007"/>
                      <a:pt x="225425" y="425450"/>
                    </a:cubicBezTo>
                    <a:cubicBezTo>
                      <a:pt x="244733" y="441540"/>
                      <a:pt x="224150" y="429575"/>
                      <a:pt x="247650" y="441325"/>
                    </a:cubicBezTo>
                    <a:cubicBezTo>
                      <a:pt x="259292" y="458787"/>
                      <a:pt x="247650" y="443971"/>
                      <a:pt x="263525" y="457200"/>
                    </a:cubicBezTo>
                    <a:cubicBezTo>
                      <a:pt x="266974" y="460075"/>
                      <a:pt x="269151" y="464497"/>
                      <a:pt x="273050" y="466725"/>
                    </a:cubicBezTo>
                    <a:cubicBezTo>
                      <a:pt x="276839" y="468890"/>
                      <a:pt x="281517" y="468842"/>
                      <a:pt x="285750" y="469900"/>
                    </a:cubicBezTo>
                    <a:cubicBezTo>
                      <a:pt x="288925" y="472017"/>
                      <a:pt x="291768" y="474747"/>
                      <a:pt x="295275" y="476250"/>
                    </a:cubicBezTo>
                    <a:cubicBezTo>
                      <a:pt x="299286" y="477969"/>
                      <a:pt x="303779" y="478226"/>
                      <a:pt x="307975" y="479425"/>
                    </a:cubicBezTo>
                    <a:cubicBezTo>
                      <a:pt x="311193" y="480344"/>
                      <a:pt x="314325" y="481542"/>
                      <a:pt x="317500" y="482600"/>
                    </a:cubicBezTo>
                    <a:cubicBezTo>
                      <a:pt x="322792" y="486833"/>
                      <a:pt x="327954" y="491234"/>
                      <a:pt x="333375" y="495300"/>
                    </a:cubicBezTo>
                    <a:cubicBezTo>
                      <a:pt x="340586" y="500708"/>
                      <a:pt x="349162" y="504737"/>
                      <a:pt x="355600" y="511175"/>
                    </a:cubicBezTo>
                    <a:cubicBezTo>
                      <a:pt x="366202" y="521777"/>
                      <a:pt x="371698" y="540883"/>
                      <a:pt x="387350" y="546100"/>
                    </a:cubicBezTo>
                    <a:lnTo>
                      <a:pt x="396875" y="549275"/>
                    </a:lnTo>
                    <a:cubicBezTo>
                      <a:pt x="421798" y="574198"/>
                      <a:pt x="410383" y="565688"/>
                      <a:pt x="428625" y="577850"/>
                    </a:cubicBezTo>
                    <a:cubicBezTo>
                      <a:pt x="440750" y="596038"/>
                      <a:pt x="427984" y="579178"/>
                      <a:pt x="447675" y="596900"/>
                    </a:cubicBezTo>
                    <a:cubicBezTo>
                      <a:pt x="454350" y="602907"/>
                      <a:pt x="459253" y="610969"/>
                      <a:pt x="466725" y="615950"/>
                    </a:cubicBezTo>
                    <a:cubicBezTo>
                      <a:pt x="494022" y="634148"/>
                      <a:pt x="459485" y="612330"/>
                      <a:pt x="485775" y="625475"/>
                    </a:cubicBezTo>
                    <a:cubicBezTo>
                      <a:pt x="489188" y="627182"/>
                      <a:pt x="491987" y="629932"/>
                      <a:pt x="495300" y="631825"/>
                    </a:cubicBezTo>
                    <a:cubicBezTo>
                      <a:pt x="499409" y="634173"/>
                      <a:pt x="503650" y="636311"/>
                      <a:pt x="508000" y="638175"/>
                    </a:cubicBezTo>
                    <a:cubicBezTo>
                      <a:pt x="511076" y="639493"/>
                      <a:pt x="514532" y="639853"/>
                      <a:pt x="517525" y="641350"/>
                    </a:cubicBezTo>
                    <a:cubicBezTo>
                      <a:pt x="539451" y="652313"/>
                      <a:pt x="513319" y="644267"/>
                      <a:pt x="539750" y="650875"/>
                    </a:cubicBezTo>
                    <a:cubicBezTo>
                      <a:pt x="543983" y="654050"/>
                      <a:pt x="547856" y="657775"/>
                      <a:pt x="552450" y="660400"/>
                    </a:cubicBezTo>
                    <a:cubicBezTo>
                      <a:pt x="555356" y="662060"/>
                      <a:pt x="559252" y="661630"/>
                      <a:pt x="561975" y="663575"/>
                    </a:cubicBezTo>
                    <a:cubicBezTo>
                      <a:pt x="566847" y="667055"/>
                      <a:pt x="570733" y="671769"/>
                      <a:pt x="574675" y="676275"/>
                    </a:cubicBezTo>
                    <a:cubicBezTo>
                      <a:pt x="578160" y="680257"/>
                      <a:pt x="580660" y="685042"/>
                      <a:pt x="584200" y="688975"/>
                    </a:cubicBezTo>
                    <a:cubicBezTo>
                      <a:pt x="590207" y="695650"/>
                      <a:pt x="598269" y="700553"/>
                      <a:pt x="603250" y="708025"/>
                    </a:cubicBezTo>
                    <a:cubicBezTo>
                      <a:pt x="611717" y="720725"/>
                      <a:pt x="606425" y="715433"/>
                      <a:pt x="619125" y="723900"/>
                    </a:cubicBezTo>
                    <a:lnTo>
                      <a:pt x="631825" y="742950"/>
                    </a:lnTo>
                    <a:cubicBezTo>
                      <a:pt x="633942" y="746125"/>
                      <a:pt x="635122" y="750185"/>
                      <a:pt x="638175" y="752475"/>
                    </a:cubicBezTo>
                    <a:lnTo>
                      <a:pt x="663575" y="771525"/>
                    </a:lnTo>
                    <a:lnTo>
                      <a:pt x="676275" y="781050"/>
                    </a:lnTo>
                    <a:cubicBezTo>
                      <a:pt x="676947" y="766262"/>
                      <a:pt x="680649" y="677968"/>
                      <a:pt x="682625" y="657225"/>
                    </a:cubicBezTo>
                    <a:cubicBezTo>
                      <a:pt x="683039" y="652881"/>
                      <a:pt x="685019" y="648818"/>
                      <a:pt x="685800" y="644525"/>
                    </a:cubicBezTo>
                    <a:cubicBezTo>
                      <a:pt x="687139" y="637162"/>
                      <a:pt x="687917" y="629708"/>
                      <a:pt x="688975" y="622300"/>
                    </a:cubicBezTo>
                    <a:cubicBezTo>
                      <a:pt x="690033" y="600075"/>
                      <a:pt x="689499" y="577717"/>
                      <a:pt x="692150" y="555625"/>
                    </a:cubicBezTo>
                    <a:cubicBezTo>
                      <a:pt x="692714" y="550926"/>
                      <a:pt x="698500" y="547658"/>
                      <a:pt x="698500" y="542925"/>
                    </a:cubicBezTo>
                    <a:cubicBezTo>
                      <a:pt x="698500" y="531276"/>
                      <a:pt x="687733" y="515100"/>
                      <a:pt x="679450" y="508000"/>
                    </a:cubicBezTo>
                    <a:cubicBezTo>
                      <a:pt x="676909" y="505822"/>
                      <a:pt x="673100" y="505883"/>
                      <a:pt x="669925" y="504825"/>
                    </a:cubicBezTo>
                    <a:cubicBezTo>
                      <a:pt x="665692" y="501650"/>
                      <a:pt x="661531" y="498376"/>
                      <a:pt x="657225" y="495300"/>
                    </a:cubicBezTo>
                    <a:cubicBezTo>
                      <a:pt x="654120" y="493082"/>
                      <a:pt x="650631" y="491393"/>
                      <a:pt x="647700" y="488950"/>
                    </a:cubicBezTo>
                    <a:cubicBezTo>
                      <a:pt x="644251" y="486075"/>
                      <a:pt x="642074" y="481653"/>
                      <a:pt x="638175" y="479425"/>
                    </a:cubicBezTo>
                    <a:cubicBezTo>
                      <a:pt x="634386" y="477260"/>
                      <a:pt x="629708" y="477308"/>
                      <a:pt x="625475" y="476250"/>
                    </a:cubicBezTo>
                    <a:cubicBezTo>
                      <a:pt x="602269" y="460779"/>
                      <a:pt x="631448" y="479663"/>
                      <a:pt x="603250" y="463550"/>
                    </a:cubicBezTo>
                    <a:cubicBezTo>
                      <a:pt x="599937" y="461657"/>
                      <a:pt x="597212" y="458750"/>
                      <a:pt x="593725" y="457200"/>
                    </a:cubicBezTo>
                    <a:cubicBezTo>
                      <a:pt x="587608" y="454482"/>
                      <a:pt x="574675" y="450850"/>
                      <a:pt x="574675" y="450850"/>
                    </a:cubicBezTo>
                    <a:cubicBezTo>
                      <a:pt x="571500" y="447675"/>
                      <a:pt x="568804" y="443935"/>
                      <a:pt x="565150" y="441325"/>
                    </a:cubicBezTo>
                    <a:cubicBezTo>
                      <a:pt x="561299" y="438574"/>
                      <a:pt x="556587" y="437274"/>
                      <a:pt x="552450" y="434975"/>
                    </a:cubicBezTo>
                    <a:cubicBezTo>
                      <a:pt x="547055" y="431978"/>
                      <a:pt x="541512" y="429153"/>
                      <a:pt x="536575" y="425450"/>
                    </a:cubicBezTo>
                    <a:cubicBezTo>
                      <a:pt x="517659" y="411263"/>
                      <a:pt x="537534" y="418546"/>
                      <a:pt x="514350" y="412750"/>
                    </a:cubicBezTo>
                    <a:lnTo>
                      <a:pt x="495300" y="400050"/>
                    </a:lnTo>
                    <a:cubicBezTo>
                      <a:pt x="492125" y="397933"/>
                      <a:pt x="489188" y="395407"/>
                      <a:pt x="485775" y="393700"/>
                    </a:cubicBezTo>
                    <a:cubicBezTo>
                      <a:pt x="481542" y="391583"/>
                      <a:pt x="476926" y="390101"/>
                      <a:pt x="473075" y="387350"/>
                    </a:cubicBezTo>
                    <a:cubicBezTo>
                      <a:pt x="469421" y="384740"/>
                      <a:pt x="466999" y="380700"/>
                      <a:pt x="463550" y="377825"/>
                    </a:cubicBezTo>
                    <a:cubicBezTo>
                      <a:pt x="455111" y="370793"/>
                      <a:pt x="451206" y="370771"/>
                      <a:pt x="441325" y="365125"/>
                    </a:cubicBezTo>
                    <a:cubicBezTo>
                      <a:pt x="438012" y="363232"/>
                      <a:pt x="435213" y="360482"/>
                      <a:pt x="431800" y="358775"/>
                    </a:cubicBezTo>
                    <a:cubicBezTo>
                      <a:pt x="424124" y="354937"/>
                      <a:pt x="417713" y="355477"/>
                      <a:pt x="409575" y="352425"/>
                    </a:cubicBezTo>
                    <a:cubicBezTo>
                      <a:pt x="405143" y="350763"/>
                      <a:pt x="400726" y="348826"/>
                      <a:pt x="396875" y="346075"/>
                    </a:cubicBezTo>
                    <a:cubicBezTo>
                      <a:pt x="393221" y="343465"/>
                      <a:pt x="390759" y="339472"/>
                      <a:pt x="387350" y="336550"/>
                    </a:cubicBezTo>
                    <a:cubicBezTo>
                      <a:pt x="371166" y="322678"/>
                      <a:pt x="375273" y="329626"/>
                      <a:pt x="355600" y="314325"/>
                    </a:cubicBezTo>
                    <a:cubicBezTo>
                      <a:pt x="342419" y="304073"/>
                      <a:pt x="349380" y="306861"/>
                      <a:pt x="339725" y="295275"/>
                    </a:cubicBezTo>
                    <a:cubicBezTo>
                      <a:pt x="336850" y="291826"/>
                      <a:pt x="333609" y="288672"/>
                      <a:pt x="330200" y="285750"/>
                    </a:cubicBezTo>
                    <a:cubicBezTo>
                      <a:pt x="326182" y="282306"/>
                      <a:pt x="321060" y="280141"/>
                      <a:pt x="317500" y="276225"/>
                    </a:cubicBezTo>
                    <a:cubicBezTo>
                      <a:pt x="310381" y="268394"/>
                      <a:pt x="306917" y="257175"/>
                      <a:pt x="298450" y="250825"/>
                    </a:cubicBezTo>
                    <a:cubicBezTo>
                      <a:pt x="287080" y="242297"/>
                      <a:pt x="282569" y="239850"/>
                      <a:pt x="273050" y="228600"/>
                    </a:cubicBezTo>
                    <a:cubicBezTo>
                      <a:pt x="265256" y="219388"/>
                      <a:pt x="258280" y="209513"/>
                      <a:pt x="250825" y="200025"/>
                    </a:cubicBezTo>
                    <a:cubicBezTo>
                      <a:pt x="246638" y="194696"/>
                      <a:pt x="242917" y="188942"/>
                      <a:pt x="238125" y="184150"/>
                    </a:cubicBezTo>
                    <a:cubicBezTo>
                      <a:pt x="230717" y="176742"/>
                      <a:pt x="224081" y="168470"/>
                      <a:pt x="215900" y="161925"/>
                    </a:cubicBezTo>
                    <a:cubicBezTo>
                      <a:pt x="210608" y="157692"/>
                      <a:pt x="204979" y="153849"/>
                      <a:pt x="200025" y="149225"/>
                    </a:cubicBezTo>
                    <a:lnTo>
                      <a:pt x="158750" y="107950"/>
                    </a:lnTo>
                    <a:cubicBezTo>
                      <a:pt x="155575" y="104775"/>
                      <a:pt x="152817" y="101119"/>
                      <a:pt x="149225" y="98425"/>
                    </a:cubicBezTo>
                    <a:cubicBezTo>
                      <a:pt x="144992" y="95250"/>
                      <a:pt x="140543" y="92344"/>
                      <a:pt x="136525" y="88900"/>
                    </a:cubicBezTo>
                    <a:cubicBezTo>
                      <a:pt x="133116" y="85978"/>
                      <a:pt x="130654" y="81985"/>
                      <a:pt x="127000" y="79375"/>
                    </a:cubicBezTo>
                    <a:cubicBezTo>
                      <a:pt x="123149" y="76624"/>
                      <a:pt x="118437" y="75324"/>
                      <a:pt x="114300" y="73025"/>
                    </a:cubicBezTo>
                    <a:cubicBezTo>
                      <a:pt x="108905" y="70028"/>
                      <a:pt x="103560" y="66923"/>
                      <a:pt x="98425" y="63500"/>
                    </a:cubicBezTo>
                    <a:cubicBezTo>
                      <a:pt x="94022" y="60565"/>
                      <a:pt x="89467" y="57717"/>
                      <a:pt x="85725" y="53975"/>
                    </a:cubicBezTo>
                    <a:cubicBezTo>
                      <a:pt x="83027" y="51277"/>
                      <a:pt x="82306" y="46893"/>
                      <a:pt x="79375" y="44450"/>
                    </a:cubicBezTo>
                    <a:cubicBezTo>
                      <a:pt x="75739" y="41420"/>
                      <a:pt x="70689" y="40608"/>
                      <a:pt x="66675" y="38100"/>
                    </a:cubicBezTo>
                    <a:cubicBezTo>
                      <a:pt x="44707" y="24370"/>
                      <a:pt x="63163" y="31638"/>
                      <a:pt x="44450" y="25400"/>
                    </a:cubicBezTo>
                    <a:cubicBezTo>
                      <a:pt x="40217" y="22225"/>
                      <a:pt x="36483" y="18242"/>
                      <a:pt x="31750" y="15875"/>
                    </a:cubicBezTo>
                    <a:cubicBezTo>
                      <a:pt x="27847" y="13924"/>
                      <a:pt x="23283" y="13758"/>
                      <a:pt x="19050" y="12700"/>
                    </a:cubicBezTo>
                    <a:lnTo>
                      <a:pt x="0" y="0"/>
                    </a:lnTo>
                    <a:close/>
                  </a:path>
                </a:pathLst>
              </a:custGeom>
              <a:solidFill>
                <a:schemeClr val="tx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US" sz="2000" dirty="0" err="1">
                  <a:latin typeface="Calibri" panose="020F0502020204030204" pitchFamily="34" charset="0"/>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11">
                <p14:nvContentPartPr>
                  <p14:cNvPr id="1051" name="Ink 1050">
                    <a:extLst>
                      <a:ext uri="{FF2B5EF4-FFF2-40B4-BE49-F238E27FC236}">
                        <a16:creationId xmlns:a16="http://schemas.microsoft.com/office/drawing/2014/main" id="{41B0C3AB-70FD-42F2-963B-16D9AD6BCEDA}"/>
                      </a:ext>
                    </a:extLst>
                  </p14:cNvPr>
                  <p14:cNvContentPartPr/>
                  <p14:nvPr/>
                </p14:nvContentPartPr>
                <p14:xfrm>
                  <a:off x="3279896" y="4578925"/>
                  <a:ext cx="12240" cy="6480"/>
                </p14:xfrm>
              </p:contentPart>
            </mc:Choice>
            <mc:Fallback xmlns="">
              <p:pic>
                <p:nvPicPr>
                  <p:cNvPr id="1051" name="Ink 1050">
                    <a:extLst>
                      <a:ext uri="{FF2B5EF4-FFF2-40B4-BE49-F238E27FC236}">
                        <a16:creationId xmlns:a16="http://schemas.microsoft.com/office/drawing/2014/main" id="{41B0C3AB-70FD-42F2-963B-16D9AD6BCEDA}"/>
                      </a:ext>
                    </a:extLst>
                  </p:cNvPr>
                  <p:cNvPicPr/>
                  <p:nvPr/>
                </p:nvPicPr>
                <p:blipFill>
                  <a:blip r:embed="rId12"/>
                  <a:stretch>
                    <a:fillRect/>
                  </a:stretch>
                </p:blipFill>
                <p:spPr>
                  <a:xfrm>
                    <a:off x="3268127" y="4567354"/>
                    <a:ext cx="35308"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052" name="Ink 1051">
                    <a:extLst>
                      <a:ext uri="{FF2B5EF4-FFF2-40B4-BE49-F238E27FC236}">
                        <a16:creationId xmlns:a16="http://schemas.microsoft.com/office/drawing/2014/main" id="{541B64E6-B10B-AC81-1360-FA5EE726D8C3}"/>
                      </a:ext>
                    </a:extLst>
                  </p14:cNvPr>
                  <p14:cNvContentPartPr/>
                  <p14:nvPr/>
                </p14:nvContentPartPr>
                <p14:xfrm>
                  <a:off x="3004856" y="4315045"/>
                  <a:ext cx="339120" cy="290880"/>
                </p14:xfrm>
              </p:contentPart>
            </mc:Choice>
            <mc:Fallback xmlns="">
              <p:pic>
                <p:nvPicPr>
                  <p:cNvPr id="1052" name="Ink 1051">
                    <a:extLst>
                      <a:ext uri="{FF2B5EF4-FFF2-40B4-BE49-F238E27FC236}">
                        <a16:creationId xmlns:a16="http://schemas.microsoft.com/office/drawing/2014/main" id="{541B64E6-B10B-AC81-1360-FA5EE726D8C3}"/>
                      </a:ext>
                    </a:extLst>
                  </p:cNvPr>
                  <p:cNvPicPr/>
                  <p:nvPr/>
                </p:nvPicPr>
                <p:blipFill>
                  <a:blip r:embed="rId14"/>
                  <a:stretch>
                    <a:fillRect/>
                  </a:stretch>
                </p:blipFill>
                <p:spPr>
                  <a:xfrm>
                    <a:off x="2993097" y="4303297"/>
                    <a:ext cx="362167" cy="313906"/>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053" name="Ink 1052">
                    <a:extLst>
                      <a:ext uri="{FF2B5EF4-FFF2-40B4-BE49-F238E27FC236}">
                        <a16:creationId xmlns:a16="http://schemas.microsoft.com/office/drawing/2014/main" id="{C17980EB-9F52-3664-D104-B97F525270CA}"/>
                      </a:ext>
                    </a:extLst>
                  </p14:cNvPr>
                  <p14:cNvContentPartPr/>
                  <p14:nvPr/>
                </p14:nvContentPartPr>
                <p14:xfrm>
                  <a:off x="3044816" y="4357165"/>
                  <a:ext cx="210240" cy="167400"/>
                </p14:xfrm>
              </p:contentPart>
            </mc:Choice>
            <mc:Fallback xmlns="">
              <p:pic>
                <p:nvPicPr>
                  <p:cNvPr id="1053" name="Ink 1052">
                    <a:extLst>
                      <a:ext uri="{FF2B5EF4-FFF2-40B4-BE49-F238E27FC236}">
                        <a16:creationId xmlns:a16="http://schemas.microsoft.com/office/drawing/2014/main" id="{C17980EB-9F52-3664-D104-B97F525270CA}"/>
                      </a:ext>
                    </a:extLst>
                  </p:cNvPr>
                  <p:cNvPicPr/>
                  <p:nvPr/>
                </p:nvPicPr>
                <p:blipFill>
                  <a:blip r:embed="rId16"/>
                  <a:stretch>
                    <a:fillRect/>
                  </a:stretch>
                </p:blipFill>
                <p:spPr>
                  <a:xfrm>
                    <a:off x="3033058" y="4345409"/>
                    <a:ext cx="233286" cy="190441"/>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054" name="Ink 1053">
                    <a:extLst>
                      <a:ext uri="{FF2B5EF4-FFF2-40B4-BE49-F238E27FC236}">
                        <a16:creationId xmlns:a16="http://schemas.microsoft.com/office/drawing/2014/main" id="{03C660B9-B4E9-F784-FBCA-B57D1DB2C56B}"/>
                      </a:ext>
                    </a:extLst>
                  </p14:cNvPr>
                  <p14:cNvContentPartPr/>
                  <p14:nvPr/>
                </p14:nvContentPartPr>
                <p14:xfrm>
                  <a:off x="2991536" y="4292725"/>
                  <a:ext cx="380160" cy="309960"/>
                </p14:xfrm>
              </p:contentPart>
            </mc:Choice>
            <mc:Fallback xmlns="">
              <p:pic>
                <p:nvPicPr>
                  <p:cNvPr id="1054" name="Ink 1053">
                    <a:extLst>
                      <a:ext uri="{FF2B5EF4-FFF2-40B4-BE49-F238E27FC236}">
                        <a16:creationId xmlns:a16="http://schemas.microsoft.com/office/drawing/2014/main" id="{03C660B9-B4E9-F784-FBCA-B57D1DB2C56B}"/>
                      </a:ext>
                    </a:extLst>
                  </p:cNvPr>
                  <p:cNvPicPr/>
                  <p:nvPr/>
                </p:nvPicPr>
                <p:blipFill>
                  <a:blip r:embed="rId18"/>
                  <a:stretch>
                    <a:fillRect/>
                  </a:stretch>
                </p:blipFill>
                <p:spPr>
                  <a:xfrm>
                    <a:off x="2979774" y="4280966"/>
                    <a:ext cx="403214" cy="333007"/>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055" name="Ink 1054">
                    <a:extLst>
                      <a:ext uri="{FF2B5EF4-FFF2-40B4-BE49-F238E27FC236}">
                        <a16:creationId xmlns:a16="http://schemas.microsoft.com/office/drawing/2014/main" id="{DD9B9B2C-AE04-CB10-8DA2-58081870F010}"/>
                      </a:ext>
                    </a:extLst>
                  </p14:cNvPr>
                  <p14:cNvContentPartPr/>
                  <p14:nvPr/>
                </p14:nvContentPartPr>
                <p14:xfrm>
                  <a:off x="3280256" y="4743085"/>
                  <a:ext cx="129600" cy="101520"/>
                </p14:xfrm>
              </p:contentPart>
            </mc:Choice>
            <mc:Fallback xmlns="">
              <p:pic>
                <p:nvPicPr>
                  <p:cNvPr id="1055" name="Ink 1054">
                    <a:extLst>
                      <a:ext uri="{FF2B5EF4-FFF2-40B4-BE49-F238E27FC236}">
                        <a16:creationId xmlns:a16="http://schemas.microsoft.com/office/drawing/2014/main" id="{DD9B9B2C-AE04-CB10-8DA2-58081870F010}"/>
                      </a:ext>
                    </a:extLst>
                  </p:cNvPr>
                  <p:cNvPicPr/>
                  <p:nvPr/>
                </p:nvPicPr>
                <p:blipFill>
                  <a:blip r:embed="rId20"/>
                  <a:stretch>
                    <a:fillRect/>
                  </a:stretch>
                </p:blipFill>
                <p:spPr>
                  <a:xfrm>
                    <a:off x="3268474" y="4731335"/>
                    <a:ext cx="152692" cy="12455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056" name="Ink 1055">
                    <a:extLst>
                      <a:ext uri="{FF2B5EF4-FFF2-40B4-BE49-F238E27FC236}">
                        <a16:creationId xmlns:a16="http://schemas.microsoft.com/office/drawing/2014/main" id="{01C39C90-37B9-C56F-2BCE-857B05D9BA1A}"/>
                      </a:ext>
                    </a:extLst>
                  </p14:cNvPr>
                  <p14:cNvContentPartPr/>
                  <p14:nvPr/>
                </p14:nvContentPartPr>
                <p14:xfrm>
                  <a:off x="3359456" y="4796725"/>
                  <a:ext cx="67680" cy="96120"/>
                </p14:xfrm>
              </p:contentPart>
            </mc:Choice>
            <mc:Fallback xmlns="">
              <p:pic>
                <p:nvPicPr>
                  <p:cNvPr id="1056" name="Ink 1055">
                    <a:extLst>
                      <a:ext uri="{FF2B5EF4-FFF2-40B4-BE49-F238E27FC236}">
                        <a16:creationId xmlns:a16="http://schemas.microsoft.com/office/drawing/2014/main" id="{01C39C90-37B9-C56F-2BCE-857B05D9BA1A}"/>
                      </a:ext>
                    </a:extLst>
                  </p:cNvPr>
                  <p:cNvPicPr/>
                  <p:nvPr/>
                </p:nvPicPr>
                <p:blipFill>
                  <a:blip r:embed="rId22"/>
                  <a:stretch>
                    <a:fillRect/>
                  </a:stretch>
                </p:blipFill>
                <p:spPr>
                  <a:xfrm>
                    <a:off x="3347624" y="4785003"/>
                    <a:ext cx="90871" cy="119095"/>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057" name="Ink 1056">
                    <a:extLst>
                      <a:ext uri="{FF2B5EF4-FFF2-40B4-BE49-F238E27FC236}">
                        <a16:creationId xmlns:a16="http://schemas.microsoft.com/office/drawing/2014/main" id="{02B4CDA5-992F-ED2B-BDC8-001252EACCF4}"/>
                      </a:ext>
                    </a:extLst>
                  </p14:cNvPr>
                  <p14:cNvContentPartPr/>
                  <p14:nvPr/>
                </p14:nvContentPartPr>
                <p14:xfrm>
                  <a:off x="2801096" y="4202005"/>
                  <a:ext cx="37800" cy="115200"/>
                </p14:xfrm>
              </p:contentPart>
            </mc:Choice>
            <mc:Fallback xmlns="">
              <p:pic>
                <p:nvPicPr>
                  <p:cNvPr id="1057" name="Ink 1056">
                    <a:extLst>
                      <a:ext uri="{FF2B5EF4-FFF2-40B4-BE49-F238E27FC236}">
                        <a16:creationId xmlns:a16="http://schemas.microsoft.com/office/drawing/2014/main" id="{02B4CDA5-992F-ED2B-BDC8-001252EACCF4}"/>
                      </a:ext>
                    </a:extLst>
                  </p:cNvPr>
                  <p:cNvPicPr/>
                  <p:nvPr/>
                </p:nvPicPr>
                <p:blipFill>
                  <a:blip r:embed="rId24"/>
                  <a:stretch>
                    <a:fillRect/>
                  </a:stretch>
                </p:blipFill>
                <p:spPr>
                  <a:xfrm>
                    <a:off x="2789429" y="4190250"/>
                    <a:ext cx="60667" cy="138240"/>
                  </a:xfrm>
                  <a:prstGeom prst="rect">
                    <a:avLst/>
                  </a:prstGeom>
                </p:spPr>
              </p:pic>
            </mc:Fallback>
          </mc:AlternateContent>
          <p:cxnSp>
            <p:nvCxnSpPr>
              <p:cNvPr id="1058" name="Straight Connector 1057">
                <a:extLst>
                  <a:ext uri="{FF2B5EF4-FFF2-40B4-BE49-F238E27FC236}">
                    <a16:creationId xmlns:a16="http://schemas.microsoft.com/office/drawing/2014/main" id="{B884CFEE-674C-D0CB-3B81-540FBF97A5CB}"/>
                  </a:ext>
                </a:extLst>
              </p:cNvPr>
              <p:cNvCxnSpPr>
                <a:cxnSpLocks/>
              </p:cNvCxnSpPr>
              <p:nvPr/>
            </p:nvCxnSpPr>
            <p:spPr>
              <a:xfrm flipH="1">
                <a:off x="3770451" y="4629267"/>
                <a:ext cx="31750" cy="2921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76C61490-7AFF-4233-6AE4-319DFF7C625D}"/>
                  </a:ext>
                </a:extLst>
              </p:cNvPr>
              <p:cNvCxnSpPr>
                <a:cxnSpLocks/>
              </p:cNvCxnSpPr>
              <p:nvPr/>
            </p:nvCxnSpPr>
            <p:spPr>
              <a:xfrm flipH="1">
                <a:off x="4134621" y="4302242"/>
                <a:ext cx="78613" cy="34372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D0C3229-4FC6-84D2-C08A-9795360147E3}"/>
                  </a:ext>
                </a:extLst>
              </p:cNvPr>
              <p:cNvCxnSpPr>
                <a:cxnSpLocks/>
              </p:cNvCxnSpPr>
              <p:nvPr/>
            </p:nvCxnSpPr>
            <p:spPr>
              <a:xfrm flipV="1">
                <a:off x="3788546" y="4312590"/>
                <a:ext cx="422275" cy="3365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EF349291-AFCF-4E63-8D9D-1C53670F87A7}"/>
                  </a:ext>
                </a:extLst>
              </p:cNvPr>
              <p:cNvCxnSpPr>
                <a:cxnSpLocks/>
              </p:cNvCxnSpPr>
              <p:nvPr/>
            </p:nvCxnSpPr>
            <p:spPr>
              <a:xfrm flipV="1">
                <a:off x="3765366" y="4639615"/>
                <a:ext cx="366080" cy="2706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5">
                <p14:nvContentPartPr>
                  <p14:cNvPr id="1062" name="Ink 1061">
                    <a:extLst>
                      <a:ext uri="{FF2B5EF4-FFF2-40B4-BE49-F238E27FC236}">
                        <a16:creationId xmlns:a16="http://schemas.microsoft.com/office/drawing/2014/main" id="{1C7790E4-4DFD-D001-EC48-ABA67CD0425E}"/>
                      </a:ext>
                    </a:extLst>
                  </p14:cNvPr>
                  <p14:cNvContentPartPr/>
                  <p14:nvPr/>
                </p14:nvContentPartPr>
                <p14:xfrm>
                  <a:off x="3824216" y="4688365"/>
                  <a:ext cx="5040" cy="16200"/>
                </p14:xfrm>
              </p:contentPart>
            </mc:Choice>
            <mc:Fallback xmlns="">
              <p:pic>
                <p:nvPicPr>
                  <p:cNvPr id="1062" name="Ink 1061">
                    <a:extLst>
                      <a:ext uri="{FF2B5EF4-FFF2-40B4-BE49-F238E27FC236}">
                        <a16:creationId xmlns:a16="http://schemas.microsoft.com/office/drawing/2014/main" id="{1C7790E4-4DFD-D001-EC48-ABA67CD0425E}"/>
                      </a:ext>
                    </a:extLst>
                  </p:cNvPr>
                  <p:cNvPicPr/>
                  <p:nvPr/>
                </p:nvPicPr>
                <p:blipFill>
                  <a:blip r:embed="rId26"/>
                  <a:stretch>
                    <a:fillRect/>
                  </a:stretch>
                </p:blipFill>
                <p:spPr>
                  <a:xfrm>
                    <a:off x="3811616" y="4676794"/>
                    <a:ext cx="29736" cy="388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063" name="Ink 1062">
                    <a:extLst>
                      <a:ext uri="{FF2B5EF4-FFF2-40B4-BE49-F238E27FC236}">
                        <a16:creationId xmlns:a16="http://schemas.microsoft.com/office/drawing/2014/main" id="{9A463368-7108-A4F0-8584-E4518A1A192D}"/>
                      </a:ext>
                    </a:extLst>
                  </p14:cNvPr>
                  <p14:cNvContentPartPr/>
                  <p14:nvPr/>
                </p14:nvContentPartPr>
                <p14:xfrm>
                  <a:off x="3804776" y="4344565"/>
                  <a:ext cx="393480" cy="368280"/>
                </p14:xfrm>
              </p:contentPart>
            </mc:Choice>
            <mc:Fallback xmlns="">
              <p:pic>
                <p:nvPicPr>
                  <p:cNvPr id="1063" name="Ink 1062">
                    <a:extLst>
                      <a:ext uri="{FF2B5EF4-FFF2-40B4-BE49-F238E27FC236}">
                        <a16:creationId xmlns:a16="http://schemas.microsoft.com/office/drawing/2014/main" id="{9A463368-7108-A4F0-8584-E4518A1A192D}"/>
                      </a:ext>
                    </a:extLst>
                  </p:cNvPr>
                  <p:cNvPicPr/>
                  <p:nvPr/>
                </p:nvPicPr>
                <p:blipFill>
                  <a:blip r:embed="rId28"/>
                  <a:stretch>
                    <a:fillRect/>
                  </a:stretch>
                </p:blipFill>
                <p:spPr>
                  <a:xfrm>
                    <a:off x="3793023" y="4332806"/>
                    <a:ext cx="416515" cy="391327"/>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1064" name="Ink 1063">
                    <a:extLst>
                      <a:ext uri="{FF2B5EF4-FFF2-40B4-BE49-F238E27FC236}">
                        <a16:creationId xmlns:a16="http://schemas.microsoft.com/office/drawing/2014/main" id="{934F3A84-944D-5F04-78FC-7958A8A7CCD9}"/>
                      </a:ext>
                    </a:extLst>
                  </p14:cNvPr>
                  <p14:cNvContentPartPr/>
                  <p14:nvPr/>
                </p14:nvContentPartPr>
                <p14:xfrm>
                  <a:off x="3802976" y="4477765"/>
                  <a:ext cx="326160" cy="373680"/>
                </p14:xfrm>
              </p:contentPart>
            </mc:Choice>
            <mc:Fallback xmlns="">
              <p:pic>
                <p:nvPicPr>
                  <p:cNvPr id="1064" name="Ink 1063">
                    <a:extLst>
                      <a:ext uri="{FF2B5EF4-FFF2-40B4-BE49-F238E27FC236}">
                        <a16:creationId xmlns:a16="http://schemas.microsoft.com/office/drawing/2014/main" id="{934F3A84-944D-5F04-78FC-7958A8A7CCD9}"/>
                      </a:ext>
                    </a:extLst>
                  </p:cNvPr>
                  <p:cNvPicPr/>
                  <p:nvPr/>
                </p:nvPicPr>
                <p:blipFill>
                  <a:blip r:embed="rId30"/>
                  <a:stretch>
                    <a:fillRect/>
                  </a:stretch>
                </p:blipFill>
                <p:spPr>
                  <a:xfrm>
                    <a:off x="3791227" y="4466014"/>
                    <a:ext cx="349189" cy="396712"/>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1065" name="Ink 1064">
                    <a:extLst>
                      <a:ext uri="{FF2B5EF4-FFF2-40B4-BE49-F238E27FC236}">
                        <a16:creationId xmlns:a16="http://schemas.microsoft.com/office/drawing/2014/main" id="{2F27C85B-FBE5-AF84-E7F1-B6A28F2CF4E6}"/>
                      </a:ext>
                    </a:extLst>
                  </p14:cNvPr>
                  <p14:cNvContentPartPr/>
                  <p14:nvPr/>
                </p14:nvContentPartPr>
                <p14:xfrm>
                  <a:off x="3793976" y="4384165"/>
                  <a:ext cx="385920" cy="488880"/>
                </p14:xfrm>
              </p:contentPart>
            </mc:Choice>
            <mc:Fallback xmlns="">
              <p:pic>
                <p:nvPicPr>
                  <p:cNvPr id="1065" name="Ink 1064">
                    <a:extLst>
                      <a:ext uri="{FF2B5EF4-FFF2-40B4-BE49-F238E27FC236}">
                        <a16:creationId xmlns:a16="http://schemas.microsoft.com/office/drawing/2014/main" id="{2F27C85B-FBE5-AF84-E7F1-B6A28F2CF4E6}"/>
                      </a:ext>
                    </a:extLst>
                  </p:cNvPr>
                  <p:cNvPicPr/>
                  <p:nvPr/>
                </p:nvPicPr>
                <p:blipFill>
                  <a:blip r:embed="rId32"/>
                  <a:stretch>
                    <a:fillRect/>
                  </a:stretch>
                </p:blipFill>
                <p:spPr>
                  <a:xfrm>
                    <a:off x="3782224" y="4372413"/>
                    <a:ext cx="408953" cy="511914"/>
                  </a:xfrm>
                  <a:prstGeom prst="rect">
                    <a:avLst/>
                  </a:prstGeom>
                </p:spPr>
              </p:pic>
            </mc:Fallback>
          </mc:AlternateContent>
        </p:grpSp>
      </p:grpSp>
      <p:grpSp>
        <p:nvGrpSpPr>
          <p:cNvPr id="1066" name="Group 1065">
            <a:extLst>
              <a:ext uri="{FF2B5EF4-FFF2-40B4-BE49-F238E27FC236}">
                <a16:creationId xmlns:a16="http://schemas.microsoft.com/office/drawing/2014/main" id="{5F6E5655-9D5F-D4E1-BF54-2494D3390C21}"/>
              </a:ext>
            </a:extLst>
          </p:cNvPr>
          <p:cNvGrpSpPr/>
          <p:nvPr/>
        </p:nvGrpSpPr>
        <p:grpSpPr>
          <a:xfrm>
            <a:off x="13057752" y="1759868"/>
            <a:ext cx="3782101" cy="5428045"/>
            <a:chOff x="8066293" y="1821019"/>
            <a:chExt cx="3782101" cy="5428045"/>
          </a:xfrm>
        </p:grpSpPr>
        <p:pic>
          <p:nvPicPr>
            <p:cNvPr id="1067" name="Picture 1066">
              <a:extLst>
                <a:ext uri="{FF2B5EF4-FFF2-40B4-BE49-F238E27FC236}">
                  <a16:creationId xmlns:a16="http://schemas.microsoft.com/office/drawing/2014/main" id="{009EB73D-DB47-C11C-3502-FFB809F33D26}"/>
                </a:ext>
              </a:extLst>
            </p:cNvPr>
            <p:cNvPicPr>
              <a:picLocks noChangeAspect="1"/>
            </p:cNvPicPr>
            <p:nvPr/>
          </p:nvPicPr>
          <p:blipFill>
            <a:blip r:embed="rId33"/>
            <a:stretch>
              <a:fillRect/>
            </a:stretch>
          </p:blipFill>
          <p:spPr>
            <a:xfrm>
              <a:off x="8308171" y="1821019"/>
              <a:ext cx="3391373" cy="4324954"/>
            </a:xfrm>
            <a:prstGeom prst="rect">
              <a:avLst/>
            </a:prstGeom>
          </p:spPr>
        </p:pic>
        <p:sp>
          <p:nvSpPr>
            <p:cNvPr id="1068" name="TextBox 1067">
              <a:extLst>
                <a:ext uri="{FF2B5EF4-FFF2-40B4-BE49-F238E27FC236}">
                  <a16:creationId xmlns:a16="http://schemas.microsoft.com/office/drawing/2014/main" id="{947AAEDE-CB1B-96A0-FA77-ED133408082A}"/>
                </a:ext>
              </a:extLst>
            </p:cNvPr>
            <p:cNvSpPr txBox="1"/>
            <p:nvPr/>
          </p:nvSpPr>
          <p:spPr>
            <a:xfrm>
              <a:off x="8066293" y="6286763"/>
              <a:ext cx="3782101" cy="962301"/>
            </a:xfrm>
            <a:prstGeom prst="rect">
              <a:avLst/>
            </a:prstGeom>
            <a:noFill/>
          </p:spPr>
          <p:txBody>
            <a:bodyPr wrap="square">
              <a:spAutoFit/>
            </a:bodyPr>
            <a:lstStyle/>
            <a:p>
              <a:r>
                <a:rPr lang="en-US" sz="1200" dirty="0"/>
                <a:t>The Cartesian location (x, y) of the front body with respect to the rear body is controlled by the exposed wire lengths L</a:t>
              </a:r>
              <a:r>
                <a:rPr lang="en-US" sz="1200" baseline="-25000" dirty="0"/>
                <a:t>1</a:t>
              </a:r>
              <a:r>
                <a:rPr lang="en-US" sz="1200" dirty="0"/>
                <a:t> and L</a:t>
              </a:r>
              <a:r>
                <a:rPr lang="en-US" sz="1200" baseline="-25000" dirty="0"/>
                <a:t>2</a:t>
              </a:r>
              <a:r>
                <a:rPr lang="en-US" sz="1200" dirty="0"/>
                <a:t>; resulting bearing angle ß also shown</a:t>
              </a:r>
            </a:p>
          </p:txBody>
        </p:sp>
      </p:grpSp>
      <p:grpSp>
        <p:nvGrpSpPr>
          <p:cNvPr id="1072" name="Group 1071">
            <a:extLst>
              <a:ext uri="{FF2B5EF4-FFF2-40B4-BE49-F238E27FC236}">
                <a16:creationId xmlns:a16="http://schemas.microsoft.com/office/drawing/2014/main" id="{11FC3A92-30AD-6F79-55A7-5AA2ABC85DCB}"/>
              </a:ext>
            </a:extLst>
          </p:cNvPr>
          <p:cNvGrpSpPr/>
          <p:nvPr/>
        </p:nvGrpSpPr>
        <p:grpSpPr>
          <a:xfrm>
            <a:off x="577261" y="7083059"/>
            <a:ext cx="11227388" cy="3870156"/>
            <a:chOff x="577261" y="7083059"/>
            <a:chExt cx="11227388" cy="3870156"/>
          </a:xfrm>
        </p:grpSpPr>
        <p:sp>
          <p:nvSpPr>
            <p:cNvPr id="1069" name="TextBox 1068">
              <a:extLst>
                <a:ext uri="{FF2B5EF4-FFF2-40B4-BE49-F238E27FC236}">
                  <a16:creationId xmlns:a16="http://schemas.microsoft.com/office/drawing/2014/main" id="{BC227845-3530-B048-77EE-E97F27F8AC9C}"/>
                </a:ext>
              </a:extLst>
            </p:cNvPr>
            <p:cNvSpPr txBox="1"/>
            <p:nvPr/>
          </p:nvSpPr>
          <p:spPr>
            <a:xfrm>
              <a:off x="577261" y="7083059"/>
              <a:ext cx="5447302" cy="1446550"/>
            </a:xfrm>
            <a:prstGeom prst="rect">
              <a:avLst/>
            </a:prstGeom>
            <a:noFill/>
          </p:spPr>
          <p:txBody>
            <a:bodyPr wrap="square">
              <a:spAutoFit/>
            </a:bodyPr>
            <a:lstStyle/>
            <a:p>
              <a:pPr algn="l"/>
              <a:r>
                <a:rPr lang="en-US" sz="1100" b="0" i="0" u="none" strike="noStrike" baseline="0" dirty="0">
                  <a:latin typeface="Arial" panose="020B0604020202020204" pitchFamily="34" charset="0"/>
                  <a:cs typeface="Arial" panose="020B0604020202020204" pitchFamily="34" charset="0"/>
                </a:rPr>
                <a:t>The system 100 may be characterized by the number of degrees of freedom it may operate with. Each additional motion of the patient relative to the coils 102 which the system 100 is capable of effecting may be associated with an additional degree of freedom. For example, providing two coils 102, each configured to pivot along a pivot axis 108 and a gimbal axis 112 may be associated with two degrees of freedom, and providing a platform 114 which is configured to move in three orthogonal directions (parallel to each of the pivot, gimbal, and platform axes 108, 112, 116) may be associated with an additional three degrees of freedom. </a:t>
              </a:r>
              <a:endParaRPr lang="en-US" sz="1100" dirty="0">
                <a:latin typeface="Arial" panose="020B0604020202020204" pitchFamily="34" charset="0"/>
                <a:cs typeface="Arial" panose="020B0604020202020204" pitchFamily="34" charset="0"/>
              </a:endParaRPr>
            </a:p>
          </p:txBody>
        </p:sp>
        <p:sp>
          <p:nvSpPr>
            <p:cNvPr id="1070" name="TextBox 1069">
              <a:extLst>
                <a:ext uri="{FF2B5EF4-FFF2-40B4-BE49-F238E27FC236}">
                  <a16:creationId xmlns:a16="http://schemas.microsoft.com/office/drawing/2014/main" id="{E55975D5-2DD5-4B89-091C-BC0DD08FC274}"/>
                </a:ext>
              </a:extLst>
            </p:cNvPr>
            <p:cNvSpPr txBox="1"/>
            <p:nvPr/>
          </p:nvSpPr>
          <p:spPr>
            <a:xfrm>
              <a:off x="577261" y="8654274"/>
              <a:ext cx="5447302" cy="22989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It will be appreciated that while the system 100 must compensate for its physical constraints by maneuvering the miniature device along a path which approximates a desired route, this approximation is often an acceptable one. Moreover, these constraints are a consequence of the system 100 providing fewer degrees of freedom than would be necessary for the path of the miniature device to fully conform to the determined route; however, a system characterized by such constraints and configured to determine a zigzag path described above may be provided smaller and use less electricity than a system having the necessary degrees of freedom to maneuver the miniature device along a desired route without deviating therefrom at all. For example, a system comprising coils which are capable of pivoting through 360° would necessarily require much larger coils; as the magnetic field is stronger at the closer range to the miniature device, it requires much less power to provide the same magnetic force thereto. </a:t>
              </a:r>
            </a:p>
          </p:txBody>
        </p:sp>
        <p:sp>
          <p:nvSpPr>
            <p:cNvPr id="1071" name="TextBox 1070">
              <a:extLst>
                <a:ext uri="{FF2B5EF4-FFF2-40B4-BE49-F238E27FC236}">
                  <a16:creationId xmlns:a16="http://schemas.microsoft.com/office/drawing/2014/main" id="{6ADA40AC-96BB-7C58-C0AE-C927966B70E8}"/>
                </a:ext>
              </a:extLst>
            </p:cNvPr>
            <p:cNvSpPr txBox="1"/>
            <p:nvPr/>
          </p:nvSpPr>
          <p:spPr>
            <a:xfrm>
              <a:off x="6357347" y="7083059"/>
              <a:ext cx="5447302" cy="1446550"/>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The system 100 may be configured to calculate the path based on any suitable method. For example, the system 100 may be provided with and/or determine a maximum acceptable deviation o from the path for each point </a:t>
              </a:r>
              <a:r>
                <a:rPr lang="en-US" dirty="0" err="1"/>
                <a:t>therealong</a:t>
              </a:r>
              <a:r>
                <a:rPr lang="en-US" dirty="0"/>
                <a:t>, e.g., based on physiological constraints. For example, </a:t>
              </a:r>
              <a:r>
                <a:rPr lang="en-US" dirty="0" err="1"/>
                <a:t>thde</a:t>
              </a:r>
              <a:r>
                <a:rPr lang="en-US" dirty="0"/>
                <a:t> value of o may be smaller in highly sensitive areas of the brain than they are in portions of the spinal cord which define a relatively wide area through which it is safe to maneuver the miniature device. Accordingly, the system 100 may be configured to calculate a path along which it is capable of maneuvering the miniature device, and comprising line segments whose deviation from the route do not exceed o. </a:t>
              </a:r>
            </a:p>
          </p:txBody>
        </p:sp>
      </p:grpSp>
      <p:sp>
        <p:nvSpPr>
          <p:cNvPr id="11" name="Título 1">
            <a:extLst>
              <a:ext uri="{FF2B5EF4-FFF2-40B4-BE49-F238E27FC236}">
                <a16:creationId xmlns:a16="http://schemas.microsoft.com/office/drawing/2014/main" id="{E58899C7-55FF-0DF4-F99A-923B7CCB0E53}"/>
              </a:ext>
            </a:extLst>
          </p:cNvPr>
          <p:cNvSpPr txBox="1">
            <a:spLocks/>
          </p:cNvSpPr>
          <p:nvPr/>
        </p:nvSpPr>
        <p:spPr>
          <a:xfrm>
            <a:off x="384174" y="3810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a:lnSpc>
                <a:spcPct val="125000"/>
              </a:lnSpc>
            </a:pPr>
            <a:r>
              <a:rPr lang="en-US" dirty="0">
                <a:latin typeface="Arial" panose="020B0604020202020204" pitchFamily="34" charset="0"/>
                <a:cs typeface="Arial" panose="020B0604020202020204" pitchFamily="34" charset="0"/>
              </a:rPr>
              <a:t>We can model this system in 2D as a differential drive mobile robot with a heading angle and velocity</a:t>
            </a:r>
          </a:p>
        </p:txBody>
      </p:sp>
      <p:sp>
        <p:nvSpPr>
          <p:cNvPr id="18" name="Rectangle 17">
            <a:extLst>
              <a:ext uri="{FF2B5EF4-FFF2-40B4-BE49-F238E27FC236}">
                <a16:creationId xmlns:a16="http://schemas.microsoft.com/office/drawing/2014/main" id="{B2BA1FCE-9D08-F7E9-4ECE-4E1CCD233939}"/>
              </a:ext>
            </a:extLst>
          </p:cNvPr>
          <p:cNvSpPr/>
          <p:nvPr/>
        </p:nvSpPr>
        <p:spPr>
          <a:xfrm>
            <a:off x="384174" y="4438880"/>
            <a:ext cx="11420475" cy="387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algn="ctr"/>
            <a:r>
              <a:rPr lang="en-US" sz="1600" b="1" dirty="0">
                <a:latin typeface="Georgia" panose="02040502050405020303" pitchFamily="18" charset="0"/>
                <a:cs typeface="Calibri" panose="020F0502020204030204" pitchFamily="34" charset="0"/>
              </a:rPr>
              <a:t>Key considerations and limitations of this kinematic model</a:t>
            </a:r>
          </a:p>
        </p:txBody>
      </p:sp>
      <p:pic>
        <p:nvPicPr>
          <p:cNvPr id="24" name="Picture 23">
            <a:extLst>
              <a:ext uri="{FF2B5EF4-FFF2-40B4-BE49-F238E27FC236}">
                <a16:creationId xmlns:a16="http://schemas.microsoft.com/office/drawing/2014/main" id="{59A694A2-2FE3-3CEE-FFB0-2D0D33314E2E}"/>
              </a:ext>
            </a:extLst>
          </p:cNvPr>
          <p:cNvPicPr>
            <a:picLocks noChangeAspect="1"/>
          </p:cNvPicPr>
          <p:nvPr/>
        </p:nvPicPr>
        <p:blipFill>
          <a:blip r:embed="rId34"/>
          <a:stretch>
            <a:fillRect/>
          </a:stretch>
        </p:blipFill>
        <p:spPr>
          <a:xfrm>
            <a:off x="10086207" y="3189315"/>
            <a:ext cx="1734318" cy="909021"/>
          </a:xfrm>
          <a:prstGeom prst="rect">
            <a:avLst/>
          </a:prstGeom>
        </p:spPr>
      </p:pic>
      <p:sp>
        <p:nvSpPr>
          <p:cNvPr id="26" name="TextBox 25">
            <a:extLst>
              <a:ext uri="{FF2B5EF4-FFF2-40B4-BE49-F238E27FC236}">
                <a16:creationId xmlns:a16="http://schemas.microsoft.com/office/drawing/2014/main" id="{940B4FC7-F409-D0A7-7584-5BF76061362C}"/>
              </a:ext>
            </a:extLst>
          </p:cNvPr>
          <p:cNvSpPr txBox="1"/>
          <p:nvPr/>
        </p:nvSpPr>
        <p:spPr>
          <a:xfrm>
            <a:off x="9587670" y="4074186"/>
            <a:ext cx="2320115" cy="307777"/>
          </a:xfrm>
          <a:prstGeom prst="rect">
            <a:avLst/>
          </a:prstGeom>
          <a:noFill/>
        </p:spPr>
        <p:txBody>
          <a:bodyPr wrap="square">
            <a:spAutoFit/>
          </a:bodyPr>
          <a:lstStyle/>
          <a:p>
            <a:r>
              <a:rPr lang="en-US" sz="1400" dirty="0">
                <a:latin typeface="Calibri" panose="020F0502020204030204" pitchFamily="34" charset="0"/>
                <a:cs typeface="Calibri" panose="020F0502020204030204" pitchFamily="34" charset="0"/>
              </a:rPr>
              <a:t>(Assuming no wheel slipping)</a:t>
            </a:r>
          </a:p>
        </p:txBody>
      </p:sp>
      <p:sp>
        <p:nvSpPr>
          <p:cNvPr id="27" name="Footer Placeholder 4">
            <a:extLst>
              <a:ext uri="{FF2B5EF4-FFF2-40B4-BE49-F238E27FC236}">
                <a16:creationId xmlns:a16="http://schemas.microsoft.com/office/drawing/2014/main" id="{862240BD-36C7-8954-9C46-310C06D47D99}"/>
              </a:ext>
            </a:extLst>
          </p:cNvPr>
          <p:cNvSpPr>
            <a:spLocks noGrp="1"/>
          </p:cNvSpPr>
          <p:nvPr>
            <p:ph type="ftr" sz="quarter" idx="3"/>
          </p:nvPr>
        </p:nvSpPr>
        <p:spPr>
          <a:xfrm>
            <a:off x="337541" y="6388101"/>
            <a:ext cx="11244859" cy="312964"/>
          </a:xfrm>
        </p:spPr>
        <p:txBody>
          <a:bodyPr/>
          <a:lstStyle/>
          <a:p>
            <a:r>
              <a:rPr lang="en-US" dirty="0">
                <a:latin typeface="Calibri" panose="020F0502020204030204" pitchFamily="34" charset="0"/>
                <a:cs typeface="Calibri" panose="020F0502020204030204" pitchFamily="34" charset="0"/>
              </a:rPr>
              <a:t>Source: Robot Modeling and Control (Spong, Hutchinson, Vidyasagar)</a:t>
            </a:r>
          </a:p>
          <a:p>
            <a:endParaRPr lang="en-US" i="1"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A37FCE39-6DEC-58A2-E46C-E5416EF86BD8}"/>
              </a:ext>
            </a:extLst>
          </p:cNvPr>
          <p:cNvSpPr txBox="1"/>
          <p:nvPr/>
        </p:nvSpPr>
        <p:spPr>
          <a:xfrm>
            <a:off x="6620579" y="8958124"/>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where v and ! are the linear and angular velocities of the chassis, respectively. Assume that each wheel has radius r and that the distance between the wheels is 2b. Assuming no wheel slipping, we can relate the chassis velocities v and ! to the left and right wheel velocities _L and _R as </a:t>
            </a:r>
          </a:p>
        </p:txBody>
      </p:sp>
      <p:sp>
        <p:nvSpPr>
          <p:cNvPr id="29" name="TextBox 28">
            <a:extLst>
              <a:ext uri="{FF2B5EF4-FFF2-40B4-BE49-F238E27FC236}">
                <a16:creationId xmlns:a16="http://schemas.microsoft.com/office/drawing/2014/main" id="{EFD17E32-38CC-0CA5-7174-C1A8490FF45A}"/>
              </a:ext>
            </a:extLst>
          </p:cNvPr>
          <p:cNvSpPr txBox="1"/>
          <p:nvPr/>
        </p:nvSpPr>
        <p:spPr>
          <a:xfrm>
            <a:off x="6849680" y="10121156"/>
            <a:ext cx="4462635" cy="769441"/>
          </a:xfrm>
          <a:prstGeom prst="rect">
            <a:avLst/>
          </a:prstGeom>
          <a:noFill/>
        </p:spPr>
        <p:txBody>
          <a:bodyPr wrap="square">
            <a:noAutofit/>
          </a:bodyPr>
          <a:lstStyle>
            <a:defPPr>
              <a:defRPr lang="en-US"/>
            </a:defPPr>
            <a:lvl1pPr>
              <a:defRPr sz="1100" b="0" i="0" u="none" strike="noStrike" baseline="0">
                <a:latin typeface="Arial" panose="020B0604020202020204" pitchFamily="34" charset="0"/>
                <a:cs typeface="Arial" panose="020B0604020202020204" pitchFamily="34" charset="0"/>
              </a:defRPr>
            </a:lvl1pPr>
          </a:lstStyle>
          <a:p>
            <a:r>
              <a:rPr lang="en-US" dirty="0"/>
              <a:t>Note that actuating both wheels in the same direction with speed _ results in a pure translation of the chassis with speed r _ while actuating both wheels in opposite directions with speed _ results in a pure rotation </a:t>
            </a:r>
          </a:p>
        </p:txBody>
      </p:sp>
    </p:spTree>
    <p:extLst>
      <p:ext uri="{BB962C8B-B14F-4D97-AF65-F5344CB8AC3E}">
        <p14:creationId xmlns:p14="http://schemas.microsoft.com/office/powerpoint/2010/main" val="838220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1803FB62-8751-CE27-5D84-4697A4E010E2}"/>
              </a:ext>
            </a:extLst>
          </p:cNvPr>
          <p:cNvGraphicFramePr>
            <a:graphicFrameLocks noChangeAspect="1"/>
          </p:cNvGraphicFramePr>
          <p:nvPr>
            <p:custDataLst>
              <p:tags r:id="rId1"/>
            </p:custDataLst>
            <p:extLst>
              <p:ext uri="{D42A27DB-BD31-4B8C-83A1-F6EECF244321}">
                <p14:modId xmlns:p14="http://schemas.microsoft.com/office/powerpoint/2010/main" val="68694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8" name="Objeto 17" hidden="1">
                        <a:extLst>
                          <a:ext uri="{FF2B5EF4-FFF2-40B4-BE49-F238E27FC236}">
                            <a16:creationId xmlns:a16="http://schemas.microsoft.com/office/drawing/2014/main" id="{1803FB62-8751-CE27-5D84-4697A4E01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6E175AD-142A-8F0E-34A8-534BF8ABE99F}"/>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B9629E59-B72E-6A8E-B487-B29CF401F3C9}"/>
              </a:ext>
            </a:extLst>
          </p:cNvPr>
          <p:cNvSpPr>
            <a:spLocks noGrp="1"/>
          </p:cNvSpPr>
          <p:nvPr>
            <p:ph type="title"/>
          </p:nvPr>
        </p:nvSpPr>
        <p:spPr/>
        <p:txBody>
          <a:bodyPr vert="horz"/>
          <a:lstStyle/>
          <a:p>
            <a:r>
              <a:rPr lang="en-US" dirty="0"/>
              <a:t>Template - Descriptive infographic</a:t>
            </a:r>
          </a:p>
        </p:txBody>
      </p:sp>
      <p:sp>
        <p:nvSpPr>
          <p:cNvPr id="4" name="Shape 29468">
            <a:extLst>
              <a:ext uri="{FF2B5EF4-FFF2-40B4-BE49-F238E27FC236}">
                <a16:creationId xmlns:a16="http://schemas.microsoft.com/office/drawing/2014/main" id="{D1F682A3-5539-19FB-25B1-93CE8FFE8F2C}"/>
              </a:ext>
            </a:extLst>
          </p:cNvPr>
          <p:cNvSpPr/>
          <p:nvPr/>
        </p:nvSpPr>
        <p:spPr>
          <a:xfrm>
            <a:off x="1272504"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5" name="Shape 29471">
            <a:extLst>
              <a:ext uri="{FF2B5EF4-FFF2-40B4-BE49-F238E27FC236}">
                <a16:creationId xmlns:a16="http://schemas.microsoft.com/office/drawing/2014/main" id="{CF34B356-EE7B-9DD2-1693-CC1492A7B692}"/>
              </a:ext>
            </a:extLst>
          </p:cNvPr>
          <p:cNvSpPr/>
          <p:nvPr/>
        </p:nvSpPr>
        <p:spPr>
          <a:xfrm>
            <a:off x="2720440"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tx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6" name="Shape 29474">
            <a:extLst>
              <a:ext uri="{FF2B5EF4-FFF2-40B4-BE49-F238E27FC236}">
                <a16:creationId xmlns:a16="http://schemas.microsoft.com/office/drawing/2014/main" id="{F75A2708-F9D5-A172-DBF6-31B06328392D}"/>
              </a:ext>
            </a:extLst>
          </p:cNvPr>
          <p:cNvSpPr/>
          <p:nvPr/>
        </p:nvSpPr>
        <p:spPr>
          <a:xfrm flipH="1">
            <a:off x="9511878" y="2674575"/>
            <a:ext cx="1404439" cy="2340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7" name="Shape 29477">
            <a:extLst>
              <a:ext uri="{FF2B5EF4-FFF2-40B4-BE49-F238E27FC236}">
                <a16:creationId xmlns:a16="http://schemas.microsoft.com/office/drawing/2014/main" id="{1C42C287-E76E-F714-ADAD-F4F55DB7C78A}"/>
              </a:ext>
            </a:extLst>
          </p:cNvPr>
          <p:cNvSpPr/>
          <p:nvPr/>
        </p:nvSpPr>
        <p:spPr>
          <a:xfrm>
            <a:off x="4314674" y="2381983"/>
            <a:ext cx="1755550" cy="292591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8" name="Shape 29480">
            <a:extLst>
              <a:ext uri="{FF2B5EF4-FFF2-40B4-BE49-F238E27FC236}">
                <a16:creationId xmlns:a16="http://schemas.microsoft.com/office/drawing/2014/main" id="{81EB899C-5272-5308-8274-B09F03BB5292}"/>
              </a:ext>
            </a:extLst>
          </p:cNvPr>
          <p:cNvSpPr/>
          <p:nvPr/>
        </p:nvSpPr>
        <p:spPr>
          <a:xfrm flipH="1">
            <a:off x="6118598" y="2381983"/>
            <a:ext cx="1755550" cy="2925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9" name="Shape 29483">
            <a:extLst>
              <a:ext uri="{FF2B5EF4-FFF2-40B4-BE49-F238E27FC236}">
                <a16:creationId xmlns:a16="http://schemas.microsoft.com/office/drawing/2014/main" id="{C3EFA046-A27E-985E-0CBD-5D405F9EC925}"/>
              </a:ext>
            </a:extLst>
          </p:cNvPr>
          <p:cNvSpPr/>
          <p:nvPr/>
        </p:nvSpPr>
        <p:spPr>
          <a:xfrm flipH="1">
            <a:off x="7922522" y="2557538"/>
            <a:ext cx="1544884" cy="2574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3974"/>
                </a:lnTo>
                <a:lnTo>
                  <a:pt x="21600" y="17626"/>
                </a:lnTo>
                <a:lnTo>
                  <a:pt x="0" y="2160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11" name="Freeform 926">
            <a:extLst>
              <a:ext uri="{FF2B5EF4-FFF2-40B4-BE49-F238E27FC236}">
                <a16:creationId xmlns:a16="http://schemas.microsoft.com/office/drawing/2014/main" id="{657F6556-693C-D0D8-6683-ACE620C0D11B}"/>
              </a:ext>
            </a:extLst>
          </p:cNvPr>
          <p:cNvSpPr>
            <a:spLocks noChangeArrowheads="1"/>
          </p:cNvSpPr>
          <p:nvPr/>
        </p:nvSpPr>
        <p:spPr bwMode="auto">
          <a:xfrm>
            <a:off x="4843509" y="3496000"/>
            <a:ext cx="697879" cy="697879"/>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796BD4C8-D768-5FD6-DC8C-55097A328663}"/>
              </a:ext>
            </a:extLst>
          </p:cNvPr>
          <p:cNvSpPr>
            <a:spLocks noChangeArrowheads="1"/>
          </p:cNvSpPr>
          <p:nvPr/>
        </p:nvSpPr>
        <p:spPr bwMode="auto">
          <a:xfrm>
            <a:off x="6683492" y="3498618"/>
            <a:ext cx="555832" cy="697879"/>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591DA198-8773-3489-C7EB-C121AFCE7B7C}"/>
              </a:ext>
            </a:extLst>
          </p:cNvPr>
          <p:cNvSpPr>
            <a:spLocks noChangeArrowheads="1"/>
          </p:cNvSpPr>
          <p:nvPr/>
        </p:nvSpPr>
        <p:spPr bwMode="auto">
          <a:xfrm>
            <a:off x="9865158" y="3498618"/>
            <a:ext cx="697879" cy="697879"/>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4" name="Freeform 934">
            <a:extLst>
              <a:ext uri="{FF2B5EF4-FFF2-40B4-BE49-F238E27FC236}">
                <a16:creationId xmlns:a16="http://schemas.microsoft.com/office/drawing/2014/main" id="{431F07BD-73C1-010E-27F0-8709104986F1}"/>
              </a:ext>
            </a:extLst>
          </p:cNvPr>
          <p:cNvSpPr>
            <a:spLocks noChangeArrowheads="1"/>
          </p:cNvSpPr>
          <p:nvPr/>
        </p:nvSpPr>
        <p:spPr bwMode="auto">
          <a:xfrm>
            <a:off x="8346024" y="3496000"/>
            <a:ext cx="697879" cy="697881"/>
          </a:xfrm>
          <a:custGeom>
            <a:avLst/>
            <a:gdLst>
              <a:gd name="T0" fmla="*/ 2272781 w 296503"/>
              <a:gd name="T1" fmla="*/ 1180774 h 296503"/>
              <a:gd name="T2" fmla="*/ 2322929 w 296503"/>
              <a:gd name="T3" fmla="*/ 1227945 h 296503"/>
              <a:gd name="T4" fmla="*/ 2322929 w 296503"/>
              <a:gd name="T5" fmla="*/ 2796622 h 296503"/>
              <a:gd name="T6" fmla="*/ 2272781 w 296503"/>
              <a:gd name="T7" fmla="*/ 2843817 h 296503"/>
              <a:gd name="T8" fmla="*/ 2222616 w 296503"/>
              <a:gd name="T9" fmla="*/ 2796622 h 296503"/>
              <a:gd name="T10" fmla="*/ 2222616 w 296503"/>
              <a:gd name="T11" fmla="*/ 1227945 h 296503"/>
              <a:gd name="T12" fmla="*/ 2272781 w 296503"/>
              <a:gd name="T13" fmla="*/ 1180774 h 296503"/>
              <a:gd name="T14" fmla="*/ 1632228 w 296503"/>
              <a:gd name="T15" fmla="*/ 1180774 h 296503"/>
              <a:gd name="T16" fmla="*/ 1680323 w 296503"/>
              <a:gd name="T17" fmla="*/ 1227945 h 296503"/>
              <a:gd name="T18" fmla="*/ 1680323 w 296503"/>
              <a:gd name="T19" fmla="*/ 2796622 h 296503"/>
              <a:gd name="T20" fmla="*/ 1632228 w 296503"/>
              <a:gd name="T21" fmla="*/ 2843817 h 296503"/>
              <a:gd name="T22" fmla="*/ 1580138 w 296503"/>
              <a:gd name="T23" fmla="*/ 2796622 h 296503"/>
              <a:gd name="T24" fmla="*/ 1580138 w 296503"/>
              <a:gd name="T25" fmla="*/ 1227945 h 296503"/>
              <a:gd name="T26" fmla="*/ 1632228 w 296503"/>
              <a:gd name="T27" fmla="*/ 1180774 h 296503"/>
              <a:gd name="T28" fmla="*/ 968393 w 296503"/>
              <a:gd name="T29" fmla="*/ 1180774 h 296503"/>
              <a:gd name="T30" fmla="*/ 1020479 w 296503"/>
              <a:gd name="T31" fmla="*/ 1227945 h 296503"/>
              <a:gd name="T32" fmla="*/ 1020479 w 296503"/>
              <a:gd name="T33" fmla="*/ 2796622 h 296503"/>
              <a:gd name="T34" fmla="*/ 968393 w 296503"/>
              <a:gd name="T35" fmla="*/ 2843817 h 296503"/>
              <a:gd name="T36" fmla="*/ 920306 w 296503"/>
              <a:gd name="T37" fmla="*/ 2796622 h 296503"/>
              <a:gd name="T38" fmla="*/ 920306 w 296503"/>
              <a:gd name="T39" fmla="*/ 1227945 h 296503"/>
              <a:gd name="T40" fmla="*/ 968393 w 296503"/>
              <a:gd name="T41" fmla="*/ 1180774 h 296503"/>
              <a:gd name="T42" fmla="*/ 133984 w 296503"/>
              <a:gd name="T43" fmla="*/ 882707 h 296503"/>
              <a:gd name="T44" fmla="*/ 295550 w 296503"/>
              <a:gd name="T45" fmla="*/ 1544750 h 296503"/>
              <a:gd name="T46" fmla="*/ 295550 w 296503"/>
              <a:gd name="T47" fmla="*/ 2868817 h 296503"/>
              <a:gd name="T48" fmla="*/ 575330 w 296503"/>
              <a:gd name="T49" fmla="*/ 3144662 h 296503"/>
              <a:gd name="T50" fmla="*/ 2671776 w 296503"/>
              <a:gd name="T51" fmla="*/ 3144662 h 296503"/>
              <a:gd name="T52" fmla="*/ 2951561 w 296503"/>
              <a:gd name="T53" fmla="*/ 2868817 h 296503"/>
              <a:gd name="T54" fmla="*/ 2951561 w 296503"/>
              <a:gd name="T55" fmla="*/ 1544750 h 296503"/>
              <a:gd name="T56" fmla="*/ 3113128 w 296503"/>
              <a:gd name="T57" fmla="*/ 882707 h 296503"/>
              <a:gd name="T58" fmla="*/ 445292 w 296503"/>
              <a:gd name="T59" fmla="*/ 492597 h 296503"/>
              <a:gd name="T60" fmla="*/ 102431 w 296503"/>
              <a:gd name="T61" fmla="*/ 788140 h 296503"/>
              <a:gd name="T62" fmla="*/ 3140711 w 296503"/>
              <a:gd name="T63" fmla="*/ 788140 h 296503"/>
              <a:gd name="T64" fmla="*/ 2801819 w 296503"/>
              <a:gd name="T65" fmla="*/ 492597 h 296503"/>
              <a:gd name="T66" fmla="*/ 1296480 w 296503"/>
              <a:gd name="T67" fmla="*/ 98520 h 296503"/>
              <a:gd name="T68" fmla="*/ 953624 w 296503"/>
              <a:gd name="T69" fmla="*/ 394077 h 296503"/>
              <a:gd name="T70" fmla="*/ 2289518 w 296503"/>
              <a:gd name="T71" fmla="*/ 394077 h 296503"/>
              <a:gd name="T72" fmla="*/ 1950639 w 296503"/>
              <a:gd name="T73" fmla="*/ 98520 h 296503"/>
              <a:gd name="T74" fmla="*/ 1296480 w 296503"/>
              <a:gd name="T75" fmla="*/ 0 h 296503"/>
              <a:gd name="T76" fmla="*/ 1950639 w 296503"/>
              <a:gd name="T77" fmla="*/ 0 h 296503"/>
              <a:gd name="T78" fmla="*/ 2388037 w 296503"/>
              <a:gd name="T79" fmla="*/ 394077 h 296503"/>
              <a:gd name="T80" fmla="*/ 2801819 w 296503"/>
              <a:gd name="T81" fmla="*/ 394077 h 296503"/>
              <a:gd name="T82" fmla="*/ 3243166 w 296503"/>
              <a:gd name="T83" fmla="*/ 835417 h 296503"/>
              <a:gd name="T84" fmla="*/ 3235277 w 296503"/>
              <a:gd name="T85" fmla="*/ 859070 h 296503"/>
              <a:gd name="T86" fmla="*/ 3046128 w 296503"/>
              <a:gd name="T87" fmla="*/ 1544750 h 296503"/>
              <a:gd name="T88" fmla="*/ 3046128 w 296503"/>
              <a:gd name="T89" fmla="*/ 2868817 h 296503"/>
              <a:gd name="T90" fmla="*/ 2671776 w 296503"/>
              <a:gd name="T91" fmla="*/ 3243184 h 296503"/>
              <a:gd name="T92" fmla="*/ 575330 w 296503"/>
              <a:gd name="T93" fmla="*/ 3243184 h 296503"/>
              <a:gd name="T94" fmla="*/ 197031 w 296503"/>
              <a:gd name="T95" fmla="*/ 2868817 h 296503"/>
              <a:gd name="T96" fmla="*/ 197031 w 296503"/>
              <a:gd name="T97" fmla="*/ 1544750 h 296503"/>
              <a:gd name="T98" fmla="*/ 7881 w 296503"/>
              <a:gd name="T99" fmla="*/ 859070 h 296503"/>
              <a:gd name="T100" fmla="*/ 0 w 296503"/>
              <a:gd name="T101" fmla="*/ 835417 h 296503"/>
              <a:gd name="T102" fmla="*/ 445292 w 296503"/>
              <a:gd name="T103" fmla="*/ 394077 h 296503"/>
              <a:gd name="T104" fmla="*/ 855104 w 296503"/>
              <a:gd name="T105" fmla="*/ 394077 h 296503"/>
              <a:gd name="T106" fmla="*/ 1296480 w 296503"/>
              <a:gd name="T107" fmla="*/ 0 h 2965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3">
                <a:moveTo>
                  <a:pt x="207786" y="107950"/>
                </a:moveTo>
                <a:cubicBezTo>
                  <a:pt x="210256" y="107950"/>
                  <a:pt x="212372" y="109747"/>
                  <a:pt x="212372" y="112263"/>
                </a:cubicBezTo>
                <a:lnTo>
                  <a:pt x="212372" y="255677"/>
                </a:lnTo>
                <a:cubicBezTo>
                  <a:pt x="212372" y="258193"/>
                  <a:pt x="210256" y="259991"/>
                  <a:pt x="207786" y="259991"/>
                </a:cubicBezTo>
                <a:cubicBezTo>
                  <a:pt x="205317" y="259991"/>
                  <a:pt x="203200" y="258193"/>
                  <a:pt x="203200" y="255677"/>
                </a:cubicBezTo>
                <a:lnTo>
                  <a:pt x="203200" y="112263"/>
                </a:lnTo>
                <a:cubicBezTo>
                  <a:pt x="203200" y="109747"/>
                  <a:pt x="205317" y="107950"/>
                  <a:pt x="207786" y="107950"/>
                </a:cubicBezTo>
                <a:close/>
                <a:moveTo>
                  <a:pt x="149225" y="107950"/>
                </a:moveTo>
                <a:cubicBezTo>
                  <a:pt x="151790" y="107950"/>
                  <a:pt x="153621" y="109747"/>
                  <a:pt x="153621" y="112263"/>
                </a:cubicBezTo>
                <a:lnTo>
                  <a:pt x="153621" y="255677"/>
                </a:lnTo>
                <a:cubicBezTo>
                  <a:pt x="153621" y="258193"/>
                  <a:pt x="151790" y="259991"/>
                  <a:pt x="149225" y="259991"/>
                </a:cubicBezTo>
                <a:cubicBezTo>
                  <a:pt x="146661" y="259991"/>
                  <a:pt x="144463" y="258193"/>
                  <a:pt x="144463" y="255677"/>
                </a:cubicBezTo>
                <a:lnTo>
                  <a:pt x="144463" y="112263"/>
                </a:lnTo>
                <a:cubicBezTo>
                  <a:pt x="144463" y="109747"/>
                  <a:pt x="146661" y="107950"/>
                  <a:pt x="149225" y="107950"/>
                </a:cubicBezTo>
                <a:close/>
                <a:moveTo>
                  <a:pt x="88534" y="107950"/>
                </a:moveTo>
                <a:cubicBezTo>
                  <a:pt x="91098" y="107950"/>
                  <a:pt x="93296" y="109747"/>
                  <a:pt x="93296" y="112263"/>
                </a:cubicBezTo>
                <a:lnTo>
                  <a:pt x="93296" y="255677"/>
                </a:lnTo>
                <a:cubicBezTo>
                  <a:pt x="93296" y="258193"/>
                  <a:pt x="91098" y="259991"/>
                  <a:pt x="88534" y="259991"/>
                </a:cubicBezTo>
                <a:cubicBezTo>
                  <a:pt x="86336" y="259991"/>
                  <a:pt x="84138" y="258193"/>
                  <a:pt x="84138" y="255677"/>
                </a:cubicBezTo>
                <a:lnTo>
                  <a:pt x="84138" y="112263"/>
                </a:lnTo>
                <a:cubicBezTo>
                  <a:pt x="84138" y="109747"/>
                  <a:pt x="86336" y="107950"/>
                  <a:pt x="88534" y="107950"/>
                </a:cubicBezTo>
                <a:close/>
                <a:moveTo>
                  <a:pt x="12249" y="80701"/>
                </a:moveTo>
                <a:cubicBezTo>
                  <a:pt x="21976" y="99435"/>
                  <a:pt x="27020" y="120330"/>
                  <a:pt x="27020" y="141226"/>
                </a:cubicBezTo>
                <a:lnTo>
                  <a:pt x="27020" y="262277"/>
                </a:lnTo>
                <a:cubicBezTo>
                  <a:pt x="27020" y="275967"/>
                  <a:pt x="38549" y="287496"/>
                  <a:pt x="52599" y="287496"/>
                </a:cubicBezTo>
                <a:lnTo>
                  <a:pt x="244264" y="287496"/>
                </a:lnTo>
                <a:cubicBezTo>
                  <a:pt x="258314" y="287496"/>
                  <a:pt x="269843" y="275967"/>
                  <a:pt x="269843" y="262277"/>
                </a:cubicBezTo>
                <a:lnTo>
                  <a:pt x="269843" y="141226"/>
                </a:lnTo>
                <a:cubicBezTo>
                  <a:pt x="269843" y="120330"/>
                  <a:pt x="274887" y="99435"/>
                  <a:pt x="284614" y="80701"/>
                </a:cubicBezTo>
                <a:lnTo>
                  <a:pt x="12249" y="80701"/>
                </a:lnTo>
                <a:close/>
                <a:moveTo>
                  <a:pt x="40710" y="45034"/>
                </a:moveTo>
                <a:cubicBezTo>
                  <a:pt x="24498" y="45034"/>
                  <a:pt x="11528" y="56562"/>
                  <a:pt x="9367" y="72054"/>
                </a:cubicBezTo>
                <a:lnTo>
                  <a:pt x="287136" y="72054"/>
                </a:lnTo>
                <a:cubicBezTo>
                  <a:pt x="285335" y="56562"/>
                  <a:pt x="272005" y="45034"/>
                  <a:pt x="256153" y="45034"/>
                </a:cubicBezTo>
                <a:lnTo>
                  <a:pt x="40710" y="45034"/>
                </a:lnTo>
                <a:close/>
                <a:moveTo>
                  <a:pt x="118529" y="9007"/>
                </a:moveTo>
                <a:cubicBezTo>
                  <a:pt x="102677" y="9007"/>
                  <a:pt x="89347" y="20896"/>
                  <a:pt x="87185" y="36027"/>
                </a:cubicBezTo>
                <a:lnTo>
                  <a:pt x="209317" y="36027"/>
                </a:lnTo>
                <a:cubicBezTo>
                  <a:pt x="207156" y="20896"/>
                  <a:pt x="194186" y="9007"/>
                  <a:pt x="178334" y="9007"/>
                </a:cubicBezTo>
                <a:lnTo>
                  <a:pt x="118529" y="9007"/>
                </a:lnTo>
                <a:close/>
                <a:moveTo>
                  <a:pt x="118529" y="0"/>
                </a:moveTo>
                <a:lnTo>
                  <a:pt x="178334" y="0"/>
                </a:lnTo>
                <a:cubicBezTo>
                  <a:pt x="198869" y="0"/>
                  <a:pt x="216163" y="15852"/>
                  <a:pt x="218324" y="36027"/>
                </a:cubicBezTo>
                <a:lnTo>
                  <a:pt x="256153" y="36027"/>
                </a:lnTo>
                <a:cubicBezTo>
                  <a:pt x="278489" y="36027"/>
                  <a:pt x="296503" y="54041"/>
                  <a:pt x="296503" y="76377"/>
                </a:cubicBezTo>
                <a:cubicBezTo>
                  <a:pt x="296503" y="77098"/>
                  <a:pt x="296503" y="78179"/>
                  <a:pt x="295782" y="78539"/>
                </a:cubicBezTo>
                <a:cubicBezTo>
                  <a:pt x="284614" y="97633"/>
                  <a:pt x="278489" y="119250"/>
                  <a:pt x="278489" y="141226"/>
                </a:cubicBezTo>
                <a:lnTo>
                  <a:pt x="278489" y="262277"/>
                </a:lnTo>
                <a:cubicBezTo>
                  <a:pt x="278489" y="281011"/>
                  <a:pt x="262998" y="296503"/>
                  <a:pt x="244264" y="296503"/>
                </a:cubicBezTo>
                <a:lnTo>
                  <a:pt x="52599" y="296503"/>
                </a:lnTo>
                <a:cubicBezTo>
                  <a:pt x="33505" y="296503"/>
                  <a:pt x="18013" y="281011"/>
                  <a:pt x="18013" y="262277"/>
                </a:cubicBezTo>
                <a:lnTo>
                  <a:pt x="18013" y="141226"/>
                </a:lnTo>
                <a:cubicBezTo>
                  <a:pt x="18013" y="119250"/>
                  <a:pt x="12249" y="97633"/>
                  <a:pt x="720" y="78539"/>
                </a:cubicBezTo>
                <a:cubicBezTo>
                  <a:pt x="360" y="78179"/>
                  <a:pt x="0" y="77098"/>
                  <a:pt x="0" y="76377"/>
                </a:cubicBezTo>
                <a:cubicBezTo>
                  <a:pt x="0" y="54041"/>
                  <a:pt x="18374" y="36027"/>
                  <a:pt x="40710" y="36027"/>
                </a:cubicBezTo>
                <a:lnTo>
                  <a:pt x="78178" y="36027"/>
                </a:lnTo>
                <a:cubicBezTo>
                  <a:pt x="80700" y="15852"/>
                  <a:pt x="97633" y="0"/>
                  <a:pt x="11852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5" name="Freeform 935">
            <a:extLst>
              <a:ext uri="{FF2B5EF4-FFF2-40B4-BE49-F238E27FC236}">
                <a16:creationId xmlns:a16="http://schemas.microsoft.com/office/drawing/2014/main" id="{66AC0114-EF52-A889-A4EC-C25DA9EFC82C}"/>
              </a:ext>
            </a:extLst>
          </p:cNvPr>
          <p:cNvSpPr>
            <a:spLocks noChangeArrowheads="1"/>
          </p:cNvSpPr>
          <p:nvPr/>
        </p:nvSpPr>
        <p:spPr bwMode="auto">
          <a:xfrm>
            <a:off x="3143942" y="3498617"/>
            <a:ext cx="697879" cy="697881"/>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16" name="Freeform 936">
            <a:extLst>
              <a:ext uri="{FF2B5EF4-FFF2-40B4-BE49-F238E27FC236}">
                <a16:creationId xmlns:a16="http://schemas.microsoft.com/office/drawing/2014/main" id="{8C35B41B-52F3-3943-4751-9E0A7EDB7800}"/>
              </a:ext>
            </a:extLst>
          </p:cNvPr>
          <p:cNvSpPr>
            <a:spLocks noChangeArrowheads="1"/>
          </p:cNvSpPr>
          <p:nvPr/>
        </p:nvSpPr>
        <p:spPr bwMode="auto">
          <a:xfrm>
            <a:off x="1625783" y="3498617"/>
            <a:ext cx="697879" cy="697881"/>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US" dirty="0">
              <a:latin typeface="Lato Light" panose="020F0502020204030203" pitchFamily="34" charset="0"/>
            </a:endParaRPr>
          </a:p>
        </p:txBody>
      </p:sp>
      <p:grpSp>
        <p:nvGrpSpPr>
          <p:cNvPr id="20" name="Grupo 19">
            <a:extLst>
              <a:ext uri="{FF2B5EF4-FFF2-40B4-BE49-F238E27FC236}">
                <a16:creationId xmlns:a16="http://schemas.microsoft.com/office/drawing/2014/main" id="{358B3B6C-3858-204E-51BF-3346D9893F7A}"/>
              </a:ext>
            </a:extLst>
          </p:cNvPr>
          <p:cNvGrpSpPr/>
          <p:nvPr/>
        </p:nvGrpSpPr>
        <p:grpSpPr>
          <a:xfrm>
            <a:off x="2720440" y="1611444"/>
            <a:ext cx="1593259" cy="923330"/>
            <a:chOff x="1269727" y="4911555"/>
            <a:chExt cx="1593259" cy="1437036"/>
          </a:xfrm>
        </p:grpSpPr>
        <p:sp>
          <p:nvSpPr>
            <p:cNvPr id="21" name="Shape 29506">
              <a:extLst>
                <a:ext uri="{FF2B5EF4-FFF2-40B4-BE49-F238E27FC236}">
                  <a16:creationId xmlns:a16="http://schemas.microsoft.com/office/drawing/2014/main" id="{55FE03BA-CC9C-6608-C88E-0BED9A3FB200}"/>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22" name="Subtitle 2">
              <a:extLst>
                <a:ext uri="{FF2B5EF4-FFF2-40B4-BE49-F238E27FC236}">
                  <a16:creationId xmlns:a16="http://schemas.microsoft.com/office/drawing/2014/main" id="{976A54C5-BC17-0CF5-BE0F-6C98A508686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0" name="Grupo 29">
            <a:extLst>
              <a:ext uri="{FF2B5EF4-FFF2-40B4-BE49-F238E27FC236}">
                <a16:creationId xmlns:a16="http://schemas.microsoft.com/office/drawing/2014/main" id="{50FAF6F2-C80D-2E83-B211-12AC176E6F49}"/>
              </a:ext>
            </a:extLst>
          </p:cNvPr>
          <p:cNvGrpSpPr/>
          <p:nvPr/>
        </p:nvGrpSpPr>
        <p:grpSpPr>
          <a:xfrm>
            <a:off x="7820726" y="1613424"/>
            <a:ext cx="1646680" cy="923330"/>
            <a:chOff x="6221755" y="5278550"/>
            <a:chExt cx="1646680" cy="1437036"/>
          </a:xfrm>
        </p:grpSpPr>
        <p:sp>
          <p:nvSpPr>
            <p:cNvPr id="31" name="Shape 29506">
              <a:extLst>
                <a:ext uri="{FF2B5EF4-FFF2-40B4-BE49-F238E27FC236}">
                  <a16:creationId xmlns:a16="http://schemas.microsoft.com/office/drawing/2014/main" id="{0AE7C6F0-58CA-C868-FC03-3BA28EE4BB3E}"/>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2" name="Subtitle 2">
              <a:extLst>
                <a:ext uri="{FF2B5EF4-FFF2-40B4-BE49-F238E27FC236}">
                  <a16:creationId xmlns:a16="http://schemas.microsoft.com/office/drawing/2014/main" id="{E5F8026A-FE99-9557-D6E5-D30E42295E54}"/>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36" name="Grupo 35">
            <a:extLst>
              <a:ext uri="{FF2B5EF4-FFF2-40B4-BE49-F238E27FC236}">
                <a16:creationId xmlns:a16="http://schemas.microsoft.com/office/drawing/2014/main" id="{A4CF08EF-897C-B663-D208-4CD30D8442C7}"/>
              </a:ext>
            </a:extLst>
          </p:cNvPr>
          <p:cNvGrpSpPr/>
          <p:nvPr/>
        </p:nvGrpSpPr>
        <p:grpSpPr>
          <a:xfrm>
            <a:off x="4309841" y="5494240"/>
            <a:ext cx="1593259" cy="923330"/>
            <a:chOff x="1269727" y="4911555"/>
            <a:chExt cx="1593259" cy="1437036"/>
          </a:xfrm>
        </p:grpSpPr>
        <p:sp>
          <p:nvSpPr>
            <p:cNvPr id="37" name="Shape 29506">
              <a:extLst>
                <a:ext uri="{FF2B5EF4-FFF2-40B4-BE49-F238E27FC236}">
                  <a16:creationId xmlns:a16="http://schemas.microsoft.com/office/drawing/2014/main" id="{A4348776-C819-4888-7DF2-6553C8E61769}"/>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38" name="Subtitle 2">
              <a:extLst>
                <a:ext uri="{FF2B5EF4-FFF2-40B4-BE49-F238E27FC236}">
                  <a16:creationId xmlns:a16="http://schemas.microsoft.com/office/drawing/2014/main" id="{522FA0AD-77D0-67FB-6B9B-F553F28ED854}"/>
                </a:ext>
              </a:extLst>
            </p:cNvPr>
            <p:cNvSpPr txBox="1">
              <a:spLocks/>
            </p:cNvSpPr>
            <p:nvPr/>
          </p:nvSpPr>
          <p:spPr>
            <a:xfrm>
              <a:off x="1391396" y="4911555"/>
              <a:ext cx="1471590"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grpSp>
        <p:nvGrpSpPr>
          <p:cNvPr id="39" name="Grupo 38">
            <a:extLst>
              <a:ext uri="{FF2B5EF4-FFF2-40B4-BE49-F238E27FC236}">
                <a16:creationId xmlns:a16="http://schemas.microsoft.com/office/drawing/2014/main" id="{5477C4D0-EB86-7FA5-ADBF-5AA314B313DF}"/>
              </a:ext>
            </a:extLst>
          </p:cNvPr>
          <p:cNvGrpSpPr/>
          <p:nvPr/>
        </p:nvGrpSpPr>
        <p:grpSpPr>
          <a:xfrm>
            <a:off x="6227468" y="5494240"/>
            <a:ext cx="1646680" cy="923330"/>
            <a:chOff x="6221755" y="5278550"/>
            <a:chExt cx="1646680" cy="1437036"/>
          </a:xfrm>
        </p:grpSpPr>
        <p:sp>
          <p:nvSpPr>
            <p:cNvPr id="40" name="Shape 29506">
              <a:extLst>
                <a:ext uri="{FF2B5EF4-FFF2-40B4-BE49-F238E27FC236}">
                  <a16:creationId xmlns:a16="http://schemas.microsoft.com/office/drawing/2014/main" id="{21F954FB-9292-BE8A-B185-C2ED23824B37}"/>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1" name="Subtitle 2">
              <a:extLst>
                <a:ext uri="{FF2B5EF4-FFF2-40B4-BE49-F238E27FC236}">
                  <a16:creationId xmlns:a16="http://schemas.microsoft.com/office/drawing/2014/main" id="{FA6707C4-4F2D-B26B-1ABF-C873401EB41E}"/>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2" name="Grupo 41">
            <a:extLst>
              <a:ext uri="{FF2B5EF4-FFF2-40B4-BE49-F238E27FC236}">
                <a16:creationId xmlns:a16="http://schemas.microsoft.com/office/drawing/2014/main" id="{F44ED383-8152-A289-E18E-703CAA503A9D}"/>
              </a:ext>
            </a:extLst>
          </p:cNvPr>
          <p:cNvGrpSpPr/>
          <p:nvPr/>
        </p:nvGrpSpPr>
        <p:grpSpPr>
          <a:xfrm>
            <a:off x="9269637" y="5187585"/>
            <a:ext cx="1646680" cy="923330"/>
            <a:chOff x="6221755" y="5278550"/>
            <a:chExt cx="1646680" cy="1437036"/>
          </a:xfrm>
        </p:grpSpPr>
        <p:sp>
          <p:nvSpPr>
            <p:cNvPr id="43" name="Shape 29506">
              <a:extLst>
                <a:ext uri="{FF2B5EF4-FFF2-40B4-BE49-F238E27FC236}">
                  <a16:creationId xmlns:a16="http://schemas.microsoft.com/office/drawing/2014/main" id="{B6315A6C-1CC0-6D54-026E-E8A2F1842CFD}"/>
                </a:ext>
              </a:extLst>
            </p:cNvPr>
            <p:cNvSpPr/>
            <p:nvPr/>
          </p:nvSpPr>
          <p:spPr>
            <a:xfrm>
              <a:off x="7868435" y="5295913"/>
              <a:ext cx="0" cy="117800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4" name="Subtitle 2">
              <a:extLst>
                <a:ext uri="{FF2B5EF4-FFF2-40B4-BE49-F238E27FC236}">
                  <a16:creationId xmlns:a16="http://schemas.microsoft.com/office/drawing/2014/main" id="{0D5AC29A-F98B-0200-D5E0-38DB75377A4A}"/>
                </a:ext>
              </a:extLst>
            </p:cNvPr>
            <p:cNvSpPr txBox="1">
              <a:spLocks/>
            </p:cNvSpPr>
            <p:nvPr/>
          </p:nvSpPr>
          <p:spPr>
            <a:xfrm>
              <a:off x="6221755" y="5278550"/>
              <a:ext cx="1544883" cy="14370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grpSp>
      <p:grpSp>
        <p:nvGrpSpPr>
          <p:cNvPr id="45" name="Grupo 44">
            <a:extLst>
              <a:ext uri="{FF2B5EF4-FFF2-40B4-BE49-F238E27FC236}">
                <a16:creationId xmlns:a16="http://schemas.microsoft.com/office/drawing/2014/main" id="{2325ED31-3E7B-E03B-3855-921FEC3B073E}"/>
              </a:ext>
            </a:extLst>
          </p:cNvPr>
          <p:cNvGrpSpPr/>
          <p:nvPr/>
        </p:nvGrpSpPr>
        <p:grpSpPr>
          <a:xfrm>
            <a:off x="1275682" y="5132343"/>
            <a:ext cx="1593259" cy="770033"/>
            <a:chOff x="1269727" y="4911555"/>
            <a:chExt cx="1593259" cy="1198450"/>
          </a:xfrm>
        </p:grpSpPr>
        <p:sp>
          <p:nvSpPr>
            <p:cNvPr id="46" name="Shape 29506">
              <a:extLst>
                <a:ext uri="{FF2B5EF4-FFF2-40B4-BE49-F238E27FC236}">
                  <a16:creationId xmlns:a16="http://schemas.microsoft.com/office/drawing/2014/main" id="{8B7CDFBF-4E90-C369-A168-CDB47082C1B4}"/>
                </a:ext>
              </a:extLst>
            </p:cNvPr>
            <p:cNvSpPr/>
            <p:nvPr/>
          </p:nvSpPr>
          <p:spPr>
            <a:xfrm>
              <a:off x="1269727" y="4946280"/>
              <a:ext cx="0" cy="11637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wrap="square" lIns="71438" tIns="71438" rIns="71438" bIns="71438" numCol="1" anchor="ctr">
              <a:noAutofit/>
            </a:bodyPr>
            <a:lstStyle/>
            <a:p>
              <a:endParaRPr sz="5063" dirty="0">
                <a:latin typeface="Lato Light" panose="020F0502020204030203" pitchFamily="34" charset="0"/>
              </a:endParaRPr>
            </a:p>
          </p:txBody>
        </p:sp>
        <p:sp>
          <p:nvSpPr>
            <p:cNvPr id="47" name="Subtitle 2">
              <a:extLst>
                <a:ext uri="{FF2B5EF4-FFF2-40B4-BE49-F238E27FC236}">
                  <a16:creationId xmlns:a16="http://schemas.microsoft.com/office/drawing/2014/main" id="{58E272C3-C652-79DB-AB46-BD6B44250D32}"/>
                </a:ext>
              </a:extLst>
            </p:cNvPr>
            <p:cNvSpPr txBox="1">
              <a:spLocks/>
            </p:cNvSpPr>
            <p:nvPr/>
          </p:nvSpPr>
          <p:spPr>
            <a:xfrm>
              <a:off x="1391396" y="4911555"/>
              <a:ext cx="1471590" cy="114962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sp>
        <p:nvSpPr>
          <p:cNvPr id="10" name="Footer Placeholder 9">
            <a:extLst>
              <a:ext uri="{FF2B5EF4-FFF2-40B4-BE49-F238E27FC236}">
                <a16:creationId xmlns:a16="http://schemas.microsoft.com/office/drawing/2014/main" id="{345B9AFD-6F44-D6FC-6DA8-C11C033F6083}"/>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7076782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 name="Objeto 50" hidden="1">
            <a:extLst>
              <a:ext uri="{FF2B5EF4-FFF2-40B4-BE49-F238E27FC236}">
                <a16:creationId xmlns:a16="http://schemas.microsoft.com/office/drawing/2014/main" id="{EB6C2B4C-0B2A-E214-A3CE-604F36F32D6D}"/>
              </a:ext>
            </a:extLst>
          </p:cNvPr>
          <p:cNvGraphicFramePr>
            <a:graphicFrameLocks noChangeAspect="1"/>
          </p:cNvGraphicFramePr>
          <p:nvPr>
            <p:custDataLst>
              <p:tags r:id="rId1"/>
            </p:custDataLst>
            <p:extLst>
              <p:ext uri="{D42A27DB-BD31-4B8C-83A1-F6EECF244321}">
                <p14:modId xmlns:p14="http://schemas.microsoft.com/office/powerpoint/2010/main" val="845324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1" name="Objeto 50" hidden="1">
                        <a:extLst>
                          <a:ext uri="{FF2B5EF4-FFF2-40B4-BE49-F238E27FC236}">
                            <a16:creationId xmlns:a16="http://schemas.microsoft.com/office/drawing/2014/main" id="{EB6C2B4C-0B2A-E214-A3CE-604F36F32D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9" name="TextBox 127">
            <a:extLst>
              <a:ext uri="{FF2B5EF4-FFF2-40B4-BE49-F238E27FC236}">
                <a16:creationId xmlns:a16="http://schemas.microsoft.com/office/drawing/2014/main" id="{917C8AC7-6724-75C6-9674-BABFF2F291AC}"/>
              </a:ext>
            </a:extLst>
          </p:cNvPr>
          <p:cNvSpPr txBox="1"/>
          <p:nvPr/>
        </p:nvSpPr>
        <p:spPr>
          <a:xfrm>
            <a:off x="801136" y="2212474"/>
            <a:ext cx="10735190" cy="3374187"/>
          </a:xfrm>
          <a:prstGeom prst="rect">
            <a:avLst/>
          </a:prstGeom>
          <a:noFill/>
          <a:ln w="3175">
            <a:solidFill>
              <a:schemeClr val="tx1"/>
            </a:solidFill>
          </a:ln>
          <a:effectLst/>
        </p:spPr>
        <p:txBody>
          <a:bodyPr wrap="square" lIns="108000" tIns="108000" rIns="108000" b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528">
            <a:extLst>
              <a:ext uri="{FF2B5EF4-FFF2-40B4-BE49-F238E27FC236}">
                <a16:creationId xmlns:a16="http://schemas.microsoft.com/office/drawing/2014/main" id="{2F5FDFB4-19D0-6EAE-CA83-DCD6098B324C}"/>
              </a:ext>
            </a:extLst>
          </p:cNvPr>
          <p:cNvSpPr>
            <a:spLocks noChangeArrowheads="1"/>
          </p:cNvSpPr>
          <p:nvPr/>
        </p:nvSpPr>
        <p:spPr bwMode="auto">
          <a:xfrm>
            <a:off x="371476" y="2563188"/>
            <a:ext cx="560170" cy="2677710"/>
          </a:xfrm>
          <a:custGeom>
            <a:avLst/>
            <a:gdLst>
              <a:gd name="T0" fmla="*/ 822 w 823"/>
              <a:gd name="T1" fmla="*/ 6968 h 6969"/>
              <a:gd name="T2" fmla="*/ 0 w 823"/>
              <a:gd name="T3" fmla="*/ 6968 h 6969"/>
              <a:gd name="T4" fmla="*/ 0 w 823"/>
              <a:gd name="T5" fmla="*/ 0 h 6969"/>
              <a:gd name="T6" fmla="*/ 822 w 823"/>
              <a:gd name="T7" fmla="*/ 0 h 6969"/>
              <a:gd name="T8" fmla="*/ 822 w 823"/>
              <a:gd name="T9" fmla="*/ 6968 h 6969"/>
            </a:gdLst>
            <a:ahLst/>
            <a:cxnLst>
              <a:cxn ang="0">
                <a:pos x="T0" y="T1"/>
              </a:cxn>
              <a:cxn ang="0">
                <a:pos x="T2" y="T3"/>
              </a:cxn>
              <a:cxn ang="0">
                <a:pos x="T4" y="T5"/>
              </a:cxn>
              <a:cxn ang="0">
                <a:pos x="T6" y="T7"/>
              </a:cxn>
              <a:cxn ang="0">
                <a:pos x="T8" y="T9"/>
              </a:cxn>
            </a:cxnLst>
            <a:rect l="0" t="0" r="r" b="b"/>
            <a:pathLst>
              <a:path w="823" h="6969">
                <a:moveTo>
                  <a:pt x="822" y="6968"/>
                </a:moveTo>
                <a:lnTo>
                  <a:pt x="0" y="6968"/>
                </a:lnTo>
                <a:lnTo>
                  <a:pt x="0" y="0"/>
                </a:lnTo>
                <a:lnTo>
                  <a:pt x="822" y="0"/>
                </a:lnTo>
                <a:lnTo>
                  <a:pt x="822" y="6968"/>
                </a:lnTo>
              </a:path>
            </a:pathLst>
          </a:custGeom>
          <a:solidFill>
            <a:schemeClr val="bg1">
              <a:lumMod val="95000"/>
            </a:schemeClr>
          </a:solidFill>
          <a:effectLst/>
        </p:spPr>
        <p:txBody>
          <a:bodyPr vert="vert270" lIns="108000" tIns="72000" rIns="72000" bIns="7200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CHALLENGES</a:t>
            </a:r>
          </a:p>
        </p:txBody>
      </p:sp>
      <p:sp>
        <p:nvSpPr>
          <p:cNvPr id="29" name="Freeform 539">
            <a:extLst>
              <a:ext uri="{FF2B5EF4-FFF2-40B4-BE49-F238E27FC236}">
                <a16:creationId xmlns:a16="http://schemas.microsoft.com/office/drawing/2014/main" id="{24601CF7-688A-D767-33AF-9128E7A2FC7A}"/>
              </a:ext>
            </a:extLst>
          </p:cNvPr>
          <p:cNvSpPr>
            <a:spLocks noChangeArrowheads="1"/>
          </p:cNvSpPr>
          <p:nvPr/>
        </p:nvSpPr>
        <p:spPr bwMode="auto">
          <a:xfrm>
            <a:off x="11260355" y="2551811"/>
            <a:ext cx="560171" cy="2679405"/>
          </a:xfrm>
          <a:custGeom>
            <a:avLst/>
            <a:gdLst>
              <a:gd name="T0" fmla="*/ 0 w 823"/>
              <a:gd name="T1" fmla="*/ 0 h 6970"/>
              <a:gd name="T2" fmla="*/ 822 w 823"/>
              <a:gd name="T3" fmla="*/ 0 h 6970"/>
              <a:gd name="T4" fmla="*/ 822 w 823"/>
              <a:gd name="T5" fmla="*/ 6969 h 6970"/>
              <a:gd name="T6" fmla="*/ 0 w 823"/>
              <a:gd name="T7" fmla="*/ 6969 h 6970"/>
              <a:gd name="T8" fmla="*/ 0 w 823"/>
              <a:gd name="T9" fmla="*/ 0 h 6970"/>
            </a:gdLst>
            <a:ahLst/>
            <a:cxnLst>
              <a:cxn ang="0">
                <a:pos x="T0" y="T1"/>
              </a:cxn>
              <a:cxn ang="0">
                <a:pos x="T2" y="T3"/>
              </a:cxn>
              <a:cxn ang="0">
                <a:pos x="T4" y="T5"/>
              </a:cxn>
              <a:cxn ang="0">
                <a:pos x="T6" y="T7"/>
              </a:cxn>
              <a:cxn ang="0">
                <a:pos x="T8" y="T9"/>
              </a:cxn>
            </a:cxnLst>
            <a:rect l="0" t="0" r="r" b="b"/>
            <a:pathLst>
              <a:path w="823" h="6970">
                <a:moveTo>
                  <a:pt x="0" y="0"/>
                </a:moveTo>
                <a:lnTo>
                  <a:pt x="822" y="0"/>
                </a:lnTo>
                <a:lnTo>
                  <a:pt x="822" y="6969"/>
                </a:lnTo>
                <a:lnTo>
                  <a:pt x="0" y="6969"/>
                </a:lnTo>
                <a:lnTo>
                  <a:pt x="0" y="0"/>
                </a:lnTo>
              </a:path>
            </a:pathLst>
          </a:custGeom>
          <a:solidFill>
            <a:schemeClr val="bg1">
              <a:lumMod val="95000"/>
            </a:schemeClr>
          </a:solidFill>
          <a:effectLst/>
        </p:spPr>
        <p:txBody>
          <a:bodyPr vert="vert" lIns="108000" tIns="72000" rIns="72000" bIns="7200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SOLUTIONS</a:t>
            </a: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Marcador de texto 1">
            <a:extLst>
              <a:ext uri="{FF2B5EF4-FFF2-40B4-BE49-F238E27FC236}">
                <a16:creationId xmlns:a16="http://schemas.microsoft.com/office/drawing/2014/main" id="{AA62DFD3-8D70-1280-DFAA-9132E9A6A5F1}"/>
              </a:ext>
            </a:extLst>
          </p:cNvPr>
          <p:cNvSpPr>
            <a:spLocks noGrp="1"/>
          </p:cNvSpPr>
          <p:nvPr>
            <p:ph type="body" sz="quarter" idx="14"/>
          </p:nvPr>
        </p:nvSpPr>
        <p:spPr/>
        <p:txBody>
          <a:bodyPr/>
          <a:lstStyle/>
          <a:p>
            <a:r>
              <a:rPr lang="en-US" dirty="0"/>
              <a:t>Subtitle</a:t>
            </a:r>
          </a:p>
        </p:txBody>
      </p:sp>
      <p:sp>
        <p:nvSpPr>
          <p:cNvPr id="4" name="Freeform 66">
            <a:extLst>
              <a:ext uri="{FF2B5EF4-FFF2-40B4-BE49-F238E27FC236}">
                <a16:creationId xmlns:a16="http://schemas.microsoft.com/office/drawing/2014/main" id="{5409C59D-4AA1-06FA-C1E6-30142D61D87E}"/>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1"/>
          </a:solidFill>
          <a:ln>
            <a:noFill/>
          </a:ln>
          <a:effectLst/>
        </p:spPr>
        <p:txBody>
          <a:bodyPr wrap="none" anchor="ctr"/>
          <a:lstStyle/>
          <a:p>
            <a:endParaRPr lang="en-US" sz="1200" dirty="0"/>
          </a:p>
        </p:txBody>
      </p:sp>
      <p:sp>
        <p:nvSpPr>
          <p:cNvPr id="5" name="Freeform 67">
            <a:extLst>
              <a:ext uri="{FF2B5EF4-FFF2-40B4-BE49-F238E27FC236}">
                <a16:creationId xmlns:a16="http://schemas.microsoft.com/office/drawing/2014/main" id="{6BFB8785-7292-A326-7003-D876B3D4FC03}"/>
              </a:ext>
            </a:extLst>
          </p:cNvPr>
          <p:cNvSpPr>
            <a:spLocks noChangeArrowheads="1"/>
          </p:cNvSpPr>
          <p:nvPr/>
        </p:nvSpPr>
        <p:spPr bwMode="auto">
          <a:xfrm>
            <a:off x="1153317" y="153290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1"/>
          </a:solidFill>
          <a:ln>
            <a:noFill/>
          </a:ln>
          <a:effectLst/>
        </p:spPr>
        <p:txBody>
          <a:bodyPr wrap="none" anchor="ctr"/>
          <a:lstStyle/>
          <a:p>
            <a:endParaRPr lang="en-US" sz="1200" dirty="0"/>
          </a:p>
        </p:txBody>
      </p:sp>
      <p:sp>
        <p:nvSpPr>
          <p:cNvPr id="6" name="Freeform 68">
            <a:extLst>
              <a:ext uri="{FF2B5EF4-FFF2-40B4-BE49-F238E27FC236}">
                <a16:creationId xmlns:a16="http://schemas.microsoft.com/office/drawing/2014/main" id="{0E9C5093-6BA8-803B-D874-FD345E8705FD}"/>
              </a:ext>
            </a:extLst>
          </p:cNvPr>
          <p:cNvSpPr>
            <a:spLocks noChangeArrowheads="1"/>
          </p:cNvSpPr>
          <p:nvPr/>
        </p:nvSpPr>
        <p:spPr bwMode="auto">
          <a:xfrm>
            <a:off x="5254247" y="1620512"/>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1"/>
          </a:solidFill>
          <a:ln>
            <a:noFill/>
          </a:ln>
          <a:effectLst/>
        </p:spPr>
        <p:txBody>
          <a:bodyPr wrap="none" anchor="ctr"/>
          <a:lstStyle/>
          <a:p>
            <a:endParaRPr lang="en-US" sz="1200" dirty="0"/>
          </a:p>
        </p:txBody>
      </p:sp>
      <p:sp>
        <p:nvSpPr>
          <p:cNvPr id="7" name="Freeform 69">
            <a:extLst>
              <a:ext uri="{FF2B5EF4-FFF2-40B4-BE49-F238E27FC236}">
                <a16:creationId xmlns:a16="http://schemas.microsoft.com/office/drawing/2014/main" id="{AA02E0C5-2D90-43AB-F575-4586A33729D4}"/>
              </a:ext>
            </a:extLst>
          </p:cNvPr>
          <p:cNvSpPr>
            <a:spLocks noChangeArrowheads="1"/>
          </p:cNvSpPr>
          <p:nvPr/>
        </p:nvSpPr>
        <p:spPr bwMode="auto">
          <a:xfrm>
            <a:off x="4739011" y="153290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rgbClr val="FFFFFF">
              <a:alpha val="30000"/>
            </a:srgbClr>
          </a:solidFill>
          <a:ln>
            <a:noFill/>
          </a:ln>
          <a:effectLst/>
        </p:spPr>
        <p:txBody>
          <a:bodyPr wrap="none" anchor="ctr"/>
          <a:lstStyle/>
          <a:p>
            <a:endParaRPr lang="en-US" sz="1200" dirty="0"/>
          </a:p>
        </p:txBody>
      </p:sp>
      <p:sp>
        <p:nvSpPr>
          <p:cNvPr id="8" name="Freeform 70">
            <a:extLst>
              <a:ext uri="{FF2B5EF4-FFF2-40B4-BE49-F238E27FC236}">
                <a16:creationId xmlns:a16="http://schemas.microsoft.com/office/drawing/2014/main" id="{1621B898-AE90-56B3-A6EB-C5FB384CEF04}"/>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solidFill>
          <a:ln>
            <a:noFill/>
          </a:ln>
          <a:effectLst/>
        </p:spPr>
        <p:txBody>
          <a:bodyPr wrap="none" anchor="ctr"/>
          <a:lstStyle/>
          <a:p>
            <a:endParaRPr lang="en-US" sz="1200" dirty="0"/>
          </a:p>
        </p:txBody>
      </p:sp>
      <p:sp>
        <p:nvSpPr>
          <p:cNvPr id="9" name="Freeform 71">
            <a:extLst>
              <a:ext uri="{FF2B5EF4-FFF2-40B4-BE49-F238E27FC236}">
                <a16:creationId xmlns:a16="http://schemas.microsoft.com/office/drawing/2014/main" id="{3B50CD6A-C3C7-00E9-5B48-B05A2220B14A}"/>
              </a:ext>
            </a:extLst>
          </p:cNvPr>
          <p:cNvSpPr>
            <a:spLocks noChangeArrowheads="1"/>
          </p:cNvSpPr>
          <p:nvPr/>
        </p:nvSpPr>
        <p:spPr bwMode="auto">
          <a:xfrm>
            <a:off x="1153317" y="3212449"/>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tx2"/>
          </a:solidFill>
          <a:ln>
            <a:noFill/>
          </a:ln>
          <a:effectLst/>
        </p:spPr>
        <p:txBody>
          <a:bodyPr wrap="none" anchor="ctr"/>
          <a:lstStyle/>
          <a:p>
            <a:endParaRPr lang="en-US" sz="1200" dirty="0"/>
          </a:p>
        </p:txBody>
      </p:sp>
      <p:sp>
        <p:nvSpPr>
          <p:cNvPr id="10" name="Freeform 72">
            <a:extLst>
              <a:ext uri="{FF2B5EF4-FFF2-40B4-BE49-F238E27FC236}">
                <a16:creationId xmlns:a16="http://schemas.microsoft.com/office/drawing/2014/main" id="{9DCBD78C-9B13-7453-60C8-FE156071F13C}"/>
              </a:ext>
            </a:extLst>
          </p:cNvPr>
          <p:cNvSpPr>
            <a:spLocks noChangeArrowheads="1"/>
          </p:cNvSpPr>
          <p:nvPr/>
        </p:nvSpPr>
        <p:spPr bwMode="auto">
          <a:xfrm>
            <a:off x="5254247" y="3300053"/>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tx2"/>
          </a:solidFill>
          <a:ln>
            <a:noFill/>
          </a:ln>
          <a:effectLst/>
        </p:spPr>
        <p:txBody>
          <a:bodyPr wrap="none" anchor="ctr"/>
          <a:lstStyle/>
          <a:p>
            <a:endParaRPr lang="en-US" sz="1200" dirty="0"/>
          </a:p>
        </p:txBody>
      </p:sp>
      <p:sp>
        <p:nvSpPr>
          <p:cNvPr id="11" name="Freeform 73">
            <a:extLst>
              <a:ext uri="{FF2B5EF4-FFF2-40B4-BE49-F238E27FC236}">
                <a16:creationId xmlns:a16="http://schemas.microsoft.com/office/drawing/2014/main" id="{E3329A74-D228-590D-8983-6910D955FB62}"/>
              </a:ext>
            </a:extLst>
          </p:cNvPr>
          <p:cNvSpPr>
            <a:spLocks noChangeArrowheads="1"/>
          </p:cNvSpPr>
          <p:nvPr/>
        </p:nvSpPr>
        <p:spPr bwMode="auto">
          <a:xfrm>
            <a:off x="4739011" y="3212449"/>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tx2">
              <a:lumMod val="75000"/>
              <a:alpha val="30000"/>
            </a:schemeClr>
          </a:solidFill>
          <a:ln>
            <a:noFill/>
          </a:ln>
          <a:effectLst/>
        </p:spPr>
        <p:txBody>
          <a:bodyPr wrap="none" anchor="ctr"/>
          <a:lstStyle/>
          <a:p>
            <a:endParaRPr lang="en-US" sz="1200" dirty="0"/>
          </a:p>
        </p:txBody>
      </p:sp>
      <p:sp>
        <p:nvSpPr>
          <p:cNvPr id="12" name="Freeform 74">
            <a:extLst>
              <a:ext uri="{FF2B5EF4-FFF2-40B4-BE49-F238E27FC236}">
                <a16:creationId xmlns:a16="http://schemas.microsoft.com/office/drawing/2014/main" id="{11A6FA7E-4562-2090-7054-A28E06E8EF95}"/>
              </a:ext>
            </a:extLst>
          </p:cNvPr>
          <p:cNvSpPr>
            <a:spLocks noChangeArrowheads="1"/>
          </p:cNvSpPr>
          <p:nvPr/>
        </p:nvSpPr>
        <p:spPr bwMode="auto">
          <a:xfrm>
            <a:off x="4739011" y="4895012"/>
            <a:ext cx="518232" cy="1413714"/>
          </a:xfrm>
          <a:custGeom>
            <a:avLst/>
            <a:gdLst>
              <a:gd name="T0" fmla="*/ 0 w 762"/>
              <a:gd name="T1" fmla="*/ 0 h 2062"/>
              <a:gd name="T2" fmla="*/ 0 w 762"/>
              <a:gd name="T3" fmla="*/ 2061 h 2062"/>
              <a:gd name="T4" fmla="*/ 761 w 762"/>
              <a:gd name="T5" fmla="*/ 1364 h 2062"/>
              <a:gd name="T6" fmla="*/ 761 w 762"/>
              <a:gd name="T7" fmla="*/ 696 h 2062"/>
              <a:gd name="T8" fmla="*/ 0 w 762"/>
              <a:gd name="T9" fmla="*/ 0 h 2062"/>
            </a:gdLst>
            <a:ahLst/>
            <a:cxnLst>
              <a:cxn ang="0">
                <a:pos x="T0" y="T1"/>
              </a:cxn>
              <a:cxn ang="0">
                <a:pos x="T2" y="T3"/>
              </a:cxn>
              <a:cxn ang="0">
                <a:pos x="T4" y="T5"/>
              </a:cxn>
              <a:cxn ang="0">
                <a:pos x="T6" y="T7"/>
              </a:cxn>
              <a:cxn ang="0">
                <a:pos x="T8" y="T9"/>
              </a:cxn>
            </a:cxnLst>
            <a:rect l="0" t="0" r="r" b="b"/>
            <a:pathLst>
              <a:path w="762" h="2062">
                <a:moveTo>
                  <a:pt x="0" y="0"/>
                </a:moveTo>
                <a:lnTo>
                  <a:pt x="0" y="2061"/>
                </a:lnTo>
                <a:lnTo>
                  <a:pt x="761" y="1364"/>
                </a:lnTo>
                <a:lnTo>
                  <a:pt x="761" y="696"/>
                </a:lnTo>
                <a:lnTo>
                  <a:pt x="0" y="0"/>
                </a:lnTo>
              </a:path>
            </a:pathLst>
          </a:custGeom>
          <a:solidFill>
            <a:schemeClr val="accent2">
              <a:lumMod val="75000"/>
            </a:schemeClr>
          </a:solidFill>
          <a:ln>
            <a:noFill/>
          </a:ln>
          <a:effectLst/>
        </p:spPr>
        <p:txBody>
          <a:bodyPr wrap="none" anchor="ctr"/>
          <a:lstStyle/>
          <a:p>
            <a:endParaRPr lang="en-US" sz="1200" dirty="0"/>
          </a:p>
        </p:txBody>
      </p:sp>
      <p:sp>
        <p:nvSpPr>
          <p:cNvPr id="13" name="Freeform 75">
            <a:extLst>
              <a:ext uri="{FF2B5EF4-FFF2-40B4-BE49-F238E27FC236}">
                <a16:creationId xmlns:a16="http://schemas.microsoft.com/office/drawing/2014/main" id="{233DD456-F5A5-329A-A590-F06335B12D72}"/>
              </a:ext>
            </a:extLst>
          </p:cNvPr>
          <p:cNvSpPr>
            <a:spLocks noChangeArrowheads="1"/>
          </p:cNvSpPr>
          <p:nvPr/>
        </p:nvSpPr>
        <p:spPr bwMode="auto">
          <a:xfrm>
            <a:off x="1153317" y="4895012"/>
            <a:ext cx="3585691" cy="1413714"/>
          </a:xfrm>
          <a:custGeom>
            <a:avLst/>
            <a:gdLst>
              <a:gd name="T0" fmla="*/ 4609 w 5276"/>
              <a:gd name="T1" fmla="*/ 0 h 2062"/>
              <a:gd name="T2" fmla="*/ 0 w 5276"/>
              <a:gd name="T3" fmla="*/ 0 h 2062"/>
              <a:gd name="T4" fmla="*/ 0 w 5276"/>
              <a:gd name="T5" fmla="*/ 2061 h 2062"/>
              <a:gd name="T6" fmla="*/ 4609 w 5276"/>
              <a:gd name="T7" fmla="*/ 2061 h 2062"/>
              <a:gd name="T8" fmla="*/ 5275 w 5276"/>
              <a:gd name="T9" fmla="*/ 2061 h 2062"/>
              <a:gd name="T10" fmla="*/ 5275 w 5276"/>
              <a:gd name="T11" fmla="*/ 0 h 2062"/>
              <a:gd name="T12" fmla="*/ 4609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4609" y="0"/>
                </a:moveTo>
                <a:lnTo>
                  <a:pt x="0" y="0"/>
                </a:lnTo>
                <a:lnTo>
                  <a:pt x="0" y="2061"/>
                </a:lnTo>
                <a:lnTo>
                  <a:pt x="4609" y="2061"/>
                </a:lnTo>
                <a:lnTo>
                  <a:pt x="5275" y="2061"/>
                </a:lnTo>
                <a:lnTo>
                  <a:pt x="5275" y="0"/>
                </a:lnTo>
                <a:lnTo>
                  <a:pt x="4609" y="0"/>
                </a:lnTo>
              </a:path>
            </a:pathLst>
          </a:custGeom>
          <a:solidFill>
            <a:schemeClr val="accent2"/>
          </a:solidFill>
          <a:ln>
            <a:noFill/>
          </a:ln>
          <a:effectLst/>
        </p:spPr>
        <p:txBody>
          <a:bodyPr wrap="none" anchor="ctr"/>
          <a:lstStyle/>
          <a:p>
            <a:endParaRPr lang="en-US" sz="1200" dirty="0"/>
          </a:p>
        </p:txBody>
      </p:sp>
      <p:sp>
        <p:nvSpPr>
          <p:cNvPr id="14" name="Freeform 76">
            <a:extLst>
              <a:ext uri="{FF2B5EF4-FFF2-40B4-BE49-F238E27FC236}">
                <a16:creationId xmlns:a16="http://schemas.microsoft.com/office/drawing/2014/main" id="{A6172D1A-9233-E8D7-A62A-692BF3338998}"/>
              </a:ext>
            </a:extLst>
          </p:cNvPr>
          <p:cNvSpPr>
            <a:spLocks noChangeArrowheads="1"/>
          </p:cNvSpPr>
          <p:nvPr/>
        </p:nvSpPr>
        <p:spPr bwMode="auto">
          <a:xfrm>
            <a:off x="5254247" y="4982614"/>
            <a:ext cx="730918" cy="1238510"/>
          </a:xfrm>
          <a:custGeom>
            <a:avLst/>
            <a:gdLst>
              <a:gd name="T0" fmla="*/ 0 w 1074"/>
              <a:gd name="T1" fmla="*/ 570 h 1810"/>
              <a:gd name="T2" fmla="*/ 0 w 1074"/>
              <a:gd name="T3" fmla="*/ 904 h 1810"/>
              <a:gd name="T4" fmla="*/ 0 w 1074"/>
              <a:gd name="T5" fmla="*/ 1238 h 1810"/>
              <a:gd name="T6" fmla="*/ 1073 w 1074"/>
              <a:gd name="T7" fmla="*/ 1809 h 1810"/>
              <a:gd name="T8" fmla="*/ 1073 w 1074"/>
              <a:gd name="T9" fmla="*/ 904 h 1810"/>
              <a:gd name="T10" fmla="*/ 1073 w 1074"/>
              <a:gd name="T11" fmla="*/ 0 h 1810"/>
              <a:gd name="T12" fmla="*/ 0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0" y="570"/>
                </a:moveTo>
                <a:lnTo>
                  <a:pt x="0" y="904"/>
                </a:lnTo>
                <a:lnTo>
                  <a:pt x="0" y="1238"/>
                </a:lnTo>
                <a:lnTo>
                  <a:pt x="1073" y="1809"/>
                </a:lnTo>
                <a:lnTo>
                  <a:pt x="1073" y="904"/>
                </a:lnTo>
                <a:lnTo>
                  <a:pt x="1073" y="0"/>
                </a:lnTo>
                <a:lnTo>
                  <a:pt x="0" y="570"/>
                </a:lnTo>
              </a:path>
            </a:pathLst>
          </a:custGeom>
          <a:solidFill>
            <a:schemeClr val="accent2"/>
          </a:solidFill>
          <a:ln>
            <a:noFill/>
          </a:ln>
          <a:effectLst/>
        </p:spPr>
        <p:txBody>
          <a:bodyPr wrap="none" anchor="ctr"/>
          <a:lstStyle/>
          <a:p>
            <a:endParaRPr lang="en-US" sz="1200" dirty="0"/>
          </a:p>
        </p:txBody>
      </p:sp>
      <p:sp>
        <p:nvSpPr>
          <p:cNvPr id="16" name="Freeform 297">
            <a:extLst>
              <a:ext uri="{FF2B5EF4-FFF2-40B4-BE49-F238E27FC236}">
                <a16:creationId xmlns:a16="http://schemas.microsoft.com/office/drawing/2014/main" id="{20453230-3599-C1C3-84B2-CEDE2ED06536}"/>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1"/>
          </a:solidFill>
          <a:ln>
            <a:noFill/>
          </a:ln>
          <a:effectLst/>
        </p:spPr>
        <p:txBody>
          <a:bodyPr wrap="none" anchor="ctr"/>
          <a:lstStyle/>
          <a:p>
            <a:endParaRPr lang="en-US" sz="1200" dirty="0"/>
          </a:p>
        </p:txBody>
      </p:sp>
      <p:sp>
        <p:nvSpPr>
          <p:cNvPr id="17" name="Freeform 298">
            <a:extLst>
              <a:ext uri="{FF2B5EF4-FFF2-40B4-BE49-F238E27FC236}">
                <a16:creationId xmlns:a16="http://schemas.microsoft.com/office/drawing/2014/main" id="{2CE4F22D-2059-13A6-9F90-C362F33361ED}"/>
              </a:ext>
            </a:extLst>
          </p:cNvPr>
          <p:cNvSpPr>
            <a:spLocks noChangeArrowheads="1"/>
          </p:cNvSpPr>
          <p:nvPr/>
        </p:nvSpPr>
        <p:spPr bwMode="auto">
          <a:xfrm>
            <a:off x="7452993" y="153290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accent1"/>
          </a:solidFill>
          <a:ln>
            <a:noFill/>
          </a:ln>
          <a:effectLst/>
        </p:spPr>
        <p:txBody>
          <a:bodyPr wrap="none" anchor="ctr"/>
          <a:lstStyle/>
          <a:p>
            <a:endParaRPr lang="en-US" sz="1200" dirty="0"/>
          </a:p>
        </p:txBody>
      </p:sp>
      <p:sp>
        <p:nvSpPr>
          <p:cNvPr id="18" name="Freeform 299">
            <a:extLst>
              <a:ext uri="{FF2B5EF4-FFF2-40B4-BE49-F238E27FC236}">
                <a16:creationId xmlns:a16="http://schemas.microsoft.com/office/drawing/2014/main" id="{DDCC536E-9528-49C2-DFAB-60EB461093C1}"/>
              </a:ext>
            </a:extLst>
          </p:cNvPr>
          <p:cNvSpPr>
            <a:spLocks noChangeArrowheads="1"/>
          </p:cNvSpPr>
          <p:nvPr/>
        </p:nvSpPr>
        <p:spPr bwMode="auto">
          <a:xfrm>
            <a:off x="6206836" y="1620512"/>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1"/>
          </a:solidFill>
          <a:ln>
            <a:noFill/>
          </a:ln>
          <a:effectLst/>
        </p:spPr>
        <p:txBody>
          <a:bodyPr wrap="none" anchor="ctr"/>
          <a:lstStyle/>
          <a:p>
            <a:endParaRPr lang="en-US" sz="1200" dirty="0"/>
          </a:p>
        </p:txBody>
      </p:sp>
      <p:sp>
        <p:nvSpPr>
          <p:cNvPr id="19" name="Freeform 300">
            <a:extLst>
              <a:ext uri="{FF2B5EF4-FFF2-40B4-BE49-F238E27FC236}">
                <a16:creationId xmlns:a16="http://schemas.microsoft.com/office/drawing/2014/main" id="{069BACF1-4121-5B51-9E80-07A05BAC858E}"/>
              </a:ext>
            </a:extLst>
          </p:cNvPr>
          <p:cNvSpPr>
            <a:spLocks noChangeArrowheads="1"/>
          </p:cNvSpPr>
          <p:nvPr/>
        </p:nvSpPr>
        <p:spPr bwMode="auto">
          <a:xfrm>
            <a:off x="6934758" y="153290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rgbClr val="FFFFFF">
              <a:alpha val="30000"/>
            </a:srgbClr>
          </a:solidFill>
          <a:ln>
            <a:noFill/>
          </a:ln>
          <a:effectLst/>
        </p:spPr>
        <p:txBody>
          <a:bodyPr wrap="none" anchor="ctr"/>
          <a:lstStyle/>
          <a:p>
            <a:endParaRPr lang="en-US" sz="1200" dirty="0"/>
          </a:p>
        </p:txBody>
      </p:sp>
      <p:sp>
        <p:nvSpPr>
          <p:cNvPr id="20" name="Freeform 301">
            <a:extLst>
              <a:ext uri="{FF2B5EF4-FFF2-40B4-BE49-F238E27FC236}">
                <a16:creationId xmlns:a16="http://schemas.microsoft.com/office/drawing/2014/main" id="{34BCF1CA-9D59-3ADD-7F1F-08E886076C16}"/>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solidFill>
          <a:ln>
            <a:noFill/>
          </a:ln>
          <a:effectLst/>
        </p:spPr>
        <p:txBody>
          <a:bodyPr wrap="none" anchor="ctr"/>
          <a:lstStyle/>
          <a:p>
            <a:endParaRPr lang="en-US" sz="1200" dirty="0"/>
          </a:p>
        </p:txBody>
      </p:sp>
      <p:sp>
        <p:nvSpPr>
          <p:cNvPr id="21" name="Freeform 302">
            <a:extLst>
              <a:ext uri="{FF2B5EF4-FFF2-40B4-BE49-F238E27FC236}">
                <a16:creationId xmlns:a16="http://schemas.microsoft.com/office/drawing/2014/main" id="{F48037D2-D2DE-C062-D1B1-F9330A3D8F9A}"/>
              </a:ext>
            </a:extLst>
          </p:cNvPr>
          <p:cNvSpPr>
            <a:spLocks noChangeArrowheads="1"/>
          </p:cNvSpPr>
          <p:nvPr/>
        </p:nvSpPr>
        <p:spPr bwMode="auto">
          <a:xfrm>
            <a:off x="7452993" y="3212449"/>
            <a:ext cx="3585690" cy="1413714"/>
          </a:xfrm>
          <a:custGeom>
            <a:avLst/>
            <a:gdLst>
              <a:gd name="T0" fmla="*/ 666 w 5277"/>
              <a:gd name="T1" fmla="*/ 0 h 2062"/>
              <a:gd name="T2" fmla="*/ 5276 w 5277"/>
              <a:gd name="T3" fmla="*/ 0 h 2062"/>
              <a:gd name="T4" fmla="*/ 5276 w 5277"/>
              <a:gd name="T5" fmla="*/ 2061 h 2062"/>
              <a:gd name="T6" fmla="*/ 666 w 5277"/>
              <a:gd name="T7" fmla="*/ 2061 h 2062"/>
              <a:gd name="T8" fmla="*/ 0 w 5277"/>
              <a:gd name="T9" fmla="*/ 2061 h 2062"/>
              <a:gd name="T10" fmla="*/ 0 w 5277"/>
              <a:gd name="T11" fmla="*/ 0 h 2062"/>
              <a:gd name="T12" fmla="*/ 666 w 5277"/>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7" h="2062">
                <a:moveTo>
                  <a:pt x="666" y="0"/>
                </a:moveTo>
                <a:lnTo>
                  <a:pt x="5276" y="0"/>
                </a:lnTo>
                <a:lnTo>
                  <a:pt x="5276" y="2061"/>
                </a:lnTo>
                <a:lnTo>
                  <a:pt x="666" y="2061"/>
                </a:lnTo>
                <a:lnTo>
                  <a:pt x="0" y="2061"/>
                </a:lnTo>
                <a:lnTo>
                  <a:pt x="0" y="0"/>
                </a:lnTo>
                <a:lnTo>
                  <a:pt x="666" y="0"/>
                </a:lnTo>
              </a:path>
            </a:pathLst>
          </a:custGeom>
          <a:solidFill>
            <a:schemeClr val="tx2"/>
          </a:solidFill>
          <a:ln>
            <a:noFill/>
          </a:ln>
          <a:effectLst/>
        </p:spPr>
        <p:txBody>
          <a:bodyPr wrap="none" anchor="ctr"/>
          <a:lstStyle/>
          <a:p>
            <a:endParaRPr lang="en-US" sz="1200" dirty="0"/>
          </a:p>
        </p:txBody>
      </p:sp>
      <p:sp>
        <p:nvSpPr>
          <p:cNvPr id="22" name="Freeform 303">
            <a:extLst>
              <a:ext uri="{FF2B5EF4-FFF2-40B4-BE49-F238E27FC236}">
                <a16:creationId xmlns:a16="http://schemas.microsoft.com/office/drawing/2014/main" id="{0B917AF6-35BD-50EB-B7C9-900292008FF4}"/>
              </a:ext>
            </a:extLst>
          </p:cNvPr>
          <p:cNvSpPr>
            <a:spLocks noChangeArrowheads="1"/>
          </p:cNvSpPr>
          <p:nvPr/>
        </p:nvSpPr>
        <p:spPr bwMode="auto">
          <a:xfrm>
            <a:off x="6206836" y="3300053"/>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tx2"/>
          </a:solidFill>
          <a:ln>
            <a:noFill/>
          </a:ln>
          <a:effectLst/>
        </p:spPr>
        <p:txBody>
          <a:bodyPr wrap="none" anchor="ctr"/>
          <a:lstStyle/>
          <a:p>
            <a:endParaRPr lang="en-US" sz="1200" dirty="0"/>
          </a:p>
        </p:txBody>
      </p:sp>
      <p:sp>
        <p:nvSpPr>
          <p:cNvPr id="23" name="Freeform 304">
            <a:extLst>
              <a:ext uri="{FF2B5EF4-FFF2-40B4-BE49-F238E27FC236}">
                <a16:creationId xmlns:a16="http://schemas.microsoft.com/office/drawing/2014/main" id="{8DD55E8A-6641-BFD7-00EE-116BFA26D1F7}"/>
              </a:ext>
            </a:extLst>
          </p:cNvPr>
          <p:cNvSpPr>
            <a:spLocks noChangeArrowheads="1"/>
          </p:cNvSpPr>
          <p:nvPr/>
        </p:nvSpPr>
        <p:spPr bwMode="auto">
          <a:xfrm>
            <a:off x="6934758" y="3212449"/>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tx2">
              <a:lumMod val="75000"/>
              <a:alpha val="30000"/>
            </a:schemeClr>
          </a:solidFill>
          <a:ln>
            <a:noFill/>
          </a:ln>
          <a:effectLst/>
        </p:spPr>
        <p:txBody>
          <a:bodyPr wrap="none" anchor="ctr"/>
          <a:lstStyle/>
          <a:p>
            <a:endParaRPr lang="en-US" sz="1200" dirty="0"/>
          </a:p>
        </p:txBody>
      </p:sp>
      <p:sp>
        <p:nvSpPr>
          <p:cNvPr id="24" name="Freeform 305">
            <a:extLst>
              <a:ext uri="{FF2B5EF4-FFF2-40B4-BE49-F238E27FC236}">
                <a16:creationId xmlns:a16="http://schemas.microsoft.com/office/drawing/2014/main" id="{1626A9FC-1306-EA29-E401-0DA9AD7AD72E}"/>
              </a:ext>
            </a:extLst>
          </p:cNvPr>
          <p:cNvSpPr>
            <a:spLocks noChangeArrowheads="1"/>
          </p:cNvSpPr>
          <p:nvPr/>
        </p:nvSpPr>
        <p:spPr bwMode="auto">
          <a:xfrm>
            <a:off x="6934758" y="4895012"/>
            <a:ext cx="518233" cy="1413714"/>
          </a:xfrm>
          <a:custGeom>
            <a:avLst/>
            <a:gdLst>
              <a:gd name="T0" fmla="*/ 761 w 762"/>
              <a:gd name="T1" fmla="*/ 0 h 2062"/>
              <a:gd name="T2" fmla="*/ 761 w 762"/>
              <a:gd name="T3" fmla="*/ 2061 h 2062"/>
              <a:gd name="T4" fmla="*/ 0 w 762"/>
              <a:gd name="T5" fmla="*/ 1364 h 2062"/>
              <a:gd name="T6" fmla="*/ 0 w 762"/>
              <a:gd name="T7" fmla="*/ 696 h 2062"/>
              <a:gd name="T8" fmla="*/ 761 w 762"/>
              <a:gd name="T9" fmla="*/ 0 h 2062"/>
            </a:gdLst>
            <a:ahLst/>
            <a:cxnLst>
              <a:cxn ang="0">
                <a:pos x="T0" y="T1"/>
              </a:cxn>
              <a:cxn ang="0">
                <a:pos x="T2" y="T3"/>
              </a:cxn>
              <a:cxn ang="0">
                <a:pos x="T4" y="T5"/>
              </a:cxn>
              <a:cxn ang="0">
                <a:pos x="T6" y="T7"/>
              </a:cxn>
              <a:cxn ang="0">
                <a:pos x="T8" y="T9"/>
              </a:cxn>
            </a:cxnLst>
            <a:rect l="0" t="0" r="r" b="b"/>
            <a:pathLst>
              <a:path w="762" h="2062">
                <a:moveTo>
                  <a:pt x="761" y="0"/>
                </a:moveTo>
                <a:lnTo>
                  <a:pt x="761" y="2061"/>
                </a:lnTo>
                <a:lnTo>
                  <a:pt x="0" y="1364"/>
                </a:lnTo>
                <a:lnTo>
                  <a:pt x="0" y="696"/>
                </a:lnTo>
                <a:lnTo>
                  <a:pt x="761" y="0"/>
                </a:lnTo>
              </a:path>
            </a:pathLst>
          </a:custGeom>
          <a:solidFill>
            <a:schemeClr val="accent2">
              <a:lumMod val="75000"/>
            </a:schemeClr>
          </a:solidFill>
          <a:ln>
            <a:noFill/>
          </a:ln>
          <a:effectLst/>
        </p:spPr>
        <p:txBody>
          <a:bodyPr wrap="none" anchor="ctr"/>
          <a:lstStyle/>
          <a:p>
            <a:endParaRPr lang="en-US" sz="1200" dirty="0"/>
          </a:p>
        </p:txBody>
      </p:sp>
      <p:sp>
        <p:nvSpPr>
          <p:cNvPr id="25" name="Freeform 306">
            <a:extLst>
              <a:ext uri="{FF2B5EF4-FFF2-40B4-BE49-F238E27FC236}">
                <a16:creationId xmlns:a16="http://schemas.microsoft.com/office/drawing/2014/main" id="{29ED6221-BF41-2E6D-C73E-A7C8EEC194A0}"/>
              </a:ext>
            </a:extLst>
          </p:cNvPr>
          <p:cNvSpPr>
            <a:spLocks noChangeArrowheads="1"/>
          </p:cNvSpPr>
          <p:nvPr/>
        </p:nvSpPr>
        <p:spPr bwMode="auto">
          <a:xfrm>
            <a:off x="7452991" y="4895012"/>
            <a:ext cx="3582696" cy="1413714"/>
          </a:xfrm>
          <a:custGeom>
            <a:avLst/>
            <a:gdLst>
              <a:gd name="T0" fmla="*/ 666 w 5276"/>
              <a:gd name="T1" fmla="*/ 0 h 2062"/>
              <a:gd name="T2" fmla="*/ 5275 w 5276"/>
              <a:gd name="T3" fmla="*/ 0 h 2062"/>
              <a:gd name="T4" fmla="*/ 5275 w 5276"/>
              <a:gd name="T5" fmla="*/ 2061 h 2062"/>
              <a:gd name="T6" fmla="*/ 666 w 5276"/>
              <a:gd name="T7" fmla="*/ 2061 h 2062"/>
              <a:gd name="T8" fmla="*/ 0 w 5276"/>
              <a:gd name="T9" fmla="*/ 2061 h 2062"/>
              <a:gd name="T10" fmla="*/ 0 w 5276"/>
              <a:gd name="T11" fmla="*/ 0 h 2062"/>
              <a:gd name="T12" fmla="*/ 666 w 5276"/>
              <a:gd name="T13" fmla="*/ 0 h 2062"/>
            </a:gdLst>
            <a:ahLst/>
            <a:cxnLst>
              <a:cxn ang="0">
                <a:pos x="T0" y="T1"/>
              </a:cxn>
              <a:cxn ang="0">
                <a:pos x="T2" y="T3"/>
              </a:cxn>
              <a:cxn ang="0">
                <a:pos x="T4" y="T5"/>
              </a:cxn>
              <a:cxn ang="0">
                <a:pos x="T6" y="T7"/>
              </a:cxn>
              <a:cxn ang="0">
                <a:pos x="T8" y="T9"/>
              </a:cxn>
              <a:cxn ang="0">
                <a:pos x="T10" y="T11"/>
              </a:cxn>
              <a:cxn ang="0">
                <a:pos x="T12" y="T13"/>
              </a:cxn>
            </a:cxnLst>
            <a:rect l="0" t="0" r="r" b="b"/>
            <a:pathLst>
              <a:path w="5276" h="2062">
                <a:moveTo>
                  <a:pt x="666" y="0"/>
                </a:moveTo>
                <a:lnTo>
                  <a:pt x="5275" y="0"/>
                </a:lnTo>
                <a:lnTo>
                  <a:pt x="5275" y="2061"/>
                </a:lnTo>
                <a:lnTo>
                  <a:pt x="666" y="2061"/>
                </a:lnTo>
                <a:lnTo>
                  <a:pt x="0" y="2061"/>
                </a:lnTo>
                <a:lnTo>
                  <a:pt x="0" y="0"/>
                </a:lnTo>
                <a:lnTo>
                  <a:pt x="666" y="0"/>
                </a:lnTo>
              </a:path>
            </a:pathLst>
          </a:custGeom>
          <a:solidFill>
            <a:schemeClr val="accent2"/>
          </a:solidFill>
          <a:ln>
            <a:noFill/>
          </a:ln>
          <a:effectLst/>
        </p:spPr>
        <p:txBody>
          <a:bodyPr wrap="none" anchor="ctr"/>
          <a:lstStyle/>
          <a:p>
            <a:endParaRPr lang="en-US" sz="1200" dirty="0"/>
          </a:p>
        </p:txBody>
      </p:sp>
      <p:sp>
        <p:nvSpPr>
          <p:cNvPr id="26" name="Freeform 307">
            <a:extLst>
              <a:ext uri="{FF2B5EF4-FFF2-40B4-BE49-F238E27FC236}">
                <a16:creationId xmlns:a16="http://schemas.microsoft.com/office/drawing/2014/main" id="{EA88FBFB-D331-865C-0A22-ECBDFCA40D02}"/>
              </a:ext>
            </a:extLst>
          </p:cNvPr>
          <p:cNvSpPr>
            <a:spLocks noChangeArrowheads="1"/>
          </p:cNvSpPr>
          <p:nvPr/>
        </p:nvSpPr>
        <p:spPr bwMode="auto">
          <a:xfrm>
            <a:off x="6206836" y="4982614"/>
            <a:ext cx="730918" cy="1238510"/>
          </a:xfrm>
          <a:custGeom>
            <a:avLst/>
            <a:gdLst>
              <a:gd name="T0" fmla="*/ 1073 w 1074"/>
              <a:gd name="T1" fmla="*/ 570 h 1810"/>
              <a:gd name="T2" fmla="*/ 1073 w 1074"/>
              <a:gd name="T3" fmla="*/ 904 h 1810"/>
              <a:gd name="T4" fmla="*/ 1073 w 1074"/>
              <a:gd name="T5" fmla="*/ 1238 h 1810"/>
              <a:gd name="T6" fmla="*/ 0 w 1074"/>
              <a:gd name="T7" fmla="*/ 1809 h 1810"/>
              <a:gd name="T8" fmla="*/ 0 w 1074"/>
              <a:gd name="T9" fmla="*/ 904 h 1810"/>
              <a:gd name="T10" fmla="*/ 0 w 1074"/>
              <a:gd name="T11" fmla="*/ 0 h 1810"/>
              <a:gd name="T12" fmla="*/ 1073 w 1074"/>
              <a:gd name="T13" fmla="*/ 570 h 1810"/>
            </a:gdLst>
            <a:ahLst/>
            <a:cxnLst>
              <a:cxn ang="0">
                <a:pos x="T0" y="T1"/>
              </a:cxn>
              <a:cxn ang="0">
                <a:pos x="T2" y="T3"/>
              </a:cxn>
              <a:cxn ang="0">
                <a:pos x="T4" y="T5"/>
              </a:cxn>
              <a:cxn ang="0">
                <a:pos x="T6" y="T7"/>
              </a:cxn>
              <a:cxn ang="0">
                <a:pos x="T8" y="T9"/>
              </a:cxn>
              <a:cxn ang="0">
                <a:pos x="T10" y="T11"/>
              </a:cxn>
              <a:cxn ang="0">
                <a:pos x="T12" y="T13"/>
              </a:cxn>
            </a:cxnLst>
            <a:rect l="0" t="0" r="r" b="b"/>
            <a:pathLst>
              <a:path w="1074" h="1810">
                <a:moveTo>
                  <a:pt x="1073" y="570"/>
                </a:moveTo>
                <a:lnTo>
                  <a:pt x="1073" y="904"/>
                </a:lnTo>
                <a:lnTo>
                  <a:pt x="1073" y="1238"/>
                </a:lnTo>
                <a:lnTo>
                  <a:pt x="0" y="1809"/>
                </a:lnTo>
                <a:lnTo>
                  <a:pt x="0" y="904"/>
                </a:lnTo>
                <a:lnTo>
                  <a:pt x="0" y="0"/>
                </a:lnTo>
                <a:lnTo>
                  <a:pt x="1073" y="570"/>
                </a:lnTo>
              </a:path>
            </a:pathLst>
          </a:custGeom>
          <a:solidFill>
            <a:schemeClr val="accent2"/>
          </a:solidFill>
          <a:ln>
            <a:noFill/>
          </a:ln>
          <a:effectLst/>
        </p:spPr>
        <p:txBody>
          <a:bodyPr wrap="none" anchor="ctr"/>
          <a:lstStyle/>
          <a:p>
            <a:endParaRPr lang="en-US" sz="1200" dirty="0"/>
          </a:p>
        </p:txBody>
      </p:sp>
      <p:sp>
        <p:nvSpPr>
          <p:cNvPr id="30" name="TextBox 5">
            <a:extLst>
              <a:ext uri="{FF2B5EF4-FFF2-40B4-BE49-F238E27FC236}">
                <a16:creationId xmlns:a16="http://schemas.microsoft.com/office/drawing/2014/main" id="{4961B523-84FF-ED1A-6D73-183B221ECD20}"/>
              </a:ext>
            </a:extLst>
          </p:cNvPr>
          <p:cNvSpPr txBox="1"/>
          <p:nvPr/>
        </p:nvSpPr>
        <p:spPr>
          <a:xfrm>
            <a:off x="1376878" y="1793211"/>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1</a:t>
            </a:r>
          </a:p>
        </p:txBody>
      </p:sp>
      <p:sp>
        <p:nvSpPr>
          <p:cNvPr id="31" name="TextBox 6">
            <a:extLst>
              <a:ext uri="{FF2B5EF4-FFF2-40B4-BE49-F238E27FC236}">
                <a16:creationId xmlns:a16="http://schemas.microsoft.com/office/drawing/2014/main" id="{3AACCFF3-5EEC-35FC-BCC6-B493795CE502}"/>
              </a:ext>
            </a:extLst>
          </p:cNvPr>
          <p:cNvSpPr txBox="1"/>
          <p:nvPr/>
        </p:nvSpPr>
        <p:spPr>
          <a:xfrm>
            <a:off x="1376878" y="2083677"/>
            <a:ext cx="3143062" cy="553998"/>
          </a:xfrm>
          <a:prstGeom prst="rect">
            <a:avLst/>
          </a:prstGeom>
          <a:noFill/>
          <a:effectLst/>
        </p:spPr>
        <p:txBody>
          <a:bodyPr wrap="square" lIns="0" tIns="0" rIns="0" bIns="0" rtlCol="0">
            <a:spAutoFit/>
          </a:bodyPr>
          <a:lstStyle>
            <a:defPPr>
              <a:defRPr lang="en-US"/>
            </a:defPPr>
            <a:lvl1pP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solidFill>
                  <a:schemeClr val="bg1"/>
                </a:solidFill>
              </a:rPr>
              <a:t>Lorem ipsum dolor sit </a:t>
            </a:r>
            <a:r>
              <a:rPr lang="en-US" dirty="0" err="1">
                <a:solidFill>
                  <a:schemeClr val="bg1"/>
                </a:solidFill>
              </a:rPr>
              <a:t>amet</a:t>
            </a:r>
            <a:r>
              <a:rPr lang="en-US" dirty="0">
                <a:solidFill>
                  <a:schemeClr val="bg1"/>
                </a:solidFill>
              </a:rPr>
              <a:t>, </a:t>
            </a:r>
            <a:r>
              <a:rPr lang="en-US" dirty="0" err="1">
                <a:solidFill>
                  <a:schemeClr val="bg1"/>
                </a:solidFill>
              </a:rPr>
              <a:t>consectetur</a:t>
            </a:r>
            <a:r>
              <a:rPr lang="en-US" dirty="0">
                <a:solidFill>
                  <a:schemeClr val="bg1"/>
                </a:solidFill>
              </a:rPr>
              <a:t> </a:t>
            </a:r>
            <a:r>
              <a:rPr lang="en-US" dirty="0" err="1">
                <a:solidFill>
                  <a:schemeClr val="bg1"/>
                </a:solidFill>
              </a:rPr>
              <a:t>adipiscing</a:t>
            </a:r>
            <a:r>
              <a:rPr lang="en-US" dirty="0">
                <a:solidFill>
                  <a:schemeClr val="bg1"/>
                </a:solidFill>
              </a:rPr>
              <a:t> </a:t>
            </a:r>
            <a:r>
              <a:rPr lang="en-US" dirty="0" err="1">
                <a:solidFill>
                  <a:schemeClr val="bg1"/>
                </a:solidFill>
              </a:rPr>
              <a:t>elit</a:t>
            </a:r>
            <a:r>
              <a:rPr lang="en-US" dirty="0">
                <a:solidFill>
                  <a:schemeClr val="bg1"/>
                </a:solidFill>
              </a:rPr>
              <a:t>. </a:t>
            </a:r>
          </a:p>
          <a:p>
            <a:endParaRPr lang="en-US" dirty="0">
              <a:solidFill>
                <a:schemeClr val="bg1"/>
              </a:solidFill>
            </a:endParaRPr>
          </a:p>
        </p:txBody>
      </p:sp>
      <p:sp>
        <p:nvSpPr>
          <p:cNvPr id="32" name="TextBox 7">
            <a:extLst>
              <a:ext uri="{FF2B5EF4-FFF2-40B4-BE49-F238E27FC236}">
                <a16:creationId xmlns:a16="http://schemas.microsoft.com/office/drawing/2014/main" id="{C354AB54-AF72-2DB9-C64C-4FE0BBA5A08E}"/>
              </a:ext>
            </a:extLst>
          </p:cNvPr>
          <p:cNvSpPr txBox="1"/>
          <p:nvPr/>
        </p:nvSpPr>
        <p:spPr>
          <a:xfrm>
            <a:off x="1376878" y="3515605"/>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2</a:t>
            </a:r>
          </a:p>
        </p:txBody>
      </p:sp>
      <p:sp>
        <p:nvSpPr>
          <p:cNvPr id="33" name="TextBox 8">
            <a:extLst>
              <a:ext uri="{FF2B5EF4-FFF2-40B4-BE49-F238E27FC236}">
                <a16:creationId xmlns:a16="http://schemas.microsoft.com/office/drawing/2014/main" id="{03712BED-4EFA-A408-FA3F-5B50AC603E17}"/>
              </a:ext>
            </a:extLst>
          </p:cNvPr>
          <p:cNvSpPr txBox="1"/>
          <p:nvPr/>
        </p:nvSpPr>
        <p:spPr>
          <a:xfrm>
            <a:off x="1376878" y="3806072"/>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4" name="TextBox 9">
            <a:extLst>
              <a:ext uri="{FF2B5EF4-FFF2-40B4-BE49-F238E27FC236}">
                <a16:creationId xmlns:a16="http://schemas.microsoft.com/office/drawing/2014/main" id="{9142EA40-2F23-4655-62BF-B6483BD11E38}"/>
              </a:ext>
            </a:extLst>
          </p:cNvPr>
          <p:cNvSpPr txBox="1"/>
          <p:nvPr/>
        </p:nvSpPr>
        <p:spPr>
          <a:xfrm>
            <a:off x="1376878" y="5179510"/>
            <a:ext cx="3143062" cy="276999"/>
          </a:xfrm>
          <a:prstGeom prst="rect">
            <a:avLst/>
          </a:prstGeom>
          <a:noFill/>
          <a:effectLst/>
        </p:spPr>
        <p:txBody>
          <a:bodyPr wrap="square" lIns="0" rIns="0" rtlCol="0" anchor="b">
            <a:noAutofit/>
          </a:bodyPr>
          <a:lstStyle/>
          <a:p>
            <a:r>
              <a:rPr lang="en-US" sz="1200" b="1" spc="-30" dirty="0">
                <a:solidFill>
                  <a:schemeClr val="bg1"/>
                </a:solidFill>
                <a:cs typeface="Poppins" pitchFamily="2" charset="77"/>
              </a:rPr>
              <a:t>TITLE 03</a:t>
            </a:r>
          </a:p>
        </p:txBody>
      </p:sp>
      <p:sp>
        <p:nvSpPr>
          <p:cNvPr id="35" name="TextBox 10">
            <a:extLst>
              <a:ext uri="{FF2B5EF4-FFF2-40B4-BE49-F238E27FC236}">
                <a16:creationId xmlns:a16="http://schemas.microsoft.com/office/drawing/2014/main" id="{FFE75E74-E9A4-7D4B-B03C-901BA4E538F7}"/>
              </a:ext>
            </a:extLst>
          </p:cNvPr>
          <p:cNvSpPr txBox="1"/>
          <p:nvPr/>
        </p:nvSpPr>
        <p:spPr>
          <a:xfrm>
            <a:off x="1376878" y="54699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36" name="TextBox 11">
            <a:extLst>
              <a:ext uri="{FF2B5EF4-FFF2-40B4-BE49-F238E27FC236}">
                <a16:creationId xmlns:a16="http://schemas.microsoft.com/office/drawing/2014/main" id="{0EFEF15E-F2C5-A205-B166-352FACF73304}"/>
              </a:ext>
            </a:extLst>
          </p:cNvPr>
          <p:cNvSpPr txBox="1"/>
          <p:nvPr/>
        </p:nvSpPr>
        <p:spPr>
          <a:xfrm>
            <a:off x="7668945" y="1793211"/>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1</a:t>
            </a:r>
          </a:p>
        </p:txBody>
      </p:sp>
      <p:sp>
        <p:nvSpPr>
          <p:cNvPr id="37" name="TextBox 12">
            <a:extLst>
              <a:ext uri="{FF2B5EF4-FFF2-40B4-BE49-F238E27FC236}">
                <a16:creationId xmlns:a16="http://schemas.microsoft.com/office/drawing/2014/main" id="{D037B5EC-EE92-E560-E690-F551B5E3F0F8}"/>
              </a:ext>
            </a:extLst>
          </p:cNvPr>
          <p:cNvSpPr txBox="1"/>
          <p:nvPr/>
        </p:nvSpPr>
        <p:spPr>
          <a:xfrm>
            <a:off x="7668945" y="2083677"/>
            <a:ext cx="314306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r"/>
            <a:endParaRPr lang="en-US" dirty="0"/>
          </a:p>
        </p:txBody>
      </p:sp>
      <p:sp>
        <p:nvSpPr>
          <p:cNvPr id="38" name="TextBox 13">
            <a:extLst>
              <a:ext uri="{FF2B5EF4-FFF2-40B4-BE49-F238E27FC236}">
                <a16:creationId xmlns:a16="http://schemas.microsoft.com/office/drawing/2014/main" id="{14F35A8B-8201-3C46-6FE7-FE101B5AAB35}"/>
              </a:ext>
            </a:extLst>
          </p:cNvPr>
          <p:cNvSpPr txBox="1"/>
          <p:nvPr/>
        </p:nvSpPr>
        <p:spPr>
          <a:xfrm>
            <a:off x="7668945" y="3517598"/>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2</a:t>
            </a:r>
          </a:p>
        </p:txBody>
      </p:sp>
      <p:sp>
        <p:nvSpPr>
          <p:cNvPr id="39" name="TextBox 14">
            <a:extLst>
              <a:ext uri="{FF2B5EF4-FFF2-40B4-BE49-F238E27FC236}">
                <a16:creationId xmlns:a16="http://schemas.microsoft.com/office/drawing/2014/main" id="{057C3E31-2FE8-752F-94DB-2FE0D0057073}"/>
              </a:ext>
            </a:extLst>
          </p:cNvPr>
          <p:cNvSpPr txBox="1"/>
          <p:nvPr/>
        </p:nvSpPr>
        <p:spPr>
          <a:xfrm>
            <a:off x="7668945" y="3808065"/>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0" name="TextBox 15">
            <a:extLst>
              <a:ext uri="{FF2B5EF4-FFF2-40B4-BE49-F238E27FC236}">
                <a16:creationId xmlns:a16="http://schemas.microsoft.com/office/drawing/2014/main" id="{763DA963-881D-5046-735F-E5F7BC80143F}"/>
              </a:ext>
            </a:extLst>
          </p:cNvPr>
          <p:cNvSpPr txBox="1"/>
          <p:nvPr/>
        </p:nvSpPr>
        <p:spPr>
          <a:xfrm>
            <a:off x="7668945" y="5179706"/>
            <a:ext cx="3143062" cy="276999"/>
          </a:xfrm>
          <a:prstGeom prst="rect">
            <a:avLst/>
          </a:prstGeom>
          <a:noFill/>
          <a:effectLst/>
        </p:spPr>
        <p:txBody>
          <a:bodyPr wrap="square" lIns="0" rIns="0" rtlCol="0" anchor="b">
            <a:noAutofit/>
          </a:bodyPr>
          <a:lstStyle/>
          <a:p>
            <a:pPr algn="r"/>
            <a:r>
              <a:rPr lang="en-US" sz="1200" b="1" spc="-30" dirty="0">
                <a:solidFill>
                  <a:schemeClr val="bg1"/>
                </a:solidFill>
                <a:cs typeface="Poppins" pitchFamily="2" charset="77"/>
              </a:rPr>
              <a:t>TITLE 03</a:t>
            </a:r>
          </a:p>
        </p:txBody>
      </p:sp>
      <p:sp>
        <p:nvSpPr>
          <p:cNvPr id="41" name="TextBox 16">
            <a:extLst>
              <a:ext uri="{FF2B5EF4-FFF2-40B4-BE49-F238E27FC236}">
                <a16:creationId xmlns:a16="http://schemas.microsoft.com/office/drawing/2014/main" id="{507D6C6F-01EE-8E99-3310-55074A0B2E17}"/>
              </a:ext>
            </a:extLst>
          </p:cNvPr>
          <p:cNvSpPr txBox="1"/>
          <p:nvPr/>
        </p:nvSpPr>
        <p:spPr>
          <a:xfrm>
            <a:off x="7668945" y="5470173"/>
            <a:ext cx="3143062"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44" name="TextBox 19">
            <a:extLst>
              <a:ext uri="{FF2B5EF4-FFF2-40B4-BE49-F238E27FC236}">
                <a16:creationId xmlns:a16="http://schemas.microsoft.com/office/drawing/2014/main" id="{C8999EB4-9FF0-D89A-559B-F3DB95FAFB1C}"/>
              </a:ext>
            </a:extLst>
          </p:cNvPr>
          <p:cNvSpPr txBox="1"/>
          <p:nvPr/>
        </p:nvSpPr>
        <p:spPr>
          <a:xfrm>
            <a:off x="5775476" y="1918069"/>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1"/>
                </a:solidFill>
              </a:rPr>
              <a:t>01</a:t>
            </a:r>
          </a:p>
        </p:txBody>
      </p:sp>
      <p:sp>
        <p:nvSpPr>
          <p:cNvPr id="45" name="TextBox 20">
            <a:extLst>
              <a:ext uri="{FF2B5EF4-FFF2-40B4-BE49-F238E27FC236}">
                <a16:creationId xmlns:a16="http://schemas.microsoft.com/office/drawing/2014/main" id="{ACACCB38-8647-D362-82BF-3AC80459AA0A}"/>
              </a:ext>
            </a:extLst>
          </p:cNvPr>
          <p:cNvSpPr txBox="1"/>
          <p:nvPr/>
        </p:nvSpPr>
        <p:spPr>
          <a:xfrm>
            <a:off x="5775476" y="3601870"/>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tx2"/>
                </a:solidFill>
              </a:rPr>
              <a:t>02</a:t>
            </a:r>
          </a:p>
        </p:txBody>
      </p:sp>
      <p:sp>
        <p:nvSpPr>
          <p:cNvPr id="46" name="TextBox 21">
            <a:extLst>
              <a:ext uri="{FF2B5EF4-FFF2-40B4-BE49-F238E27FC236}">
                <a16:creationId xmlns:a16="http://schemas.microsoft.com/office/drawing/2014/main" id="{227FA2B3-8750-DAE0-DAEC-FB39B4B375D2}"/>
              </a:ext>
            </a:extLst>
          </p:cNvPr>
          <p:cNvSpPr txBox="1"/>
          <p:nvPr/>
        </p:nvSpPr>
        <p:spPr>
          <a:xfrm>
            <a:off x="5775476" y="5292622"/>
            <a:ext cx="649193" cy="588810"/>
          </a:xfrm>
          <a:prstGeom prst="rect">
            <a:avLst/>
          </a:prstGeom>
          <a:solidFill>
            <a:schemeClr val="bg1">
              <a:lumMod val="95000"/>
            </a:schemeClr>
          </a:solidFill>
          <a:effectLst/>
        </p:spPr>
        <p:txBody>
          <a:bodyPr vert="horz" lIns="0" tIns="0" rIns="0" bIns="0" anchor="ctr"/>
          <a:lstStyle>
            <a:defPPr>
              <a:defRPr lang="en-US"/>
            </a:defPPr>
            <a:lvl1pPr algn="ctr">
              <a:defRPr sz="1200" b="1">
                <a:latin typeface="Verdana" panose="020B0604030504040204" pitchFamily="34" charset="0"/>
                <a:ea typeface="Verdana" panose="020B0604030504040204" pitchFamily="34" charset="0"/>
                <a:cs typeface="Verdana" panose="020B0604030504040204" pitchFamily="34" charset="0"/>
              </a:defRPr>
            </a:lvl1pPr>
          </a:lstStyle>
          <a:p>
            <a:r>
              <a:rPr lang="en-US" sz="2400" b="0" dirty="0">
                <a:solidFill>
                  <a:schemeClr val="accent2"/>
                </a:solidFill>
              </a:rPr>
              <a:t>03</a:t>
            </a:r>
          </a:p>
        </p:txBody>
      </p:sp>
      <p:sp>
        <p:nvSpPr>
          <p:cNvPr id="15" name="Footer Placeholder 14">
            <a:extLst>
              <a:ext uri="{FF2B5EF4-FFF2-40B4-BE49-F238E27FC236}">
                <a16:creationId xmlns:a16="http://schemas.microsoft.com/office/drawing/2014/main" id="{4A1CC964-14C8-894C-38D8-1A2EF07056D2}"/>
              </a:ext>
            </a:extLst>
          </p:cNvPr>
          <p:cNvSpPr>
            <a:spLocks noGrp="1"/>
          </p:cNvSpPr>
          <p:nvPr>
            <p:ph type="ftr" sz="quarter" idx="3"/>
          </p:nvPr>
        </p:nvSpPr>
        <p:spPr/>
        <p:txBody>
          <a:bodyPr/>
          <a:lstStyle/>
          <a:p>
            <a:r>
              <a:rPr lang="en-US"/>
              <a:t>Source:_______</a:t>
            </a:r>
            <a:endParaRPr lang="en-US" dirty="0"/>
          </a:p>
        </p:txBody>
      </p:sp>
      <p:sp>
        <p:nvSpPr>
          <p:cNvPr id="42" name="Título 41">
            <a:extLst>
              <a:ext uri="{FF2B5EF4-FFF2-40B4-BE49-F238E27FC236}">
                <a16:creationId xmlns:a16="http://schemas.microsoft.com/office/drawing/2014/main" id="{BFEAEA2A-AD1F-08D8-F50C-F706FA50DC3E}"/>
              </a:ext>
            </a:extLst>
          </p:cNvPr>
          <p:cNvSpPr>
            <a:spLocks noGrp="1"/>
          </p:cNvSpPr>
          <p:nvPr>
            <p:ph type="title"/>
          </p:nvPr>
        </p:nvSpPr>
        <p:spPr/>
        <p:txBody>
          <a:bodyPr vert="horz"/>
          <a:lstStyle/>
          <a:p>
            <a:r>
              <a:rPr lang="en-US" dirty="0"/>
              <a:t>Template - Challenges Slide</a:t>
            </a:r>
          </a:p>
        </p:txBody>
      </p:sp>
    </p:spTree>
    <p:extLst>
      <p:ext uri="{BB962C8B-B14F-4D97-AF65-F5344CB8AC3E}">
        <p14:creationId xmlns:p14="http://schemas.microsoft.com/office/powerpoint/2010/main" val="33225489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extLst>
              <p:ext uri="{D42A27DB-BD31-4B8C-83A1-F6EECF244321}">
                <p14:modId xmlns:p14="http://schemas.microsoft.com/office/powerpoint/2010/main" val="4090956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reeform 65">
            <a:extLst>
              <a:ext uri="{FF2B5EF4-FFF2-40B4-BE49-F238E27FC236}">
                <a16:creationId xmlns:a16="http://schemas.microsoft.com/office/drawing/2014/main" id="{02970B62-DC48-1EF9-8CF8-812D4F383804}"/>
              </a:ext>
            </a:extLst>
          </p:cNvPr>
          <p:cNvSpPr>
            <a:spLocks noChangeArrowheads="1"/>
          </p:cNvSpPr>
          <p:nvPr/>
        </p:nvSpPr>
        <p:spPr bwMode="auto">
          <a:xfrm>
            <a:off x="6167439" y="1531409"/>
            <a:ext cx="565010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dirty="0">
                <a:cs typeface="Poppins" pitchFamily="2" charset="77"/>
              </a:rPr>
              <a:t>SOLUTIONS</a:t>
            </a:r>
          </a:p>
        </p:txBody>
      </p:sp>
      <p:sp>
        <p:nvSpPr>
          <p:cNvPr id="38" name="Freeform 341">
            <a:extLst>
              <a:ext uri="{FF2B5EF4-FFF2-40B4-BE49-F238E27FC236}">
                <a16:creationId xmlns:a16="http://schemas.microsoft.com/office/drawing/2014/main" id="{AC1F01CE-FE27-9220-8B13-9F8487502DC7}"/>
              </a:ext>
            </a:extLst>
          </p:cNvPr>
          <p:cNvSpPr>
            <a:spLocks noChangeArrowheads="1"/>
          </p:cNvSpPr>
          <p:nvPr/>
        </p:nvSpPr>
        <p:spPr bwMode="auto">
          <a:xfrm>
            <a:off x="371475" y="1531409"/>
            <a:ext cx="5653088"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pPr algn="r"/>
            <a:r>
              <a:rPr lang="en-US" sz="1400" b="1" spc="-30" dirty="0">
                <a:cs typeface="Poppins" pitchFamily="2" charset="77"/>
              </a:rPr>
              <a:t>CHALLENGES</a:t>
            </a:r>
          </a:p>
        </p:txBody>
      </p:sp>
      <p:sp>
        <p:nvSpPr>
          <p:cNvPr id="2" name="Marcador de texto 1">
            <a:extLst>
              <a:ext uri="{FF2B5EF4-FFF2-40B4-BE49-F238E27FC236}">
                <a16:creationId xmlns:a16="http://schemas.microsoft.com/office/drawing/2014/main" id="{5CC3B568-5889-94C0-5249-5F6823141EAA}"/>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dirty="0"/>
              <a:t>Template - Challenges and solutions</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2120821"/>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dirty="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2120821"/>
            <a:ext cx="4042645"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86434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86434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815696"/>
            <a:ext cx="325070"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671617"/>
            <a:ext cx="1252566" cy="1085557"/>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dirty="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dirty="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671617"/>
            <a:ext cx="4048609"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412157"/>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dirty="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412157"/>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dirty="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366492"/>
            <a:ext cx="325070"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412157"/>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26" name="Freeform 47">
            <a:extLst>
              <a:ext uri="{FF2B5EF4-FFF2-40B4-BE49-F238E27FC236}">
                <a16:creationId xmlns:a16="http://schemas.microsoft.com/office/drawing/2014/main" id="{FCE35CB5-F108-13A6-867A-5089281300E0}"/>
              </a:ext>
            </a:extLst>
          </p:cNvPr>
          <p:cNvSpPr>
            <a:spLocks noChangeArrowheads="1"/>
          </p:cNvSpPr>
          <p:nvPr/>
        </p:nvSpPr>
        <p:spPr bwMode="auto">
          <a:xfrm>
            <a:off x="1462998" y="3570219"/>
            <a:ext cx="673324" cy="637541"/>
          </a:xfrm>
          <a:custGeom>
            <a:avLst/>
            <a:gdLst>
              <a:gd name="connsiteX0" fmla="*/ 790996 w 1240183"/>
              <a:gd name="connsiteY0" fmla="*/ 983255 h 1174275"/>
              <a:gd name="connsiteX1" fmla="*/ 806208 w 1240183"/>
              <a:gd name="connsiteY1" fmla="*/ 998236 h 1174275"/>
              <a:gd name="connsiteX2" fmla="*/ 806208 w 1240183"/>
              <a:gd name="connsiteY2" fmla="*/ 1159283 h 1174275"/>
              <a:gd name="connsiteX3" fmla="*/ 790996 w 1240183"/>
              <a:gd name="connsiteY3" fmla="*/ 1174264 h 1174275"/>
              <a:gd name="connsiteX4" fmla="*/ 774516 w 1240183"/>
              <a:gd name="connsiteY4" fmla="*/ 1159283 h 1174275"/>
              <a:gd name="connsiteX5" fmla="*/ 774516 w 1240183"/>
              <a:gd name="connsiteY5" fmla="*/ 998236 h 1174275"/>
              <a:gd name="connsiteX6" fmla="*/ 790996 w 1240183"/>
              <a:gd name="connsiteY6" fmla="*/ 983255 h 1174275"/>
              <a:gd name="connsiteX7" fmla="*/ 449161 w 1240183"/>
              <a:gd name="connsiteY7" fmla="*/ 983255 h 1174275"/>
              <a:gd name="connsiteX8" fmla="*/ 465640 w 1240183"/>
              <a:gd name="connsiteY8" fmla="*/ 998236 h 1174275"/>
              <a:gd name="connsiteX9" fmla="*/ 465640 w 1240183"/>
              <a:gd name="connsiteY9" fmla="*/ 1159283 h 1174275"/>
              <a:gd name="connsiteX10" fmla="*/ 449161 w 1240183"/>
              <a:gd name="connsiteY10" fmla="*/ 1174264 h 1174275"/>
              <a:gd name="connsiteX11" fmla="*/ 433949 w 1240183"/>
              <a:gd name="connsiteY11" fmla="*/ 1159283 h 1174275"/>
              <a:gd name="connsiteX12" fmla="*/ 433949 w 1240183"/>
              <a:gd name="connsiteY12" fmla="*/ 998236 h 1174275"/>
              <a:gd name="connsiteX13" fmla="*/ 449161 w 1240183"/>
              <a:gd name="connsiteY13" fmla="*/ 983255 h 1174275"/>
              <a:gd name="connsiteX14" fmla="*/ 450041 w 1240183"/>
              <a:gd name="connsiteY14" fmla="*/ 812971 h 1174275"/>
              <a:gd name="connsiteX15" fmla="*/ 783404 w 1240183"/>
              <a:gd name="connsiteY15" fmla="*/ 812971 h 1174275"/>
              <a:gd name="connsiteX16" fmla="*/ 912769 w 1240183"/>
              <a:gd name="connsiteY16" fmla="*/ 950316 h 1174275"/>
              <a:gd name="connsiteX17" fmla="*/ 957550 w 1240183"/>
              <a:gd name="connsiteY17" fmla="*/ 1155715 h 1174275"/>
              <a:gd name="connsiteX18" fmla="*/ 946355 w 1240183"/>
              <a:gd name="connsiteY18" fmla="*/ 1174275 h 1174275"/>
              <a:gd name="connsiteX19" fmla="*/ 942623 w 1240183"/>
              <a:gd name="connsiteY19" fmla="*/ 1174275 h 1174275"/>
              <a:gd name="connsiteX20" fmla="*/ 927696 w 1240183"/>
              <a:gd name="connsiteY20" fmla="*/ 1161901 h 1174275"/>
              <a:gd name="connsiteX21" fmla="*/ 882916 w 1240183"/>
              <a:gd name="connsiteY21" fmla="*/ 957740 h 1174275"/>
              <a:gd name="connsiteX22" fmla="*/ 783404 w 1240183"/>
              <a:gd name="connsiteY22" fmla="*/ 842667 h 1174275"/>
              <a:gd name="connsiteX23" fmla="*/ 450041 w 1240183"/>
              <a:gd name="connsiteY23" fmla="*/ 842667 h 1174275"/>
              <a:gd name="connsiteX24" fmla="*/ 351773 w 1240183"/>
              <a:gd name="connsiteY24" fmla="*/ 958977 h 1174275"/>
              <a:gd name="connsiteX25" fmla="*/ 306993 w 1240183"/>
              <a:gd name="connsiteY25" fmla="*/ 1158189 h 1174275"/>
              <a:gd name="connsiteX26" fmla="*/ 289579 w 1240183"/>
              <a:gd name="connsiteY26" fmla="*/ 1169325 h 1174275"/>
              <a:gd name="connsiteX27" fmla="*/ 277140 w 1240183"/>
              <a:gd name="connsiteY27" fmla="*/ 1150765 h 1174275"/>
              <a:gd name="connsiteX28" fmla="*/ 321920 w 1240183"/>
              <a:gd name="connsiteY28" fmla="*/ 951553 h 1174275"/>
              <a:gd name="connsiteX29" fmla="*/ 450041 w 1240183"/>
              <a:gd name="connsiteY29" fmla="*/ 812971 h 1174275"/>
              <a:gd name="connsiteX30" fmla="*/ 620091 w 1240183"/>
              <a:gd name="connsiteY30" fmla="*/ 474051 h 1174275"/>
              <a:gd name="connsiteX31" fmla="*/ 501801 w 1240183"/>
              <a:gd name="connsiteY31" fmla="*/ 591008 h 1174275"/>
              <a:gd name="connsiteX32" fmla="*/ 620091 w 1240183"/>
              <a:gd name="connsiteY32" fmla="*/ 710454 h 1174275"/>
              <a:gd name="connsiteX33" fmla="*/ 738382 w 1240183"/>
              <a:gd name="connsiteY33" fmla="*/ 591008 h 1174275"/>
              <a:gd name="connsiteX34" fmla="*/ 620091 w 1240183"/>
              <a:gd name="connsiteY34" fmla="*/ 474051 h 1174275"/>
              <a:gd name="connsiteX35" fmla="*/ 818460 w 1240183"/>
              <a:gd name="connsiteY35" fmla="*/ 225212 h 1174275"/>
              <a:gd name="connsiteX36" fmla="*/ 850151 w 1240183"/>
              <a:gd name="connsiteY36" fmla="*/ 256903 h 1174275"/>
              <a:gd name="connsiteX37" fmla="*/ 818460 w 1240183"/>
              <a:gd name="connsiteY37" fmla="*/ 289862 h 1174275"/>
              <a:gd name="connsiteX38" fmla="*/ 785501 w 1240183"/>
              <a:gd name="connsiteY38" fmla="*/ 256903 h 1174275"/>
              <a:gd name="connsiteX39" fmla="*/ 818460 w 1240183"/>
              <a:gd name="connsiteY39" fmla="*/ 225212 h 1174275"/>
              <a:gd name="connsiteX40" fmla="*/ 620709 w 1240183"/>
              <a:gd name="connsiteY40" fmla="*/ 225212 h 1174275"/>
              <a:gd name="connsiteX41" fmla="*/ 652400 w 1240183"/>
              <a:gd name="connsiteY41" fmla="*/ 256903 h 1174275"/>
              <a:gd name="connsiteX42" fmla="*/ 620709 w 1240183"/>
              <a:gd name="connsiteY42" fmla="*/ 289862 h 1174275"/>
              <a:gd name="connsiteX43" fmla="*/ 587751 w 1240183"/>
              <a:gd name="connsiteY43" fmla="*/ 256903 h 1174275"/>
              <a:gd name="connsiteX44" fmla="*/ 620709 w 1240183"/>
              <a:gd name="connsiteY44" fmla="*/ 225212 h 1174275"/>
              <a:gd name="connsiteX45" fmla="*/ 421692 w 1240183"/>
              <a:gd name="connsiteY45" fmla="*/ 225212 h 1174275"/>
              <a:gd name="connsiteX46" fmla="*/ 454650 w 1240183"/>
              <a:gd name="connsiteY46" fmla="*/ 256903 h 1174275"/>
              <a:gd name="connsiteX47" fmla="*/ 421692 w 1240183"/>
              <a:gd name="connsiteY47" fmla="*/ 289862 h 1174275"/>
              <a:gd name="connsiteX48" fmla="*/ 390001 w 1240183"/>
              <a:gd name="connsiteY48" fmla="*/ 256903 h 1174275"/>
              <a:gd name="connsiteX49" fmla="*/ 421692 w 1240183"/>
              <a:gd name="connsiteY49" fmla="*/ 225212 h 1174275"/>
              <a:gd name="connsiteX50" fmla="*/ 141949 w 1240183"/>
              <a:gd name="connsiteY50" fmla="*/ 31105 h 1174275"/>
              <a:gd name="connsiteX51" fmla="*/ 29884 w 1240183"/>
              <a:gd name="connsiteY51" fmla="*/ 143086 h 1174275"/>
              <a:gd name="connsiteX52" fmla="*/ 29884 w 1240183"/>
              <a:gd name="connsiteY52" fmla="*/ 373269 h 1174275"/>
              <a:gd name="connsiteX53" fmla="*/ 141949 w 1240183"/>
              <a:gd name="connsiteY53" fmla="*/ 485249 h 1174275"/>
              <a:gd name="connsiteX54" fmla="*/ 516743 w 1240183"/>
              <a:gd name="connsiteY54" fmla="*/ 485249 h 1174275"/>
              <a:gd name="connsiteX55" fmla="*/ 620091 w 1240183"/>
              <a:gd name="connsiteY55" fmla="*/ 442945 h 1174275"/>
              <a:gd name="connsiteX56" fmla="*/ 724685 w 1240183"/>
              <a:gd name="connsiteY56" fmla="*/ 485249 h 1174275"/>
              <a:gd name="connsiteX57" fmla="*/ 823053 w 1240183"/>
              <a:gd name="connsiteY57" fmla="*/ 485249 h 1174275"/>
              <a:gd name="connsiteX58" fmla="*/ 847957 w 1240183"/>
              <a:gd name="connsiteY58" fmla="*/ 515110 h 1174275"/>
              <a:gd name="connsiteX59" fmla="*/ 847957 w 1240183"/>
              <a:gd name="connsiteY59" fmla="*/ 516355 h 1174275"/>
              <a:gd name="connsiteX60" fmla="*/ 850447 w 1240183"/>
              <a:gd name="connsiteY60" fmla="*/ 582299 h 1174275"/>
              <a:gd name="connsiteX61" fmla="*/ 989905 w 1240183"/>
              <a:gd name="connsiteY61" fmla="*/ 492715 h 1174275"/>
              <a:gd name="connsiteX62" fmla="*/ 1021034 w 1240183"/>
              <a:gd name="connsiteY62" fmla="*/ 485249 h 1174275"/>
              <a:gd name="connsiteX63" fmla="*/ 1096989 w 1240183"/>
              <a:gd name="connsiteY63" fmla="*/ 485249 h 1174275"/>
              <a:gd name="connsiteX64" fmla="*/ 1210299 w 1240183"/>
              <a:gd name="connsiteY64" fmla="*/ 373269 h 1174275"/>
              <a:gd name="connsiteX65" fmla="*/ 1210299 w 1240183"/>
              <a:gd name="connsiteY65" fmla="*/ 143086 h 1174275"/>
              <a:gd name="connsiteX66" fmla="*/ 1096989 w 1240183"/>
              <a:gd name="connsiteY66" fmla="*/ 31105 h 1174275"/>
              <a:gd name="connsiteX67" fmla="*/ 141949 w 1240183"/>
              <a:gd name="connsiteY67" fmla="*/ 0 h 1174275"/>
              <a:gd name="connsiteX68" fmla="*/ 1096989 w 1240183"/>
              <a:gd name="connsiteY68" fmla="*/ 0 h 1174275"/>
              <a:gd name="connsiteX69" fmla="*/ 1240183 w 1240183"/>
              <a:gd name="connsiteY69" fmla="*/ 143086 h 1174275"/>
              <a:gd name="connsiteX70" fmla="*/ 1240183 w 1240183"/>
              <a:gd name="connsiteY70" fmla="*/ 373269 h 1174275"/>
              <a:gd name="connsiteX71" fmla="*/ 1096989 w 1240183"/>
              <a:gd name="connsiteY71" fmla="*/ 516355 h 1174275"/>
              <a:gd name="connsiteX72" fmla="*/ 1021034 w 1240183"/>
              <a:gd name="connsiteY72" fmla="*/ 516355 h 1174275"/>
              <a:gd name="connsiteX73" fmla="*/ 1006092 w 1240183"/>
              <a:gd name="connsiteY73" fmla="*/ 520087 h 1174275"/>
              <a:gd name="connsiteX74" fmla="*/ 851692 w 1240183"/>
              <a:gd name="connsiteY74" fmla="*/ 617137 h 1174275"/>
              <a:gd name="connsiteX75" fmla="*/ 841731 w 1240183"/>
              <a:gd name="connsiteY75" fmla="*/ 619626 h 1174275"/>
              <a:gd name="connsiteX76" fmla="*/ 835505 w 1240183"/>
              <a:gd name="connsiteY76" fmla="*/ 618381 h 1174275"/>
              <a:gd name="connsiteX77" fmla="*/ 820563 w 1240183"/>
              <a:gd name="connsiteY77" fmla="*/ 599718 h 1174275"/>
              <a:gd name="connsiteX78" fmla="*/ 819318 w 1240183"/>
              <a:gd name="connsiteY78" fmla="*/ 597229 h 1174275"/>
              <a:gd name="connsiteX79" fmla="*/ 818073 w 1240183"/>
              <a:gd name="connsiteY79" fmla="*/ 518843 h 1174275"/>
              <a:gd name="connsiteX80" fmla="*/ 816827 w 1240183"/>
              <a:gd name="connsiteY80" fmla="*/ 516355 h 1174275"/>
              <a:gd name="connsiteX81" fmla="*/ 747098 w 1240183"/>
              <a:gd name="connsiteY81" fmla="*/ 516355 h 1174275"/>
              <a:gd name="connsiteX82" fmla="*/ 768266 w 1240183"/>
              <a:gd name="connsiteY82" fmla="*/ 591008 h 1174275"/>
              <a:gd name="connsiteX83" fmla="*/ 620091 w 1240183"/>
              <a:gd name="connsiteY83" fmla="*/ 740316 h 1174275"/>
              <a:gd name="connsiteX84" fmla="*/ 471917 w 1240183"/>
              <a:gd name="connsiteY84" fmla="*/ 591008 h 1174275"/>
              <a:gd name="connsiteX85" fmla="*/ 491839 w 1240183"/>
              <a:gd name="connsiteY85" fmla="*/ 516355 h 1174275"/>
              <a:gd name="connsiteX86" fmla="*/ 141949 w 1240183"/>
              <a:gd name="connsiteY86" fmla="*/ 516355 h 1174275"/>
              <a:gd name="connsiteX87" fmla="*/ 0 w 1240183"/>
              <a:gd name="connsiteY87" fmla="*/ 373269 h 1174275"/>
              <a:gd name="connsiteX88" fmla="*/ 0 w 1240183"/>
              <a:gd name="connsiteY88" fmla="*/ 143086 h 1174275"/>
              <a:gd name="connsiteX89" fmla="*/ 141949 w 1240183"/>
              <a:gd name="connsiteY89" fmla="*/ 0 h 11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40183" h="1174275">
                <a:moveTo>
                  <a:pt x="790996" y="983255"/>
                </a:moveTo>
                <a:cubicBezTo>
                  <a:pt x="798602" y="983255"/>
                  <a:pt x="806208" y="989497"/>
                  <a:pt x="806208" y="998236"/>
                </a:cubicBezTo>
                <a:lnTo>
                  <a:pt x="806208" y="1159283"/>
                </a:lnTo>
                <a:cubicBezTo>
                  <a:pt x="806208" y="1166773"/>
                  <a:pt x="798602" y="1174264"/>
                  <a:pt x="790996" y="1174264"/>
                </a:cubicBezTo>
                <a:cubicBezTo>
                  <a:pt x="782122" y="1174264"/>
                  <a:pt x="774516" y="1166773"/>
                  <a:pt x="774516" y="1159283"/>
                </a:cubicBezTo>
                <a:lnTo>
                  <a:pt x="774516" y="998236"/>
                </a:lnTo>
                <a:cubicBezTo>
                  <a:pt x="774516" y="989497"/>
                  <a:pt x="782122" y="983255"/>
                  <a:pt x="790996" y="983255"/>
                </a:cubicBezTo>
                <a:close/>
                <a:moveTo>
                  <a:pt x="449161" y="983255"/>
                </a:moveTo>
                <a:cubicBezTo>
                  <a:pt x="458034" y="983255"/>
                  <a:pt x="465640" y="989497"/>
                  <a:pt x="465640" y="998236"/>
                </a:cubicBezTo>
                <a:lnTo>
                  <a:pt x="465640" y="1159283"/>
                </a:lnTo>
                <a:cubicBezTo>
                  <a:pt x="465640" y="1166773"/>
                  <a:pt x="458034" y="1174264"/>
                  <a:pt x="449161" y="1174264"/>
                </a:cubicBezTo>
                <a:cubicBezTo>
                  <a:pt x="441555" y="1174264"/>
                  <a:pt x="433949" y="1166773"/>
                  <a:pt x="433949" y="1159283"/>
                </a:cubicBezTo>
                <a:lnTo>
                  <a:pt x="433949" y="998236"/>
                </a:lnTo>
                <a:cubicBezTo>
                  <a:pt x="433949" y="989497"/>
                  <a:pt x="441555" y="983255"/>
                  <a:pt x="449161" y="983255"/>
                </a:cubicBezTo>
                <a:close/>
                <a:moveTo>
                  <a:pt x="450041" y="812971"/>
                </a:moveTo>
                <a:lnTo>
                  <a:pt x="783404" y="812971"/>
                </a:lnTo>
                <a:cubicBezTo>
                  <a:pt x="858038" y="812971"/>
                  <a:pt x="880428" y="836480"/>
                  <a:pt x="912769" y="950316"/>
                </a:cubicBezTo>
                <a:lnTo>
                  <a:pt x="957550" y="1155715"/>
                </a:lnTo>
                <a:cubicBezTo>
                  <a:pt x="960037" y="1164376"/>
                  <a:pt x="955062" y="1171800"/>
                  <a:pt x="946355" y="1174275"/>
                </a:cubicBezTo>
                <a:cubicBezTo>
                  <a:pt x="945111" y="1174275"/>
                  <a:pt x="943867" y="1174275"/>
                  <a:pt x="942623" y="1174275"/>
                </a:cubicBezTo>
                <a:cubicBezTo>
                  <a:pt x="936403" y="1174275"/>
                  <a:pt x="928940" y="1169325"/>
                  <a:pt x="927696" y="1161901"/>
                </a:cubicBezTo>
                <a:lnTo>
                  <a:pt x="882916" y="957740"/>
                </a:lnTo>
                <a:cubicBezTo>
                  <a:pt x="851819" y="847617"/>
                  <a:pt x="836892" y="842667"/>
                  <a:pt x="783404" y="842667"/>
                </a:cubicBezTo>
                <a:lnTo>
                  <a:pt x="450041" y="842667"/>
                </a:lnTo>
                <a:cubicBezTo>
                  <a:pt x="397797" y="842667"/>
                  <a:pt x="382871" y="847617"/>
                  <a:pt x="351773" y="958977"/>
                </a:cubicBezTo>
                <a:lnTo>
                  <a:pt x="306993" y="1158189"/>
                </a:lnTo>
                <a:cubicBezTo>
                  <a:pt x="304505" y="1165613"/>
                  <a:pt x="297042" y="1170563"/>
                  <a:pt x="289579" y="1169325"/>
                </a:cubicBezTo>
                <a:cubicBezTo>
                  <a:pt x="280871" y="1166851"/>
                  <a:pt x="274652" y="1159427"/>
                  <a:pt x="277140" y="1150765"/>
                </a:cubicBezTo>
                <a:lnTo>
                  <a:pt x="321920" y="951553"/>
                </a:lnTo>
                <a:cubicBezTo>
                  <a:pt x="354261" y="836480"/>
                  <a:pt x="376651" y="812971"/>
                  <a:pt x="450041" y="812971"/>
                </a:cubicBezTo>
                <a:close/>
                <a:moveTo>
                  <a:pt x="620091" y="474051"/>
                </a:moveTo>
                <a:cubicBezTo>
                  <a:pt x="555343" y="474051"/>
                  <a:pt x="501801" y="526309"/>
                  <a:pt x="501801" y="591008"/>
                </a:cubicBezTo>
                <a:cubicBezTo>
                  <a:pt x="501801" y="656953"/>
                  <a:pt x="555343" y="710454"/>
                  <a:pt x="620091" y="710454"/>
                </a:cubicBezTo>
                <a:cubicBezTo>
                  <a:pt x="684840" y="710454"/>
                  <a:pt x="738382" y="656953"/>
                  <a:pt x="738382" y="591008"/>
                </a:cubicBezTo>
                <a:cubicBezTo>
                  <a:pt x="738382" y="526309"/>
                  <a:pt x="684840" y="474051"/>
                  <a:pt x="620091" y="474051"/>
                </a:cubicBezTo>
                <a:close/>
                <a:moveTo>
                  <a:pt x="818460" y="225212"/>
                </a:moveTo>
                <a:cubicBezTo>
                  <a:pt x="834939" y="225212"/>
                  <a:pt x="850151" y="240424"/>
                  <a:pt x="850151" y="256903"/>
                </a:cubicBezTo>
                <a:cubicBezTo>
                  <a:pt x="850151" y="274650"/>
                  <a:pt x="834939" y="289862"/>
                  <a:pt x="818460" y="289862"/>
                </a:cubicBezTo>
                <a:cubicBezTo>
                  <a:pt x="800713" y="289862"/>
                  <a:pt x="785501" y="274650"/>
                  <a:pt x="785501" y="256903"/>
                </a:cubicBezTo>
                <a:cubicBezTo>
                  <a:pt x="785501" y="240424"/>
                  <a:pt x="800713" y="225212"/>
                  <a:pt x="818460" y="225212"/>
                </a:cubicBezTo>
                <a:close/>
                <a:moveTo>
                  <a:pt x="620709" y="225212"/>
                </a:moveTo>
                <a:cubicBezTo>
                  <a:pt x="638456" y="225212"/>
                  <a:pt x="652400" y="240424"/>
                  <a:pt x="652400" y="256903"/>
                </a:cubicBezTo>
                <a:cubicBezTo>
                  <a:pt x="652400" y="274650"/>
                  <a:pt x="638456" y="289862"/>
                  <a:pt x="620709" y="289862"/>
                </a:cubicBezTo>
                <a:cubicBezTo>
                  <a:pt x="601695" y="289862"/>
                  <a:pt x="587751" y="274650"/>
                  <a:pt x="587751" y="256903"/>
                </a:cubicBezTo>
                <a:cubicBezTo>
                  <a:pt x="587751" y="240424"/>
                  <a:pt x="601695" y="225212"/>
                  <a:pt x="620709" y="225212"/>
                </a:cubicBezTo>
                <a:close/>
                <a:moveTo>
                  <a:pt x="421692" y="225212"/>
                </a:moveTo>
                <a:cubicBezTo>
                  <a:pt x="440706" y="225212"/>
                  <a:pt x="454650" y="240424"/>
                  <a:pt x="454650" y="256903"/>
                </a:cubicBezTo>
                <a:cubicBezTo>
                  <a:pt x="454650" y="274650"/>
                  <a:pt x="440706" y="289862"/>
                  <a:pt x="421692" y="289862"/>
                </a:cubicBezTo>
                <a:cubicBezTo>
                  <a:pt x="403945" y="289862"/>
                  <a:pt x="390001" y="274650"/>
                  <a:pt x="390001" y="256903"/>
                </a:cubicBezTo>
                <a:cubicBezTo>
                  <a:pt x="390001" y="240424"/>
                  <a:pt x="403945" y="225212"/>
                  <a:pt x="421692" y="225212"/>
                </a:cubicBezTo>
                <a:close/>
                <a:moveTo>
                  <a:pt x="141949" y="31105"/>
                </a:moveTo>
                <a:cubicBezTo>
                  <a:pt x="80935" y="31105"/>
                  <a:pt x="29884" y="80875"/>
                  <a:pt x="29884" y="143086"/>
                </a:cubicBezTo>
                <a:lnTo>
                  <a:pt x="29884" y="373269"/>
                </a:lnTo>
                <a:cubicBezTo>
                  <a:pt x="29884" y="434236"/>
                  <a:pt x="80935" y="485249"/>
                  <a:pt x="141949" y="485249"/>
                </a:cubicBezTo>
                <a:lnTo>
                  <a:pt x="516743" y="485249"/>
                </a:lnTo>
                <a:cubicBezTo>
                  <a:pt x="542891" y="459120"/>
                  <a:pt x="579001" y="442945"/>
                  <a:pt x="620091" y="442945"/>
                </a:cubicBezTo>
                <a:cubicBezTo>
                  <a:pt x="659936" y="442945"/>
                  <a:pt x="697291" y="459120"/>
                  <a:pt x="724685" y="485249"/>
                </a:cubicBezTo>
                <a:lnTo>
                  <a:pt x="823053" y="485249"/>
                </a:lnTo>
                <a:cubicBezTo>
                  <a:pt x="835505" y="485249"/>
                  <a:pt x="845466" y="497692"/>
                  <a:pt x="847957" y="515110"/>
                </a:cubicBezTo>
                <a:lnTo>
                  <a:pt x="847957" y="516355"/>
                </a:lnTo>
                <a:lnTo>
                  <a:pt x="850447" y="582299"/>
                </a:lnTo>
                <a:lnTo>
                  <a:pt x="989905" y="492715"/>
                </a:lnTo>
                <a:cubicBezTo>
                  <a:pt x="1001112" y="487738"/>
                  <a:pt x="1009828" y="485249"/>
                  <a:pt x="1021034" y="485249"/>
                </a:cubicBezTo>
                <a:lnTo>
                  <a:pt x="1096989" y="485249"/>
                </a:lnTo>
                <a:cubicBezTo>
                  <a:pt x="1159247" y="485249"/>
                  <a:pt x="1210299" y="434236"/>
                  <a:pt x="1210299" y="373269"/>
                </a:cubicBezTo>
                <a:lnTo>
                  <a:pt x="1210299" y="143086"/>
                </a:lnTo>
                <a:cubicBezTo>
                  <a:pt x="1210299" y="80875"/>
                  <a:pt x="1159247" y="31105"/>
                  <a:pt x="1096989" y="31105"/>
                </a:cubicBezTo>
                <a:close/>
                <a:moveTo>
                  <a:pt x="141949" y="0"/>
                </a:moveTo>
                <a:lnTo>
                  <a:pt x="1096989" y="0"/>
                </a:lnTo>
                <a:cubicBezTo>
                  <a:pt x="1176680" y="0"/>
                  <a:pt x="1240183" y="63455"/>
                  <a:pt x="1240183" y="143086"/>
                </a:cubicBezTo>
                <a:lnTo>
                  <a:pt x="1240183" y="373269"/>
                </a:lnTo>
                <a:cubicBezTo>
                  <a:pt x="1240183" y="452899"/>
                  <a:pt x="1176680" y="516355"/>
                  <a:pt x="1096989" y="516355"/>
                </a:cubicBezTo>
                <a:lnTo>
                  <a:pt x="1021034" y="516355"/>
                </a:lnTo>
                <a:cubicBezTo>
                  <a:pt x="1016054" y="516355"/>
                  <a:pt x="1011073" y="517599"/>
                  <a:pt x="1006092" y="520087"/>
                </a:cubicBezTo>
                <a:lnTo>
                  <a:pt x="851692" y="617137"/>
                </a:lnTo>
                <a:cubicBezTo>
                  <a:pt x="849202" y="618381"/>
                  <a:pt x="845466" y="619626"/>
                  <a:pt x="841731" y="619626"/>
                </a:cubicBezTo>
                <a:cubicBezTo>
                  <a:pt x="839240" y="619626"/>
                  <a:pt x="837995" y="619626"/>
                  <a:pt x="835505" y="618381"/>
                </a:cubicBezTo>
                <a:cubicBezTo>
                  <a:pt x="825544" y="614649"/>
                  <a:pt x="821808" y="603451"/>
                  <a:pt x="820563" y="599718"/>
                </a:cubicBezTo>
                <a:lnTo>
                  <a:pt x="819318" y="597229"/>
                </a:lnTo>
                <a:lnTo>
                  <a:pt x="818073" y="518843"/>
                </a:lnTo>
                <a:cubicBezTo>
                  <a:pt x="816827" y="517599"/>
                  <a:pt x="816827" y="517599"/>
                  <a:pt x="816827" y="516355"/>
                </a:cubicBezTo>
                <a:lnTo>
                  <a:pt x="747098" y="516355"/>
                </a:lnTo>
                <a:cubicBezTo>
                  <a:pt x="760795" y="538751"/>
                  <a:pt x="768266" y="563635"/>
                  <a:pt x="768266" y="591008"/>
                </a:cubicBezTo>
                <a:cubicBezTo>
                  <a:pt x="768266" y="673127"/>
                  <a:pt x="702272" y="740316"/>
                  <a:pt x="620091" y="740316"/>
                </a:cubicBezTo>
                <a:cubicBezTo>
                  <a:pt x="537910" y="740316"/>
                  <a:pt x="471917" y="673127"/>
                  <a:pt x="471917" y="591008"/>
                </a:cubicBezTo>
                <a:cubicBezTo>
                  <a:pt x="471917" y="563635"/>
                  <a:pt x="479388" y="538751"/>
                  <a:pt x="491839" y="516355"/>
                </a:cubicBezTo>
                <a:lnTo>
                  <a:pt x="141949" y="516355"/>
                </a:lnTo>
                <a:cubicBezTo>
                  <a:pt x="63503" y="516355"/>
                  <a:pt x="0" y="452899"/>
                  <a:pt x="0" y="373269"/>
                </a:cubicBezTo>
                <a:lnTo>
                  <a:pt x="0" y="143086"/>
                </a:lnTo>
                <a:cubicBezTo>
                  <a:pt x="0" y="63455"/>
                  <a:pt x="63503" y="0"/>
                  <a:pt x="141949" y="0"/>
                </a:cubicBezTo>
                <a:close/>
              </a:path>
            </a:pathLst>
          </a:custGeom>
          <a:solidFill>
            <a:schemeClr val="tx2"/>
          </a:solidFill>
          <a:ln>
            <a:noFill/>
          </a:ln>
          <a:effectLst/>
        </p:spPr>
        <p:txBody>
          <a:bodyPr wrap="square" anchor="ctr">
            <a:noAutofit/>
          </a:bodyPr>
          <a:lstStyle/>
          <a:p>
            <a:endParaRPr lang="en-US" sz="1200" dirty="0"/>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082574"/>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dirty="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dirty="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4048609"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dirty="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dirty="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37" name="Freeform 58">
            <a:extLst>
              <a:ext uri="{FF2B5EF4-FFF2-40B4-BE49-F238E27FC236}">
                <a16:creationId xmlns:a16="http://schemas.microsoft.com/office/drawing/2014/main" id="{C7A85037-13C0-46EB-5321-B38BF30FC5EE}"/>
              </a:ext>
            </a:extLst>
          </p:cNvPr>
          <p:cNvSpPr>
            <a:spLocks noChangeArrowheads="1"/>
          </p:cNvSpPr>
          <p:nvPr/>
        </p:nvSpPr>
        <p:spPr bwMode="auto">
          <a:xfrm>
            <a:off x="1470836" y="51687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2"/>
          </a:solidFill>
          <a:ln>
            <a:noFill/>
          </a:ln>
          <a:effectLst/>
        </p:spPr>
        <p:txBody>
          <a:bodyPr wrap="square" anchor="ctr">
            <a:noAutofit/>
          </a:bodyPr>
          <a:lstStyle/>
          <a:p>
            <a:endParaRPr lang="en-US" sz="1200" dirty="0"/>
          </a:p>
        </p:txBody>
      </p:sp>
      <p:sp>
        <p:nvSpPr>
          <p:cNvPr id="39" name="Freeform 361">
            <a:extLst>
              <a:ext uri="{FF2B5EF4-FFF2-40B4-BE49-F238E27FC236}">
                <a16:creationId xmlns:a16="http://schemas.microsoft.com/office/drawing/2014/main" id="{F6B82E46-FD06-B539-5989-AE7402C09FFB}"/>
              </a:ext>
            </a:extLst>
          </p:cNvPr>
          <p:cNvSpPr>
            <a:spLocks noChangeArrowheads="1"/>
          </p:cNvSpPr>
          <p:nvPr/>
        </p:nvSpPr>
        <p:spPr bwMode="auto">
          <a:xfrm>
            <a:off x="10567959" y="5222413"/>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2"/>
          </a:solidFill>
          <a:ln>
            <a:noFill/>
          </a:ln>
          <a:effectLst/>
        </p:spPr>
        <p:txBody>
          <a:bodyPr wrap="none" anchor="ctr"/>
          <a:lstStyle/>
          <a:p>
            <a:pPr algn="r"/>
            <a:r>
              <a:rPr lang="en-US" sz="4000" dirty="0">
                <a:solidFill>
                  <a:schemeClr val="bg1"/>
                </a:solidFill>
              </a:rPr>
              <a:t>03</a:t>
            </a:r>
          </a:p>
        </p:txBody>
      </p:sp>
      <p:sp>
        <p:nvSpPr>
          <p:cNvPr id="40" name="Freeform 362">
            <a:extLst>
              <a:ext uri="{FF2B5EF4-FFF2-40B4-BE49-F238E27FC236}">
                <a16:creationId xmlns:a16="http://schemas.microsoft.com/office/drawing/2014/main" id="{76EEE248-7521-B492-4BA0-18F4853129A5}"/>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accent3"/>
          </a:solidFill>
          <a:ln>
            <a:noFill/>
          </a:ln>
          <a:effectLst/>
        </p:spPr>
        <p:txBody>
          <a:bodyPr wrap="none" anchor="ctr"/>
          <a:lstStyle/>
          <a:p>
            <a:endParaRPr lang="en-US" sz="1200" dirty="0"/>
          </a:p>
        </p:txBody>
      </p:sp>
      <p:sp>
        <p:nvSpPr>
          <p:cNvPr id="41" name="Freeform 363">
            <a:extLst>
              <a:ext uri="{FF2B5EF4-FFF2-40B4-BE49-F238E27FC236}">
                <a16:creationId xmlns:a16="http://schemas.microsoft.com/office/drawing/2014/main" id="{93A499BA-57B3-FBC7-FCDF-896BD8D6B877}"/>
              </a:ext>
            </a:extLst>
          </p:cNvPr>
          <p:cNvSpPr>
            <a:spLocks noChangeArrowheads="1"/>
          </p:cNvSpPr>
          <p:nvPr/>
        </p:nvSpPr>
        <p:spPr bwMode="auto">
          <a:xfrm>
            <a:off x="6161475" y="5222413"/>
            <a:ext cx="4051591"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dirty="0"/>
          </a:p>
        </p:txBody>
      </p:sp>
      <p:sp>
        <p:nvSpPr>
          <p:cNvPr id="42" name="Freeform 364">
            <a:extLst>
              <a:ext uri="{FF2B5EF4-FFF2-40B4-BE49-F238E27FC236}">
                <a16:creationId xmlns:a16="http://schemas.microsoft.com/office/drawing/2014/main" id="{515C72EA-76C0-90A1-54EE-5CDE5EDFED86}"/>
              </a:ext>
            </a:extLst>
          </p:cNvPr>
          <p:cNvSpPr>
            <a:spLocks noChangeArrowheads="1"/>
          </p:cNvSpPr>
          <p:nvPr/>
        </p:nvSpPr>
        <p:spPr bwMode="auto">
          <a:xfrm>
            <a:off x="9670288" y="4962953"/>
            <a:ext cx="217707" cy="259461"/>
          </a:xfrm>
          <a:custGeom>
            <a:avLst/>
            <a:gdLst>
              <a:gd name="T0" fmla="*/ 320 w 321"/>
              <a:gd name="T1" fmla="*/ 0 h 384"/>
              <a:gd name="T2" fmla="*/ 0 w 321"/>
              <a:gd name="T3" fmla="*/ 383 h 384"/>
              <a:gd name="T4" fmla="*/ 320 w 321"/>
              <a:gd name="T5" fmla="*/ 383 h 384"/>
              <a:gd name="T6" fmla="*/ 320 w 321"/>
              <a:gd name="T7" fmla="*/ 0 h 384"/>
            </a:gdLst>
            <a:ahLst/>
            <a:cxnLst>
              <a:cxn ang="0">
                <a:pos x="T0" y="T1"/>
              </a:cxn>
              <a:cxn ang="0">
                <a:pos x="T2" y="T3"/>
              </a:cxn>
              <a:cxn ang="0">
                <a:pos x="T4" y="T5"/>
              </a:cxn>
              <a:cxn ang="0">
                <a:pos x="T6" y="T7"/>
              </a:cxn>
            </a:cxnLst>
            <a:rect l="0" t="0" r="r" b="b"/>
            <a:pathLst>
              <a:path w="321" h="384">
                <a:moveTo>
                  <a:pt x="320" y="0"/>
                </a:moveTo>
                <a:lnTo>
                  <a:pt x="0" y="383"/>
                </a:lnTo>
                <a:lnTo>
                  <a:pt x="320" y="383"/>
                </a:lnTo>
                <a:lnTo>
                  <a:pt x="320" y="0"/>
                </a:lnTo>
              </a:path>
            </a:pathLst>
          </a:custGeom>
          <a:solidFill>
            <a:srgbClr val="3A5C87"/>
          </a:solidFill>
          <a:ln>
            <a:noFill/>
          </a:ln>
          <a:effectLst/>
        </p:spPr>
        <p:txBody>
          <a:bodyPr wrap="none" anchor="ctr"/>
          <a:lstStyle/>
          <a:p>
            <a:endParaRPr lang="en-US" sz="1200" dirty="0"/>
          </a:p>
        </p:txBody>
      </p:sp>
      <p:sp>
        <p:nvSpPr>
          <p:cNvPr id="44" name="Freeform 366">
            <a:extLst>
              <a:ext uri="{FF2B5EF4-FFF2-40B4-BE49-F238E27FC236}">
                <a16:creationId xmlns:a16="http://schemas.microsoft.com/office/drawing/2014/main" id="{E9CB727C-CD4E-7C78-D5E1-A3BA9B1DF0CB}"/>
              </a:ext>
            </a:extLst>
          </p:cNvPr>
          <p:cNvSpPr>
            <a:spLocks noChangeArrowheads="1"/>
          </p:cNvSpPr>
          <p:nvPr/>
        </p:nvSpPr>
        <p:spPr bwMode="auto">
          <a:xfrm>
            <a:off x="10893032" y="4962953"/>
            <a:ext cx="217707" cy="259461"/>
          </a:xfrm>
          <a:custGeom>
            <a:avLst/>
            <a:gdLst>
              <a:gd name="T0" fmla="*/ 0 w 321"/>
              <a:gd name="T1" fmla="*/ 0 h 384"/>
              <a:gd name="T2" fmla="*/ 320 w 321"/>
              <a:gd name="T3" fmla="*/ 383 h 384"/>
              <a:gd name="T4" fmla="*/ 0 w 321"/>
              <a:gd name="T5" fmla="*/ 383 h 384"/>
              <a:gd name="T6" fmla="*/ 0 w 321"/>
              <a:gd name="T7" fmla="*/ 0 h 384"/>
            </a:gdLst>
            <a:ahLst/>
            <a:cxnLst>
              <a:cxn ang="0">
                <a:pos x="T0" y="T1"/>
              </a:cxn>
              <a:cxn ang="0">
                <a:pos x="T2" y="T3"/>
              </a:cxn>
              <a:cxn ang="0">
                <a:pos x="T4" y="T5"/>
              </a:cxn>
              <a:cxn ang="0">
                <a:pos x="T6" y="T7"/>
              </a:cxn>
            </a:cxnLst>
            <a:rect l="0" t="0" r="r" b="b"/>
            <a:pathLst>
              <a:path w="321" h="384">
                <a:moveTo>
                  <a:pt x="0" y="0"/>
                </a:moveTo>
                <a:lnTo>
                  <a:pt x="320" y="383"/>
                </a:lnTo>
                <a:lnTo>
                  <a:pt x="0" y="383"/>
                </a:lnTo>
                <a:lnTo>
                  <a:pt x="0" y="0"/>
                </a:lnTo>
              </a:path>
            </a:pathLst>
          </a:custGeom>
          <a:solidFill>
            <a:srgbClr val="3A5C87"/>
          </a:solidFill>
          <a:ln>
            <a:noFill/>
          </a:ln>
          <a:effectLst/>
        </p:spPr>
        <p:txBody>
          <a:bodyPr wrap="none" anchor="ctr"/>
          <a:lstStyle/>
          <a:p>
            <a:endParaRPr lang="en-US" sz="1200" dirty="0"/>
          </a:p>
        </p:txBody>
      </p:sp>
      <p:sp>
        <p:nvSpPr>
          <p:cNvPr id="46" name="Freeform 368">
            <a:extLst>
              <a:ext uri="{FF2B5EF4-FFF2-40B4-BE49-F238E27FC236}">
                <a16:creationId xmlns:a16="http://schemas.microsoft.com/office/drawing/2014/main" id="{767975E8-2638-5365-68FB-CEDD40275B0E}"/>
              </a:ext>
            </a:extLst>
          </p:cNvPr>
          <p:cNvSpPr>
            <a:spLocks noChangeArrowheads="1"/>
          </p:cNvSpPr>
          <p:nvPr/>
        </p:nvSpPr>
        <p:spPr bwMode="auto">
          <a:xfrm>
            <a:off x="9885014" y="5917288"/>
            <a:ext cx="325070" cy="390683"/>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47" name="Freeform 369">
            <a:extLst>
              <a:ext uri="{FF2B5EF4-FFF2-40B4-BE49-F238E27FC236}">
                <a16:creationId xmlns:a16="http://schemas.microsoft.com/office/drawing/2014/main" id="{EE84DB29-CA98-F91B-A593-88E060FAFBC6}"/>
              </a:ext>
            </a:extLst>
          </p:cNvPr>
          <p:cNvSpPr>
            <a:spLocks noChangeArrowheads="1"/>
          </p:cNvSpPr>
          <p:nvPr/>
        </p:nvSpPr>
        <p:spPr bwMode="auto">
          <a:xfrm>
            <a:off x="10567959" y="5917288"/>
            <a:ext cx="325072" cy="390683"/>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48" name="Freeform 370">
            <a:extLst>
              <a:ext uri="{FF2B5EF4-FFF2-40B4-BE49-F238E27FC236}">
                <a16:creationId xmlns:a16="http://schemas.microsoft.com/office/drawing/2014/main" id="{A468E1D6-C05E-F47D-C086-6025BB8E3084}"/>
              </a:ext>
            </a:extLst>
          </p:cNvPr>
          <p:cNvSpPr>
            <a:spLocks noChangeArrowheads="1"/>
          </p:cNvSpPr>
          <p:nvPr/>
        </p:nvSpPr>
        <p:spPr bwMode="auto">
          <a:xfrm>
            <a:off x="9885014" y="4962952"/>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49" name="Freeform 70">
            <a:extLst>
              <a:ext uri="{FF2B5EF4-FFF2-40B4-BE49-F238E27FC236}">
                <a16:creationId xmlns:a16="http://schemas.microsoft.com/office/drawing/2014/main" id="{9DC56A1F-50EA-9363-09C3-836A895DEDBF}"/>
              </a:ext>
            </a:extLst>
          </p:cNvPr>
          <p:cNvSpPr>
            <a:spLocks noChangeArrowheads="1"/>
          </p:cNvSpPr>
          <p:nvPr/>
        </p:nvSpPr>
        <p:spPr bwMode="auto">
          <a:xfrm>
            <a:off x="10079859" y="5159783"/>
            <a:ext cx="618076" cy="562009"/>
          </a:xfrm>
          <a:custGeom>
            <a:avLst/>
            <a:gdLst>
              <a:gd name="connsiteX0" fmla="*/ 770815 w 1138423"/>
              <a:gd name="connsiteY0" fmla="*/ 906355 h 1035154"/>
              <a:gd name="connsiteX1" fmla="*/ 1032725 w 1138423"/>
              <a:gd name="connsiteY1" fmla="*/ 906355 h 1035154"/>
              <a:gd name="connsiteX2" fmla="*/ 1138233 w 1138423"/>
              <a:gd name="connsiteY2" fmla="*/ 1016216 h 1035154"/>
              <a:gd name="connsiteX3" fmla="*/ 1127061 w 1138423"/>
              <a:gd name="connsiteY3" fmla="*/ 1034526 h 1035154"/>
              <a:gd name="connsiteX4" fmla="*/ 1123339 w 1138423"/>
              <a:gd name="connsiteY4" fmla="*/ 1034526 h 1035154"/>
              <a:gd name="connsiteX5" fmla="*/ 1108443 w 1138423"/>
              <a:gd name="connsiteY5" fmla="*/ 1023540 h 1035154"/>
              <a:gd name="connsiteX6" fmla="*/ 1032725 w 1138423"/>
              <a:gd name="connsiteY6" fmla="*/ 936872 h 1035154"/>
              <a:gd name="connsiteX7" fmla="*/ 770815 w 1138423"/>
              <a:gd name="connsiteY7" fmla="*/ 936872 h 1035154"/>
              <a:gd name="connsiteX8" fmla="*/ 695097 w 1138423"/>
              <a:gd name="connsiteY8" fmla="*/ 1023540 h 1035154"/>
              <a:gd name="connsiteX9" fmla="*/ 676477 w 1138423"/>
              <a:gd name="connsiteY9" fmla="*/ 1034526 h 1035154"/>
              <a:gd name="connsiteX10" fmla="*/ 665305 w 1138423"/>
              <a:gd name="connsiteY10" fmla="*/ 1016216 h 1035154"/>
              <a:gd name="connsiteX11" fmla="*/ 770815 w 1138423"/>
              <a:gd name="connsiteY11" fmla="*/ 906355 h 1035154"/>
              <a:gd name="connsiteX12" fmla="*/ 104913 w 1138423"/>
              <a:gd name="connsiteY12" fmla="*/ 906355 h 1035154"/>
              <a:gd name="connsiteX13" fmla="*/ 368067 w 1138423"/>
              <a:gd name="connsiteY13" fmla="*/ 906355 h 1035154"/>
              <a:gd name="connsiteX14" fmla="*/ 472335 w 1138423"/>
              <a:gd name="connsiteY14" fmla="*/ 1016216 h 1035154"/>
              <a:gd name="connsiteX15" fmla="*/ 461163 w 1138423"/>
              <a:gd name="connsiteY15" fmla="*/ 1034526 h 1035154"/>
              <a:gd name="connsiteX16" fmla="*/ 457439 w 1138423"/>
              <a:gd name="connsiteY16" fmla="*/ 1034526 h 1035154"/>
              <a:gd name="connsiteX17" fmla="*/ 443785 w 1138423"/>
              <a:gd name="connsiteY17" fmla="*/ 1023540 h 1035154"/>
              <a:gd name="connsiteX18" fmla="*/ 368067 w 1138423"/>
              <a:gd name="connsiteY18" fmla="*/ 936872 h 1035154"/>
              <a:gd name="connsiteX19" fmla="*/ 104913 w 1138423"/>
              <a:gd name="connsiteY19" fmla="*/ 936872 h 1035154"/>
              <a:gd name="connsiteX20" fmla="*/ 30437 w 1138423"/>
              <a:gd name="connsiteY20" fmla="*/ 1023540 h 1035154"/>
              <a:gd name="connsiteX21" fmla="*/ 10575 w 1138423"/>
              <a:gd name="connsiteY21" fmla="*/ 1034526 h 1035154"/>
              <a:gd name="connsiteX22" fmla="*/ 645 w 1138423"/>
              <a:gd name="connsiteY22" fmla="*/ 1016216 h 1035154"/>
              <a:gd name="connsiteX23" fmla="*/ 104913 w 1138423"/>
              <a:gd name="connsiteY23" fmla="*/ 906355 h 1035154"/>
              <a:gd name="connsiteX24" fmla="*/ 897789 w 1138423"/>
              <a:gd name="connsiteY24" fmla="*/ 677775 h 1035154"/>
              <a:gd name="connsiteX25" fmla="*/ 809005 w 1138423"/>
              <a:gd name="connsiteY25" fmla="*/ 767793 h 1035154"/>
              <a:gd name="connsiteX26" fmla="*/ 897789 w 1138423"/>
              <a:gd name="connsiteY26" fmla="*/ 857812 h 1035154"/>
              <a:gd name="connsiteX27" fmla="*/ 986575 w 1138423"/>
              <a:gd name="connsiteY27" fmla="*/ 767793 h 1035154"/>
              <a:gd name="connsiteX28" fmla="*/ 897789 w 1138423"/>
              <a:gd name="connsiteY28" fmla="*/ 677775 h 1035154"/>
              <a:gd name="connsiteX29" fmla="*/ 233745 w 1138423"/>
              <a:gd name="connsiteY29" fmla="*/ 677775 h 1035154"/>
              <a:gd name="connsiteX30" fmla="*/ 143265 w 1138423"/>
              <a:gd name="connsiteY30" fmla="*/ 767793 h 1035154"/>
              <a:gd name="connsiteX31" fmla="*/ 233745 w 1138423"/>
              <a:gd name="connsiteY31" fmla="*/ 857812 h 1035154"/>
              <a:gd name="connsiteX32" fmla="*/ 322987 w 1138423"/>
              <a:gd name="connsiteY32" fmla="*/ 767793 h 1035154"/>
              <a:gd name="connsiteX33" fmla="*/ 233745 w 1138423"/>
              <a:gd name="connsiteY33" fmla="*/ 677775 h 1035154"/>
              <a:gd name="connsiteX34" fmla="*/ 897789 w 1138423"/>
              <a:gd name="connsiteY34" fmla="*/ 648180 h 1035154"/>
              <a:gd name="connsiteX35" fmla="*/ 1018637 w 1138423"/>
              <a:gd name="connsiteY35" fmla="*/ 767793 h 1035154"/>
              <a:gd name="connsiteX36" fmla="*/ 897789 w 1138423"/>
              <a:gd name="connsiteY36" fmla="*/ 888640 h 1035154"/>
              <a:gd name="connsiteX37" fmla="*/ 778177 w 1138423"/>
              <a:gd name="connsiteY37" fmla="*/ 767793 h 1035154"/>
              <a:gd name="connsiteX38" fmla="*/ 897789 w 1138423"/>
              <a:gd name="connsiteY38" fmla="*/ 648180 h 1035154"/>
              <a:gd name="connsiteX39" fmla="*/ 233745 w 1138423"/>
              <a:gd name="connsiteY39" fmla="*/ 648180 h 1035154"/>
              <a:gd name="connsiteX40" fmla="*/ 353973 w 1138423"/>
              <a:gd name="connsiteY40" fmla="*/ 767793 h 1035154"/>
              <a:gd name="connsiteX41" fmla="*/ 233745 w 1138423"/>
              <a:gd name="connsiteY41" fmla="*/ 888640 h 1035154"/>
              <a:gd name="connsiteX42" fmla="*/ 113517 w 1138423"/>
              <a:gd name="connsiteY42" fmla="*/ 767793 h 1035154"/>
              <a:gd name="connsiteX43" fmla="*/ 233745 w 1138423"/>
              <a:gd name="connsiteY43" fmla="*/ 648180 h 1035154"/>
              <a:gd name="connsiteX44" fmla="*/ 536121 w 1138423"/>
              <a:gd name="connsiteY44" fmla="*/ 291135 h 1035154"/>
              <a:gd name="connsiteX45" fmla="*/ 859695 w 1138423"/>
              <a:gd name="connsiteY45" fmla="*/ 291135 h 1035154"/>
              <a:gd name="connsiteX46" fmla="*/ 875813 w 1138423"/>
              <a:gd name="connsiteY46" fmla="*/ 306955 h 1035154"/>
              <a:gd name="connsiteX47" fmla="*/ 859695 w 1138423"/>
              <a:gd name="connsiteY47" fmla="*/ 322776 h 1035154"/>
              <a:gd name="connsiteX48" fmla="*/ 536121 w 1138423"/>
              <a:gd name="connsiteY48" fmla="*/ 322776 h 1035154"/>
              <a:gd name="connsiteX49" fmla="*/ 520005 w 1138423"/>
              <a:gd name="connsiteY49" fmla="*/ 306955 h 1035154"/>
              <a:gd name="connsiteX50" fmla="*/ 536121 w 1138423"/>
              <a:gd name="connsiteY50" fmla="*/ 291135 h 1035154"/>
              <a:gd name="connsiteX51" fmla="*/ 536483 w 1138423"/>
              <a:gd name="connsiteY51" fmla="*/ 225218 h 1035154"/>
              <a:gd name="connsiteX52" fmla="*/ 635357 w 1138423"/>
              <a:gd name="connsiteY52" fmla="*/ 225218 h 1035154"/>
              <a:gd name="connsiteX53" fmla="*/ 650569 w 1138423"/>
              <a:gd name="connsiteY53" fmla="*/ 241697 h 1035154"/>
              <a:gd name="connsiteX54" fmla="*/ 635357 w 1138423"/>
              <a:gd name="connsiteY54" fmla="*/ 256909 h 1035154"/>
              <a:gd name="connsiteX55" fmla="*/ 536483 w 1138423"/>
              <a:gd name="connsiteY55" fmla="*/ 256909 h 1035154"/>
              <a:gd name="connsiteX56" fmla="*/ 520003 w 1138423"/>
              <a:gd name="connsiteY56" fmla="*/ 241697 h 1035154"/>
              <a:gd name="connsiteX57" fmla="*/ 536483 w 1138423"/>
              <a:gd name="connsiteY57" fmla="*/ 225218 h 1035154"/>
              <a:gd name="connsiteX58" fmla="*/ 445131 w 1138423"/>
              <a:gd name="connsiteY58" fmla="*/ 139202 h 1035154"/>
              <a:gd name="connsiteX59" fmla="*/ 405353 w 1138423"/>
              <a:gd name="connsiteY59" fmla="*/ 177731 h 1035154"/>
              <a:gd name="connsiteX60" fmla="*/ 405353 w 1138423"/>
              <a:gd name="connsiteY60" fmla="*/ 393990 h 1035154"/>
              <a:gd name="connsiteX61" fmla="*/ 445131 w 1138423"/>
              <a:gd name="connsiteY61" fmla="*/ 433762 h 1035154"/>
              <a:gd name="connsiteX62" fmla="*/ 688775 w 1138423"/>
              <a:gd name="connsiteY62" fmla="*/ 433762 h 1035154"/>
              <a:gd name="connsiteX63" fmla="*/ 711149 w 1138423"/>
              <a:gd name="connsiteY63" fmla="*/ 442462 h 1035154"/>
              <a:gd name="connsiteX64" fmla="*/ 847889 w 1138423"/>
              <a:gd name="connsiteY64" fmla="*/ 579178 h 1035154"/>
              <a:gd name="connsiteX65" fmla="*/ 847889 w 1138423"/>
              <a:gd name="connsiteY65" fmla="*/ 464834 h 1035154"/>
              <a:gd name="connsiteX66" fmla="*/ 877721 w 1138423"/>
              <a:gd name="connsiteY66" fmla="*/ 433762 h 1035154"/>
              <a:gd name="connsiteX67" fmla="*/ 905069 w 1138423"/>
              <a:gd name="connsiteY67" fmla="*/ 433762 h 1035154"/>
              <a:gd name="connsiteX68" fmla="*/ 944849 w 1138423"/>
              <a:gd name="connsiteY68" fmla="*/ 393990 h 1035154"/>
              <a:gd name="connsiteX69" fmla="*/ 944849 w 1138423"/>
              <a:gd name="connsiteY69" fmla="*/ 177731 h 1035154"/>
              <a:gd name="connsiteX70" fmla="*/ 905069 w 1138423"/>
              <a:gd name="connsiteY70" fmla="*/ 139202 h 1035154"/>
              <a:gd name="connsiteX71" fmla="*/ 236295 w 1138423"/>
              <a:gd name="connsiteY71" fmla="*/ 29829 h 1035154"/>
              <a:gd name="connsiteX72" fmla="*/ 194029 w 1138423"/>
              <a:gd name="connsiteY72" fmla="*/ 72087 h 1035154"/>
              <a:gd name="connsiteX73" fmla="*/ 194029 w 1138423"/>
              <a:gd name="connsiteY73" fmla="*/ 300775 h 1035154"/>
              <a:gd name="connsiteX74" fmla="*/ 236295 w 1138423"/>
              <a:gd name="connsiteY74" fmla="*/ 343032 h 1035154"/>
              <a:gd name="connsiteX75" fmla="*/ 266129 w 1138423"/>
              <a:gd name="connsiteY75" fmla="*/ 343032 h 1035154"/>
              <a:gd name="connsiteX76" fmla="*/ 297205 w 1138423"/>
              <a:gd name="connsiteY76" fmla="*/ 375347 h 1035154"/>
              <a:gd name="connsiteX77" fmla="*/ 297205 w 1138423"/>
              <a:gd name="connsiteY77" fmla="*/ 514548 h 1035154"/>
              <a:gd name="connsiteX78" fmla="*/ 379249 w 1138423"/>
              <a:gd name="connsiteY78" fmla="*/ 417605 h 1035154"/>
              <a:gd name="connsiteX79" fmla="*/ 375519 w 1138423"/>
              <a:gd name="connsiteY79" fmla="*/ 393990 h 1035154"/>
              <a:gd name="connsiteX80" fmla="*/ 375519 w 1138423"/>
              <a:gd name="connsiteY80" fmla="*/ 177731 h 1035154"/>
              <a:gd name="connsiteX81" fmla="*/ 445131 w 1138423"/>
              <a:gd name="connsiteY81" fmla="*/ 108130 h 1035154"/>
              <a:gd name="connsiteX82" fmla="*/ 765845 w 1138423"/>
              <a:gd name="connsiteY82" fmla="*/ 108130 h 1035154"/>
              <a:gd name="connsiteX83" fmla="*/ 765845 w 1138423"/>
              <a:gd name="connsiteY83" fmla="*/ 72087 h 1035154"/>
              <a:gd name="connsiteX84" fmla="*/ 722337 w 1138423"/>
              <a:gd name="connsiteY84" fmla="*/ 29829 h 1035154"/>
              <a:gd name="connsiteX85" fmla="*/ 236295 w 1138423"/>
              <a:gd name="connsiteY85" fmla="*/ 0 h 1035154"/>
              <a:gd name="connsiteX86" fmla="*/ 722337 w 1138423"/>
              <a:gd name="connsiteY86" fmla="*/ 0 h 1035154"/>
              <a:gd name="connsiteX87" fmla="*/ 795679 w 1138423"/>
              <a:gd name="connsiteY87" fmla="*/ 72087 h 1035154"/>
              <a:gd name="connsiteX88" fmla="*/ 795679 w 1138423"/>
              <a:gd name="connsiteY88" fmla="*/ 108130 h 1035154"/>
              <a:gd name="connsiteX89" fmla="*/ 905069 w 1138423"/>
              <a:gd name="connsiteY89" fmla="*/ 108130 h 1035154"/>
              <a:gd name="connsiteX90" fmla="*/ 974681 w 1138423"/>
              <a:gd name="connsiteY90" fmla="*/ 177731 h 1035154"/>
              <a:gd name="connsiteX91" fmla="*/ 974681 w 1138423"/>
              <a:gd name="connsiteY91" fmla="*/ 393990 h 1035154"/>
              <a:gd name="connsiteX92" fmla="*/ 905069 w 1138423"/>
              <a:gd name="connsiteY92" fmla="*/ 464834 h 1035154"/>
              <a:gd name="connsiteX93" fmla="*/ 877721 w 1138423"/>
              <a:gd name="connsiteY93" fmla="*/ 464834 h 1035154"/>
              <a:gd name="connsiteX94" fmla="*/ 877721 w 1138423"/>
              <a:gd name="connsiteY94" fmla="*/ 586635 h 1035154"/>
              <a:gd name="connsiteX95" fmla="*/ 860319 w 1138423"/>
              <a:gd name="connsiteY95" fmla="*/ 611492 h 1035154"/>
              <a:gd name="connsiteX96" fmla="*/ 850375 w 1138423"/>
              <a:gd name="connsiteY96" fmla="*/ 613978 h 1035154"/>
              <a:gd name="connsiteX97" fmla="*/ 830485 w 1138423"/>
              <a:gd name="connsiteY97" fmla="*/ 606521 h 1035154"/>
              <a:gd name="connsiteX98" fmla="*/ 688775 w 1138423"/>
              <a:gd name="connsiteY98" fmla="*/ 464834 h 1035154"/>
              <a:gd name="connsiteX99" fmla="*/ 445131 w 1138423"/>
              <a:gd name="connsiteY99" fmla="*/ 464834 h 1035154"/>
              <a:gd name="connsiteX100" fmla="*/ 396651 w 1138423"/>
              <a:gd name="connsiteY100" fmla="*/ 443705 h 1035154"/>
              <a:gd name="connsiteX101" fmla="*/ 315851 w 1138423"/>
              <a:gd name="connsiteY101" fmla="*/ 540649 h 1035154"/>
              <a:gd name="connsiteX102" fmla="*/ 294719 w 1138423"/>
              <a:gd name="connsiteY102" fmla="*/ 549349 h 1035154"/>
              <a:gd name="connsiteX103" fmla="*/ 283531 w 1138423"/>
              <a:gd name="connsiteY103" fmla="*/ 546863 h 1035154"/>
              <a:gd name="connsiteX104" fmla="*/ 266129 w 1138423"/>
              <a:gd name="connsiteY104" fmla="*/ 520763 h 1035154"/>
              <a:gd name="connsiteX105" fmla="*/ 266129 w 1138423"/>
              <a:gd name="connsiteY105" fmla="*/ 375347 h 1035154"/>
              <a:gd name="connsiteX106" fmla="*/ 266129 w 1138423"/>
              <a:gd name="connsiteY106" fmla="*/ 374104 h 1035154"/>
              <a:gd name="connsiteX107" fmla="*/ 236295 w 1138423"/>
              <a:gd name="connsiteY107" fmla="*/ 374104 h 1035154"/>
              <a:gd name="connsiteX108" fmla="*/ 162953 w 1138423"/>
              <a:gd name="connsiteY108" fmla="*/ 300775 h 1035154"/>
              <a:gd name="connsiteX109" fmla="*/ 162953 w 1138423"/>
              <a:gd name="connsiteY109" fmla="*/ 72087 h 1035154"/>
              <a:gd name="connsiteX110" fmla="*/ 236295 w 1138423"/>
              <a:gd name="connsiteY110" fmla="*/ 0 h 103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138423" h="1035154">
                <a:moveTo>
                  <a:pt x="770815" y="906355"/>
                </a:moveTo>
                <a:lnTo>
                  <a:pt x="1032725" y="906355"/>
                </a:lnTo>
                <a:cubicBezTo>
                  <a:pt x="1097271" y="906355"/>
                  <a:pt x="1113407" y="930769"/>
                  <a:pt x="1138233" y="1016216"/>
                </a:cubicBezTo>
                <a:cubicBezTo>
                  <a:pt x="1139475" y="1023540"/>
                  <a:pt x="1134509" y="1032085"/>
                  <a:pt x="1127061" y="1034526"/>
                </a:cubicBezTo>
                <a:cubicBezTo>
                  <a:pt x="1125821" y="1034526"/>
                  <a:pt x="1124579" y="1034526"/>
                  <a:pt x="1123339" y="1034526"/>
                </a:cubicBezTo>
                <a:cubicBezTo>
                  <a:pt x="1115891" y="1034526"/>
                  <a:pt x="1109685" y="1030864"/>
                  <a:pt x="1108443" y="1023540"/>
                </a:cubicBezTo>
                <a:cubicBezTo>
                  <a:pt x="1083617" y="936872"/>
                  <a:pt x="1072445" y="936872"/>
                  <a:pt x="1032725" y="936872"/>
                </a:cubicBezTo>
                <a:lnTo>
                  <a:pt x="770815" y="936872"/>
                </a:lnTo>
                <a:cubicBezTo>
                  <a:pt x="732335" y="936872"/>
                  <a:pt x="719921" y="936872"/>
                  <a:pt x="695097" y="1023540"/>
                </a:cubicBezTo>
                <a:cubicBezTo>
                  <a:pt x="692613" y="1032085"/>
                  <a:pt x="683925" y="1036967"/>
                  <a:pt x="676477" y="1034526"/>
                </a:cubicBezTo>
                <a:cubicBezTo>
                  <a:pt x="667789" y="1032085"/>
                  <a:pt x="662823" y="1023540"/>
                  <a:pt x="665305" y="1016216"/>
                </a:cubicBezTo>
                <a:cubicBezTo>
                  <a:pt x="690131" y="930769"/>
                  <a:pt x="706267" y="906355"/>
                  <a:pt x="770815" y="906355"/>
                </a:cubicBezTo>
                <a:close/>
                <a:moveTo>
                  <a:pt x="104913" y="906355"/>
                </a:moveTo>
                <a:lnTo>
                  <a:pt x="368067" y="906355"/>
                </a:lnTo>
                <a:cubicBezTo>
                  <a:pt x="431373" y="906355"/>
                  <a:pt x="447509" y="930769"/>
                  <a:pt x="472335" y="1016216"/>
                </a:cubicBezTo>
                <a:cubicBezTo>
                  <a:pt x="474817" y="1023540"/>
                  <a:pt x="469853" y="1032085"/>
                  <a:pt x="461163" y="1034526"/>
                </a:cubicBezTo>
                <a:cubicBezTo>
                  <a:pt x="461163" y="1034526"/>
                  <a:pt x="458681" y="1034526"/>
                  <a:pt x="457439" y="1034526"/>
                </a:cubicBezTo>
                <a:cubicBezTo>
                  <a:pt x="451233" y="1034526"/>
                  <a:pt x="445027" y="1030864"/>
                  <a:pt x="443785" y="1023540"/>
                </a:cubicBezTo>
                <a:cubicBezTo>
                  <a:pt x="417719" y="936872"/>
                  <a:pt x="406547" y="936872"/>
                  <a:pt x="368067" y="936872"/>
                </a:cubicBezTo>
                <a:lnTo>
                  <a:pt x="104913" y="936872"/>
                </a:lnTo>
                <a:cubicBezTo>
                  <a:pt x="66433" y="936872"/>
                  <a:pt x="55263" y="936872"/>
                  <a:pt x="30437" y="1023540"/>
                </a:cubicBezTo>
                <a:cubicBezTo>
                  <a:pt x="27953" y="1032085"/>
                  <a:pt x="19265" y="1036967"/>
                  <a:pt x="10575" y="1034526"/>
                </a:cubicBezTo>
                <a:cubicBezTo>
                  <a:pt x="3129" y="1032085"/>
                  <a:pt x="-1837" y="1023540"/>
                  <a:pt x="645" y="1016216"/>
                </a:cubicBezTo>
                <a:cubicBezTo>
                  <a:pt x="24231" y="930769"/>
                  <a:pt x="41609" y="906355"/>
                  <a:pt x="104913" y="906355"/>
                </a:cubicBezTo>
                <a:close/>
                <a:moveTo>
                  <a:pt x="897789" y="677775"/>
                </a:moveTo>
                <a:cubicBezTo>
                  <a:pt x="848465" y="677775"/>
                  <a:pt x="809005" y="718468"/>
                  <a:pt x="809005" y="767793"/>
                </a:cubicBezTo>
                <a:cubicBezTo>
                  <a:pt x="809005" y="817118"/>
                  <a:pt x="848465" y="857812"/>
                  <a:pt x="897789" y="857812"/>
                </a:cubicBezTo>
                <a:cubicBezTo>
                  <a:pt x="947115" y="857812"/>
                  <a:pt x="986575" y="817118"/>
                  <a:pt x="986575" y="767793"/>
                </a:cubicBezTo>
                <a:cubicBezTo>
                  <a:pt x="986575" y="718468"/>
                  <a:pt x="947115" y="677775"/>
                  <a:pt x="897789" y="677775"/>
                </a:cubicBezTo>
                <a:close/>
                <a:moveTo>
                  <a:pt x="233745" y="677775"/>
                </a:moveTo>
                <a:cubicBezTo>
                  <a:pt x="184167" y="677775"/>
                  <a:pt x="143265" y="718468"/>
                  <a:pt x="143265" y="767793"/>
                </a:cubicBezTo>
                <a:cubicBezTo>
                  <a:pt x="143265" y="817118"/>
                  <a:pt x="184167" y="857812"/>
                  <a:pt x="233745" y="857812"/>
                </a:cubicBezTo>
                <a:cubicBezTo>
                  <a:pt x="283323" y="857812"/>
                  <a:pt x="322987" y="817118"/>
                  <a:pt x="322987" y="767793"/>
                </a:cubicBezTo>
                <a:cubicBezTo>
                  <a:pt x="322987" y="718468"/>
                  <a:pt x="283323" y="677775"/>
                  <a:pt x="233745" y="677775"/>
                </a:cubicBezTo>
                <a:close/>
                <a:moveTo>
                  <a:pt x="897789" y="648180"/>
                </a:moveTo>
                <a:cubicBezTo>
                  <a:pt x="964379" y="648180"/>
                  <a:pt x="1018637" y="701204"/>
                  <a:pt x="1018637" y="767793"/>
                </a:cubicBezTo>
                <a:cubicBezTo>
                  <a:pt x="1018637" y="833149"/>
                  <a:pt x="964379" y="888640"/>
                  <a:pt x="897789" y="888640"/>
                </a:cubicBezTo>
                <a:cubicBezTo>
                  <a:pt x="831201" y="888640"/>
                  <a:pt x="778177" y="833149"/>
                  <a:pt x="778177" y="767793"/>
                </a:cubicBezTo>
                <a:cubicBezTo>
                  <a:pt x="778177" y="701204"/>
                  <a:pt x="831201" y="648180"/>
                  <a:pt x="897789" y="648180"/>
                </a:cubicBezTo>
                <a:close/>
                <a:moveTo>
                  <a:pt x="233745" y="648180"/>
                </a:moveTo>
                <a:cubicBezTo>
                  <a:pt x="299437" y="648180"/>
                  <a:pt x="353973" y="701204"/>
                  <a:pt x="353973" y="767793"/>
                </a:cubicBezTo>
                <a:cubicBezTo>
                  <a:pt x="353973" y="833149"/>
                  <a:pt x="299437" y="888640"/>
                  <a:pt x="233745" y="888640"/>
                </a:cubicBezTo>
                <a:cubicBezTo>
                  <a:pt x="166815" y="888640"/>
                  <a:pt x="113517" y="833149"/>
                  <a:pt x="113517" y="767793"/>
                </a:cubicBezTo>
                <a:cubicBezTo>
                  <a:pt x="113517" y="701204"/>
                  <a:pt x="166815" y="648180"/>
                  <a:pt x="233745" y="648180"/>
                </a:cubicBezTo>
                <a:close/>
                <a:moveTo>
                  <a:pt x="536121" y="291135"/>
                </a:moveTo>
                <a:lnTo>
                  <a:pt x="859695" y="291135"/>
                </a:lnTo>
                <a:cubicBezTo>
                  <a:pt x="868373" y="291135"/>
                  <a:pt x="875813" y="297727"/>
                  <a:pt x="875813" y="306955"/>
                </a:cubicBezTo>
                <a:cubicBezTo>
                  <a:pt x="875813" y="316184"/>
                  <a:pt x="868373" y="322776"/>
                  <a:pt x="859695" y="322776"/>
                </a:cubicBezTo>
                <a:lnTo>
                  <a:pt x="536121" y="322776"/>
                </a:lnTo>
                <a:cubicBezTo>
                  <a:pt x="527443" y="322776"/>
                  <a:pt x="520005" y="316184"/>
                  <a:pt x="520005" y="306955"/>
                </a:cubicBezTo>
                <a:cubicBezTo>
                  <a:pt x="520005" y="297727"/>
                  <a:pt x="527443" y="291135"/>
                  <a:pt x="536121" y="291135"/>
                </a:cubicBezTo>
                <a:close/>
                <a:moveTo>
                  <a:pt x="536483" y="225218"/>
                </a:moveTo>
                <a:lnTo>
                  <a:pt x="635357" y="225218"/>
                </a:lnTo>
                <a:cubicBezTo>
                  <a:pt x="644231" y="225218"/>
                  <a:pt x="650569" y="232824"/>
                  <a:pt x="650569" y="241697"/>
                </a:cubicBezTo>
                <a:cubicBezTo>
                  <a:pt x="650569" y="250571"/>
                  <a:pt x="644231" y="256909"/>
                  <a:pt x="635357" y="256909"/>
                </a:cubicBezTo>
                <a:lnTo>
                  <a:pt x="536483" y="256909"/>
                </a:lnTo>
                <a:cubicBezTo>
                  <a:pt x="527609" y="256909"/>
                  <a:pt x="520003" y="250571"/>
                  <a:pt x="520003" y="241697"/>
                </a:cubicBezTo>
                <a:cubicBezTo>
                  <a:pt x="520003" y="232824"/>
                  <a:pt x="527609" y="225218"/>
                  <a:pt x="536483" y="225218"/>
                </a:cubicBezTo>
                <a:close/>
                <a:moveTo>
                  <a:pt x="445131" y="139202"/>
                </a:moveTo>
                <a:cubicBezTo>
                  <a:pt x="422755" y="139202"/>
                  <a:pt x="405353" y="156602"/>
                  <a:pt x="405353" y="177731"/>
                </a:cubicBezTo>
                <a:lnTo>
                  <a:pt x="405353" y="393990"/>
                </a:lnTo>
                <a:cubicBezTo>
                  <a:pt x="405353" y="416362"/>
                  <a:pt x="422755" y="433762"/>
                  <a:pt x="445131" y="433762"/>
                </a:cubicBezTo>
                <a:lnTo>
                  <a:pt x="688775" y="433762"/>
                </a:lnTo>
                <a:cubicBezTo>
                  <a:pt x="696233" y="433762"/>
                  <a:pt x="704935" y="437491"/>
                  <a:pt x="711149" y="442462"/>
                </a:cubicBezTo>
                <a:lnTo>
                  <a:pt x="847889" y="579178"/>
                </a:lnTo>
                <a:lnTo>
                  <a:pt x="847889" y="464834"/>
                </a:lnTo>
                <a:cubicBezTo>
                  <a:pt x="847889" y="447433"/>
                  <a:pt x="861561" y="433762"/>
                  <a:pt x="877721" y="433762"/>
                </a:cubicBezTo>
                <a:lnTo>
                  <a:pt x="905069" y="433762"/>
                </a:lnTo>
                <a:cubicBezTo>
                  <a:pt x="927445" y="433762"/>
                  <a:pt x="944849" y="416362"/>
                  <a:pt x="944849" y="393990"/>
                </a:cubicBezTo>
                <a:lnTo>
                  <a:pt x="944849" y="177731"/>
                </a:lnTo>
                <a:cubicBezTo>
                  <a:pt x="944849" y="156602"/>
                  <a:pt x="927445" y="139202"/>
                  <a:pt x="905069" y="139202"/>
                </a:cubicBezTo>
                <a:close/>
                <a:moveTo>
                  <a:pt x="236295" y="29829"/>
                </a:moveTo>
                <a:cubicBezTo>
                  <a:pt x="212677" y="29829"/>
                  <a:pt x="194029" y="48472"/>
                  <a:pt x="194029" y="72087"/>
                </a:cubicBezTo>
                <a:lnTo>
                  <a:pt x="194029" y="300775"/>
                </a:lnTo>
                <a:cubicBezTo>
                  <a:pt x="194029" y="324389"/>
                  <a:pt x="212677" y="343032"/>
                  <a:pt x="236295" y="343032"/>
                </a:cubicBezTo>
                <a:lnTo>
                  <a:pt x="266129" y="343032"/>
                </a:lnTo>
                <a:cubicBezTo>
                  <a:pt x="282289" y="343032"/>
                  <a:pt x="297205" y="357947"/>
                  <a:pt x="297205" y="375347"/>
                </a:cubicBezTo>
                <a:lnTo>
                  <a:pt x="297205" y="514548"/>
                </a:lnTo>
                <a:lnTo>
                  <a:pt x="379249" y="417605"/>
                </a:lnTo>
                <a:cubicBezTo>
                  <a:pt x="376763" y="410147"/>
                  <a:pt x="375519" y="402690"/>
                  <a:pt x="375519" y="393990"/>
                </a:cubicBezTo>
                <a:lnTo>
                  <a:pt x="375519" y="177731"/>
                </a:lnTo>
                <a:cubicBezTo>
                  <a:pt x="375519" y="140444"/>
                  <a:pt x="406595" y="108130"/>
                  <a:pt x="445131" y="108130"/>
                </a:cubicBezTo>
                <a:lnTo>
                  <a:pt x="765845" y="108130"/>
                </a:lnTo>
                <a:lnTo>
                  <a:pt x="765845" y="72087"/>
                </a:lnTo>
                <a:cubicBezTo>
                  <a:pt x="765845" y="48472"/>
                  <a:pt x="745955" y="29829"/>
                  <a:pt x="722337" y="29829"/>
                </a:cubicBezTo>
                <a:close/>
                <a:moveTo>
                  <a:pt x="236295" y="0"/>
                </a:moveTo>
                <a:lnTo>
                  <a:pt x="722337" y="0"/>
                </a:lnTo>
                <a:cubicBezTo>
                  <a:pt x="763359" y="0"/>
                  <a:pt x="795679" y="32315"/>
                  <a:pt x="795679" y="72087"/>
                </a:cubicBezTo>
                <a:lnTo>
                  <a:pt x="795679" y="108130"/>
                </a:lnTo>
                <a:lnTo>
                  <a:pt x="905069" y="108130"/>
                </a:lnTo>
                <a:cubicBezTo>
                  <a:pt x="943605" y="108130"/>
                  <a:pt x="974681" y="140444"/>
                  <a:pt x="974681" y="177731"/>
                </a:cubicBezTo>
                <a:lnTo>
                  <a:pt x="974681" y="393990"/>
                </a:lnTo>
                <a:cubicBezTo>
                  <a:pt x="974681" y="432519"/>
                  <a:pt x="943605" y="464834"/>
                  <a:pt x="905069" y="464834"/>
                </a:cubicBezTo>
                <a:lnTo>
                  <a:pt x="877721" y="464834"/>
                </a:lnTo>
                <a:lnTo>
                  <a:pt x="877721" y="586635"/>
                </a:lnTo>
                <a:cubicBezTo>
                  <a:pt x="877721" y="596578"/>
                  <a:pt x="871507" y="607764"/>
                  <a:pt x="860319" y="611492"/>
                </a:cubicBezTo>
                <a:cubicBezTo>
                  <a:pt x="857833" y="612735"/>
                  <a:pt x="852861" y="613978"/>
                  <a:pt x="850375" y="613978"/>
                </a:cubicBezTo>
                <a:cubicBezTo>
                  <a:pt x="842915" y="613978"/>
                  <a:pt x="835457" y="611492"/>
                  <a:pt x="830485" y="606521"/>
                </a:cubicBezTo>
                <a:lnTo>
                  <a:pt x="688775" y="464834"/>
                </a:lnTo>
                <a:lnTo>
                  <a:pt x="445131" y="464834"/>
                </a:lnTo>
                <a:cubicBezTo>
                  <a:pt x="426485" y="464834"/>
                  <a:pt x="409083" y="456134"/>
                  <a:pt x="396651" y="443705"/>
                </a:cubicBezTo>
                <a:lnTo>
                  <a:pt x="315851" y="540649"/>
                </a:lnTo>
                <a:cubicBezTo>
                  <a:pt x="309637" y="545620"/>
                  <a:pt x="302177" y="549349"/>
                  <a:pt x="294719" y="549349"/>
                </a:cubicBezTo>
                <a:cubicBezTo>
                  <a:pt x="292233" y="549349"/>
                  <a:pt x="288503" y="548106"/>
                  <a:pt x="283531" y="546863"/>
                </a:cubicBezTo>
                <a:cubicBezTo>
                  <a:pt x="273587" y="541892"/>
                  <a:pt x="266129" y="531949"/>
                  <a:pt x="266129" y="520763"/>
                </a:cubicBezTo>
                <a:lnTo>
                  <a:pt x="266129" y="375347"/>
                </a:lnTo>
                <a:cubicBezTo>
                  <a:pt x="266129" y="374104"/>
                  <a:pt x="266129" y="374104"/>
                  <a:pt x="266129" y="374104"/>
                </a:cubicBezTo>
                <a:lnTo>
                  <a:pt x="236295" y="374104"/>
                </a:lnTo>
                <a:cubicBezTo>
                  <a:pt x="196517" y="374104"/>
                  <a:pt x="162953" y="340547"/>
                  <a:pt x="162953" y="300775"/>
                </a:cubicBezTo>
                <a:lnTo>
                  <a:pt x="162953" y="72087"/>
                </a:lnTo>
                <a:cubicBezTo>
                  <a:pt x="162953" y="32315"/>
                  <a:pt x="196517" y="0"/>
                  <a:pt x="236295" y="0"/>
                </a:cubicBezTo>
                <a:close/>
              </a:path>
            </a:pathLst>
          </a:custGeom>
          <a:solidFill>
            <a:schemeClr val="accent2"/>
          </a:solidFill>
          <a:ln>
            <a:noFill/>
          </a:ln>
          <a:effectLst/>
        </p:spPr>
        <p:txBody>
          <a:bodyPr wrap="square" anchor="ctr">
            <a:noAutofit/>
          </a:bodyPr>
          <a:lstStyle/>
          <a:p>
            <a:endParaRPr lang="en-US" sz="1200" dirty="0"/>
          </a:p>
        </p:txBody>
      </p:sp>
      <p:sp>
        <p:nvSpPr>
          <p:cNvPr id="50" name="Freeform 454">
            <a:extLst>
              <a:ext uri="{FF2B5EF4-FFF2-40B4-BE49-F238E27FC236}">
                <a16:creationId xmlns:a16="http://schemas.microsoft.com/office/drawing/2014/main" id="{83D2048F-DA2A-F457-97E2-9514EF11AD1B}"/>
              </a:ext>
            </a:extLst>
          </p:cNvPr>
          <p:cNvSpPr>
            <a:spLocks noChangeArrowheads="1"/>
          </p:cNvSpPr>
          <p:nvPr/>
        </p:nvSpPr>
        <p:spPr bwMode="auto">
          <a:xfrm>
            <a:off x="10567959" y="3671617"/>
            <a:ext cx="1252566" cy="1085557"/>
          </a:xfrm>
          <a:custGeom>
            <a:avLst/>
            <a:gdLst>
              <a:gd name="T0" fmla="*/ 1849 w 1850"/>
              <a:gd name="T1" fmla="*/ 1603 h 1604"/>
              <a:gd name="T2" fmla="*/ 0 w 1850"/>
              <a:gd name="T3" fmla="*/ 1603 h 1604"/>
              <a:gd name="T4" fmla="*/ 0 w 1850"/>
              <a:gd name="T5" fmla="*/ 0 h 1604"/>
              <a:gd name="T6" fmla="*/ 1849 w 1850"/>
              <a:gd name="T7" fmla="*/ 0 h 1604"/>
              <a:gd name="T8" fmla="*/ 1849 w 1850"/>
              <a:gd name="T9" fmla="*/ 1603 h 1604"/>
            </a:gdLst>
            <a:ahLst/>
            <a:cxnLst>
              <a:cxn ang="0">
                <a:pos x="T0" y="T1"/>
              </a:cxn>
              <a:cxn ang="0">
                <a:pos x="T2" y="T3"/>
              </a:cxn>
              <a:cxn ang="0">
                <a:pos x="T4" y="T5"/>
              </a:cxn>
              <a:cxn ang="0">
                <a:pos x="T6" y="T7"/>
              </a:cxn>
              <a:cxn ang="0">
                <a:pos x="T8" y="T9"/>
              </a:cxn>
            </a:cxnLst>
            <a:rect l="0" t="0" r="r" b="b"/>
            <a:pathLst>
              <a:path w="1850" h="1604">
                <a:moveTo>
                  <a:pt x="1849" y="1603"/>
                </a:moveTo>
                <a:lnTo>
                  <a:pt x="0" y="1603"/>
                </a:lnTo>
                <a:lnTo>
                  <a:pt x="0" y="0"/>
                </a:lnTo>
                <a:lnTo>
                  <a:pt x="1849" y="0"/>
                </a:lnTo>
                <a:lnTo>
                  <a:pt x="1849" y="1603"/>
                </a:lnTo>
              </a:path>
            </a:pathLst>
          </a:custGeom>
          <a:solidFill>
            <a:schemeClr val="tx2"/>
          </a:solidFill>
          <a:ln>
            <a:noFill/>
          </a:ln>
          <a:effectLst/>
        </p:spPr>
        <p:txBody>
          <a:bodyPr wrap="none" anchor="ctr"/>
          <a:lstStyle/>
          <a:p>
            <a:pPr algn="r"/>
            <a:r>
              <a:rPr lang="en-US" sz="4000" dirty="0">
                <a:solidFill>
                  <a:schemeClr val="bg1"/>
                </a:solidFill>
              </a:rPr>
              <a:t>02</a:t>
            </a:r>
          </a:p>
        </p:txBody>
      </p:sp>
      <p:sp>
        <p:nvSpPr>
          <p:cNvPr id="51" name="Freeform 455">
            <a:extLst>
              <a:ext uri="{FF2B5EF4-FFF2-40B4-BE49-F238E27FC236}">
                <a16:creationId xmlns:a16="http://schemas.microsoft.com/office/drawing/2014/main" id="{DDBF847E-7EC5-67AE-4A13-43AB84288DBD}"/>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accent2"/>
          </a:solidFill>
          <a:ln>
            <a:noFill/>
          </a:ln>
          <a:effectLst/>
        </p:spPr>
        <p:txBody>
          <a:bodyPr wrap="none" anchor="ctr"/>
          <a:lstStyle/>
          <a:p>
            <a:endParaRPr lang="en-US" sz="1200" dirty="0"/>
          </a:p>
        </p:txBody>
      </p:sp>
      <p:sp>
        <p:nvSpPr>
          <p:cNvPr id="52" name="Freeform 456">
            <a:extLst>
              <a:ext uri="{FF2B5EF4-FFF2-40B4-BE49-F238E27FC236}">
                <a16:creationId xmlns:a16="http://schemas.microsoft.com/office/drawing/2014/main" id="{ABD8F65A-0DB9-4F28-45D9-4658FC20501D}"/>
              </a:ext>
            </a:extLst>
          </p:cNvPr>
          <p:cNvSpPr>
            <a:spLocks noChangeArrowheads="1"/>
          </p:cNvSpPr>
          <p:nvPr/>
        </p:nvSpPr>
        <p:spPr bwMode="auto">
          <a:xfrm>
            <a:off x="6161475" y="3671617"/>
            <a:ext cx="4051591" cy="1085557"/>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dirty="0"/>
          </a:p>
        </p:txBody>
      </p:sp>
      <p:sp>
        <p:nvSpPr>
          <p:cNvPr id="53" name="Freeform 457">
            <a:extLst>
              <a:ext uri="{FF2B5EF4-FFF2-40B4-BE49-F238E27FC236}">
                <a16:creationId xmlns:a16="http://schemas.microsoft.com/office/drawing/2014/main" id="{D3EF2848-9ACD-F090-BBC3-57C84D3FDCA2}"/>
              </a:ext>
            </a:extLst>
          </p:cNvPr>
          <p:cNvSpPr>
            <a:spLocks noChangeArrowheads="1"/>
          </p:cNvSpPr>
          <p:nvPr/>
        </p:nvSpPr>
        <p:spPr bwMode="auto">
          <a:xfrm>
            <a:off x="9670288" y="3412157"/>
            <a:ext cx="217707" cy="259461"/>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55" name="Freeform 459">
            <a:extLst>
              <a:ext uri="{FF2B5EF4-FFF2-40B4-BE49-F238E27FC236}">
                <a16:creationId xmlns:a16="http://schemas.microsoft.com/office/drawing/2014/main" id="{A2D39F02-06EA-A0DE-7407-ADCF5F2E1049}"/>
              </a:ext>
            </a:extLst>
          </p:cNvPr>
          <p:cNvSpPr>
            <a:spLocks noChangeArrowheads="1"/>
          </p:cNvSpPr>
          <p:nvPr/>
        </p:nvSpPr>
        <p:spPr bwMode="auto">
          <a:xfrm>
            <a:off x="10893032" y="3412157"/>
            <a:ext cx="217707" cy="259461"/>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57" name="Freeform 461">
            <a:extLst>
              <a:ext uri="{FF2B5EF4-FFF2-40B4-BE49-F238E27FC236}">
                <a16:creationId xmlns:a16="http://schemas.microsoft.com/office/drawing/2014/main" id="{3B4C1EC0-0A62-AB68-3A8C-915AAC13686B}"/>
              </a:ext>
            </a:extLst>
          </p:cNvPr>
          <p:cNvSpPr>
            <a:spLocks noChangeArrowheads="1"/>
          </p:cNvSpPr>
          <p:nvPr/>
        </p:nvSpPr>
        <p:spPr bwMode="auto">
          <a:xfrm>
            <a:off x="9885014" y="4366492"/>
            <a:ext cx="325070" cy="390683"/>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dirty="0"/>
          </a:p>
        </p:txBody>
      </p:sp>
      <p:sp>
        <p:nvSpPr>
          <p:cNvPr id="58" name="Freeform 462">
            <a:extLst>
              <a:ext uri="{FF2B5EF4-FFF2-40B4-BE49-F238E27FC236}">
                <a16:creationId xmlns:a16="http://schemas.microsoft.com/office/drawing/2014/main" id="{FF4B0AA7-80F2-323F-9167-2EA2DD8D6B8F}"/>
              </a:ext>
            </a:extLst>
          </p:cNvPr>
          <p:cNvSpPr>
            <a:spLocks noChangeArrowheads="1"/>
          </p:cNvSpPr>
          <p:nvPr/>
        </p:nvSpPr>
        <p:spPr bwMode="auto">
          <a:xfrm>
            <a:off x="10567959" y="4366492"/>
            <a:ext cx="325072" cy="390683"/>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dirty="0"/>
          </a:p>
        </p:txBody>
      </p:sp>
      <p:sp>
        <p:nvSpPr>
          <p:cNvPr id="59" name="Freeform 463">
            <a:extLst>
              <a:ext uri="{FF2B5EF4-FFF2-40B4-BE49-F238E27FC236}">
                <a16:creationId xmlns:a16="http://schemas.microsoft.com/office/drawing/2014/main" id="{845E0CBC-EF28-689B-36D1-7F79FB522080}"/>
              </a:ext>
            </a:extLst>
          </p:cNvPr>
          <p:cNvSpPr>
            <a:spLocks noChangeArrowheads="1"/>
          </p:cNvSpPr>
          <p:nvPr/>
        </p:nvSpPr>
        <p:spPr bwMode="auto">
          <a:xfrm>
            <a:off x="9885014" y="3412157"/>
            <a:ext cx="1005034" cy="951354"/>
          </a:xfrm>
          <a:custGeom>
            <a:avLst/>
            <a:gdLst>
              <a:gd name="T0" fmla="*/ 1487 w 1488"/>
              <a:gd name="T1" fmla="*/ 1407 h 1408"/>
              <a:gd name="T2" fmla="*/ 0 w 1488"/>
              <a:gd name="T3" fmla="*/ 1407 h 1408"/>
              <a:gd name="T4" fmla="*/ 0 w 1488"/>
              <a:gd name="T5" fmla="*/ 0 h 1408"/>
              <a:gd name="T6" fmla="*/ 1487 w 1488"/>
              <a:gd name="T7" fmla="*/ 0 h 1408"/>
              <a:gd name="T8" fmla="*/ 1487 w 1488"/>
              <a:gd name="T9" fmla="*/ 1407 h 1408"/>
            </a:gdLst>
            <a:ahLst/>
            <a:cxnLst>
              <a:cxn ang="0">
                <a:pos x="T0" y="T1"/>
              </a:cxn>
              <a:cxn ang="0">
                <a:pos x="T2" y="T3"/>
              </a:cxn>
              <a:cxn ang="0">
                <a:pos x="T4" y="T5"/>
              </a:cxn>
              <a:cxn ang="0">
                <a:pos x="T6" y="T7"/>
              </a:cxn>
              <a:cxn ang="0">
                <a:pos x="T8" y="T9"/>
              </a:cxn>
            </a:cxnLst>
            <a:rect l="0" t="0" r="r" b="b"/>
            <a:pathLst>
              <a:path w="1488" h="1408">
                <a:moveTo>
                  <a:pt x="1487" y="1407"/>
                </a:moveTo>
                <a:lnTo>
                  <a:pt x="0" y="1407"/>
                </a:lnTo>
                <a:lnTo>
                  <a:pt x="0" y="0"/>
                </a:lnTo>
                <a:lnTo>
                  <a:pt x="1487" y="0"/>
                </a:lnTo>
                <a:lnTo>
                  <a:pt x="1487" y="1407"/>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60" name="Freeform 81">
            <a:extLst>
              <a:ext uri="{FF2B5EF4-FFF2-40B4-BE49-F238E27FC236}">
                <a16:creationId xmlns:a16="http://schemas.microsoft.com/office/drawing/2014/main" id="{D32E687F-D5ED-C132-1663-CF7BF36BD067}"/>
              </a:ext>
            </a:extLst>
          </p:cNvPr>
          <p:cNvSpPr>
            <a:spLocks noChangeArrowheads="1"/>
          </p:cNvSpPr>
          <p:nvPr/>
        </p:nvSpPr>
        <p:spPr bwMode="auto">
          <a:xfrm>
            <a:off x="10105704" y="3606008"/>
            <a:ext cx="565960" cy="565959"/>
          </a:xfrm>
          <a:custGeom>
            <a:avLst/>
            <a:gdLst>
              <a:gd name="connsiteX0" fmla="*/ 327942 w 1042432"/>
              <a:gd name="connsiteY0" fmla="*/ 618476 h 1042431"/>
              <a:gd name="connsiteX1" fmla="*/ 210730 w 1042432"/>
              <a:gd name="connsiteY1" fmla="*/ 754391 h 1042431"/>
              <a:gd name="connsiteX2" fmla="*/ 183298 w 1042432"/>
              <a:gd name="connsiteY2" fmla="*/ 876590 h 1042431"/>
              <a:gd name="connsiteX3" fmla="*/ 311732 w 1042432"/>
              <a:gd name="connsiteY3" fmla="*/ 963875 h 1042431"/>
              <a:gd name="connsiteX4" fmla="*/ 311732 w 1042432"/>
              <a:gd name="connsiteY4" fmla="*/ 796786 h 1042431"/>
              <a:gd name="connsiteX5" fmla="*/ 326694 w 1042432"/>
              <a:gd name="connsiteY5" fmla="*/ 781823 h 1042431"/>
              <a:gd name="connsiteX6" fmla="*/ 341658 w 1042432"/>
              <a:gd name="connsiteY6" fmla="*/ 796786 h 1042431"/>
              <a:gd name="connsiteX7" fmla="*/ 341658 w 1042432"/>
              <a:gd name="connsiteY7" fmla="*/ 977591 h 1042431"/>
              <a:gd name="connsiteX8" fmla="*/ 397770 w 1042432"/>
              <a:gd name="connsiteY8" fmla="*/ 996295 h 1042431"/>
              <a:gd name="connsiteX9" fmla="*/ 399016 w 1042432"/>
              <a:gd name="connsiteY9" fmla="*/ 996295 h 1042431"/>
              <a:gd name="connsiteX10" fmla="*/ 418968 w 1042432"/>
              <a:gd name="connsiteY10" fmla="*/ 1001282 h 1042431"/>
              <a:gd name="connsiteX11" fmla="*/ 422708 w 1042432"/>
              <a:gd name="connsiteY11" fmla="*/ 1001282 h 1042431"/>
              <a:gd name="connsiteX12" fmla="*/ 442660 w 1042432"/>
              <a:gd name="connsiteY12" fmla="*/ 1005023 h 1042431"/>
              <a:gd name="connsiteX13" fmla="*/ 447646 w 1042432"/>
              <a:gd name="connsiteY13" fmla="*/ 1006270 h 1042431"/>
              <a:gd name="connsiteX14" fmla="*/ 465104 w 1042432"/>
              <a:gd name="connsiteY14" fmla="*/ 1008764 h 1042431"/>
              <a:gd name="connsiteX15" fmla="*/ 471338 w 1042432"/>
              <a:gd name="connsiteY15" fmla="*/ 1010011 h 1042431"/>
              <a:gd name="connsiteX16" fmla="*/ 490042 w 1042432"/>
              <a:gd name="connsiteY16" fmla="*/ 1011258 h 1042431"/>
              <a:gd name="connsiteX17" fmla="*/ 496278 w 1042432"/>
              <a:gd name="connsiteY17" fmla="*/ 1011258 h 1042431"/>
              <a:gd name="connsiteX18" fmla="*/ 521216 w 1042432"/>
              <a:gd name="connsiteY18" fmla="*/ 1011258 h 1042431"/>
              <a:gd name="connsiteX19" fmla="*/ 546154 w 1042432"/>
              <a:gd name="connsiteY19" fmla="*/ 1011258 h 1042431"/>
              <a:gd name="connsiteX20" fmla="*/ 551142 w 1042432"/>
              <a:gd name="connsiteY20" fmla="*/ 1011258 h 1042431"/>
              <a:gd name="connsiteX21" fmla="*/ 569846 w 1042432"/>
              <a:gd name="connsiteY21" fmla="*/ 1010011 h 1042431"/>
              <a:gd name="connsiteX22" fmla="*/ 576080 w 1042432"/>
              <a:gd name="connsiteY22" fmla="*/ 1008764 h 1042431"/>
              <a:gd name="connsiteX23" fmla="*/ 594784 w 1042432"/>
              <a:gd name="connsiteY23" fmla="*/ 1006270 h 1042431"/>
              <a:gd name="connsiteX24" fmla="*/ 599772 w 1042432"/>
              <a:gd name="connsiteY24" fmla="*/ 1005023 h 1042431"/>
              <a:gd name="connsiteX25" fmla="*/ 618476 w 1042432"/>
              <a:gd name="connsiteY25" fmla="*/ 1001282 h 1042431"/>
              <a:gd name="connsiteX26" fmla="*/ 622216 w 1042432"/>
              <a:gd name="connsiteY26" fmla="*/ 1001282 h 1042431"/>
              <a:gd name="connsiteX27" fmla="*/ 643414 w 1042432"/>
              <a:gd name="connsiteY27" fmla="*/ 996295 h 1042431"/>
              <a:gd name="connsiteX28" fmla="*/ 699526 w 1042432"/>
              <a:gd name="connsiteY28" fmla="*/ 977591 h 1042431"/>
              <a:gd name="connsiteX29" fmla="*/ 699526 w 1042432"/>
              <a:gd name="connsiteY29" fmla="*/ 796786 h 1042431"/>
              <a:gd name="connsiteX30" fmla="*/ 714490 w 1042432"/>
              <a:gd name="connsiteY30" fmla="*/ 781823 h 1042431"/>
              <a:gd name="connsiteX31" fmla="*/ 729452 w 1042432"/>
              <a:gd name="connsiteY31" fmla="*/ 796786 h 1042431"/>
              <a:gd name="connsiteX32" fmla="*/ 729452 w 1042432"/>
              <a:gd name="connsiteY32" fmla="*/ 963875 h 1042431"/>
              <a:gd name="connsiteX33" fmla="*/ 859132 w 1042432"/>
              <a:gd name="connsiteY33" fmla="*/ 876590 h 1042431"/>
              <a:gd name="connsiteX34" fmla="*/ 830454 w 1042432"/>
              <a:gd name="connsiteY34" fmla="*/ 753144 h 1042431"/>
              <a:gd name="connsiteX35" fmla="*/ 713242 w 1042432"/>
              <a:gd name="connsiteY35" fmla="*/ 618476 h 1042431"/>
              <a:gd name="connsiteX36" fmla="*/ 521214 w 1042432"/>
              <a:gd name="connsiteY36" fmla="*/ 211207 h 1042431"/>
              <a:gd name="connsiteX37" fmla="*/ 381494 w 1042432"/>
              <a:gd name="connsiteY37" fmla="*/ 349680 h 1042431"/>
              <a:gd name="connsiteX38" fmla="*/ 521214 w 1042432"/>
              <a:gd name="connsiteY38" fmla="*/ 489401 h 1042431"/>
              <a:gd name="connsiteX39" fmla="*/ 659688 w 1042432"/>
              <a:gd name="connsiteY39" fmla="*/ 349680 h 1042431"/>
              <a:gd name="connsiteX40" fmla="*/ 521214 w 1042432"/>
              <a:gd name="connsiteY40" fmla="*/ 211207 h 1042431"/>
              <a:gd name="connsiteX41" fmla="*/ 521214 w 1042432"/>
              <a:gd name="connsiteY41" fmla="*/ 181267 h 1042431"/>
              <a:gd name="connsiteX42" fmla="*/ 690876 w 1042432"/>
              <a:gd name="connsiteY42" fmla="*/ 349680 h 1042431"/>
              <a:gd name="connsiteX43" fmla="*/ 521214 w 1042432"/>
              <a:gd name="connsiteY43" fmla="*/ 520588 h 1042431"/>
              <a:gd name="connsiteX44" fmla="*/ 351554 w 1042432"/>
              <a:gd name="connsiteY44" fmla="*/ 349680 h 1042431"/>
              <a:gd name="connsiteX45" fmla="*/ 521214 w 1042432"/>
              <a:gd name="connsiteY45" fmla="*/ 181267 h 1042431"/>
              <a:gd name="connsiteX46" fmla="*/ 521216 w 1042432"/>
              <a:gd name="connsiteY46" fmla="*/ 31173 h 1042431"/>
              <a:gd name="connsiteX47" fmla="*/ 31174 w 1042432"/>
              <a:gd name="connsiteY47" fmla="*/ 521216 h 1042431"/>
              <a:gd name="connsiteX48" fmla="*/ 158360 w 1042432"/>
              <a:gd name="connsiteY48" fmla="*/ 850404 h 1042431"/>
              <a:gd name="connsiteX49" fmla="*/ 180804 w 1042432"/>
              <a:gd name="connsiteY49" fmla="*/ 746909 h 1042431"/>
              <a:gd name="connsiteX50" fmla="*/ 327942 w 1042432"/>
              <a:gd name="connsiteY50" fmla="*/ 587303 h 1042431"/>
              <a:gd name="connsiteX51" fmla="*/ 713242 w 1042432"/>
              <a:gd name="connsiteY51" fmla="*/ 587303 h 1042431"/>
              <a:gd name="connsiteX52" fmla="*/ 860380 w 1042432"/>
              <a:gd name="connsiteY52" fmla="*/ 745662 h 1042431"/>
              <a:gd name="connsiteX53" fmla="*/ 884072 w 1042432"/>
              <a:gd name="connsiteY53" fmla="*/ 850404 h 1042431"/>
              <a:gd name="connsiteX54" fmla="*/ 1011258 w 1042432"/>
              <a:gd name="connsiteY54" fmla="*/ 521216 h 1042431"/>
              <a:gd name="connsiteX55" fmla="*/ 521216 w 1042432"/>
              <a:gd name="connsiteY55" fmla="*/ 31173 h 1042431"/>
              <a:gd name="connsiteX56" fmla="*/ 521216 w 1042432"/>
              <a:gd name="connsiteY56" fmla="*/ 0 h 1042431"/>
              <a:gd name="connsiteX57" fmla="*/ 1042432 w 1042432"/>
              <a:gd name="connsiteY57" fmla="*/ 521216 h 1042431"/>
              <a:gd name="connsiteX58" fmla="*/ 892800 w 1042432"/>
              <a:gd name="connsiteY58" fmla="*/ 886565 h 1042431"/>
              <a:gd name="connsiteX59" fmla="*/ 886566 w 1042432"/>
              <a:gd name="connsiteY59" fmla="*/ 892800 h 1042431"/>
              <a:gd name="connsiteX60" fmla="*/ 625958 w 1042432"/>
              <a:gd name="connsiteY60" fmla="*/ 1031209 h 1042431"/>
              <a:gd name="connsiteX61" fmla="*/ 602266 w 1042432"/>
              <a:gd name="connsiteY61" fmla="*/ 1036196 h 1042431"/>
              <a:gd name="connsiteX62" fmla="*/ 599772 w 1042432"/>
              <a:gd name="connsiteY62" fmla="*/ 1036196 h 1042431"/>
              <a:gd name="connsiteX63" fmla="*/ 578574 w 1042432"/>
              <a:gd name="connsiteY63" fmla="*/ 1038690 h 1042431"/>
              <a:gd name="connsiteX64" fmla="*/ 573586 w 1042432"/>
              <a:gd name="connsiteY64" fmla="*/ 1039937 h 1042431"/>
              <a:gd name="connsiteX65" fmla="*/ 553636 w 1042432"/>
              <a:gd name="connsiteY65" fmla="*/ 1041184 h 1042431"/>
              <a:gd name="connsiteX66" fmla="*/ 547402 w 1042432"/>
              <a:gd name="connsiteY66" fmla="*/ 1041184 h 1042431"/>
              <a:gd name="connsiteX67" fmla="*/ 521216 w 1042432"/>
              <a:gd name="connsiteY67" fmla="*/ 1042431 h 1042431"/>
              <a:gd name="connsiteX68" fmla="*/ 495030 w 1042432"/>
              <a:gd name="connsiteY68" fmla="*/ 1041184 h 1042431"/>
              <a:gd name="connsiteX69" fmla="*/ 488796 w 1042432"/>
              <a:gd name="connsiteY69" fmla="*/ 1041184 h 1042431"/>
              <a:gd name="connsiteX70" fmla="*/ 468844 w 1042432"/>
              <a:gd name="connsiteY70" fmla="*/ 1039937 h 1042431"/>
              <a:gd name="connsiteX71" fmla="*/ 462610 w 1042432"/>
              <a:gd name="connsiteY71" fmla="*/ 1038690 h 1042431"/>
              <a:gd name="connsiteX72" fmla="*/ 441412 w 1042432"/>
              <a:gd name="connsiteY72" fmla="*/ 1036196 h 1042431"/>
              <a:gd name="connsiteX73" fmla="*/ 438918 w 1042432"/>
              <a:gd name="connsiteY73" fmla="*/ 1036196 h 1042431"/>
              <a:gd name="connsiteX74" fmla="*/ 416474 w 1042432"/>
              <a:gd name="connsiteY74" fmla="*/ 1031209 h 1042431"/>
              <a:gd name="connsiteX75" fmla="*/ 155866 w 1042432"/>
              <a:gd name="connsiteY75" fmla="*/ 892800 h 1042431"/>
              <a:gd name="connsiteX76" fmla="*/ 149632 w 1042432"/>
              <a:gd name="connsiteY76" fmla="*/ 886565 h 1042431"/>
              <a:gd name="connsiteX77" fmla="*/ 0 w 1042432"/>
              <a:gd name="connsiteY77" fmla="*/ 521216 h 1042431"/>
              <a:gd name="connsiteX78" fmla="*/ 521216 w 1042432"/>
              <a:gd name="connsiteY78" fmla="*/ 0 h 104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42432" h="1042431">
                <a:moveTo>
                  <a:pt x="327942" y="618476"/>
                </a:moveTo>
                <a:cubicBezTo>
                  <a:pt x="265596" y="618476"/>
                  <a:pt x="246892" y="624710"/>
                  <a:pt x="210730" y="754391"/>
                </a:cubicBezTo>
                <a:lnTo>
                  <a:pt x="183298" y="876590"/>
                </a:lnTo>
                <a:cubicBezTo>
                  <a:pt x="220706" y="912751"/>
                  <a:pt x="264348" y="941430"/>
                  <a:pt x="311732" y="963875"/>
                </a:cubicBezTo>
                <a:lnTo>
                  <a:pt x="311732" y="796786"/>
                </a:lnTo>
                <a:cubicBezTo>
                  <a:pt x="311732" y="788058"/>
                  <a:pt x="317966" y="781823"/>
                  <a:pt x="326694" y="781823"/>
                </a:cubicBezTo>
                <a:cubicBezTo>
                  <a:pt x="335424" y="781823"/>
                  <a:pt x="341658" y="788058"/>
                  <a:pt x="341658" y="796786"/>
                </a:cubicBezTo>
                <a:lnTo>
                  <a:pt x="341658" y="977591"/>
                </a:lnTo>
                <a:cubicBezTo>
                  <a:pt x="360362" y="985072"/>
                  <a:pt x="377818" y="991307"/>
                  <a:pt x="397770" y="996295"/>
                </a:cubicBezTo>
                <a:cubicBezTo>
                  <a:pt x="397770" y="996295"/>
                  <a:pt x="397770" y="996295"/>
                  <a:pt x="399016" y="996295"/>
                </a:cubicBezTo>
                <a:cubicBezTo>
                  <a:pt x="405252" y="997542"/>
                  <a:pt x="412732" y="998789"/>
                  <a:pt x="418968" y="1001282"/>
                </a:cubicBezTo>
                <a:cubicBezTo>
                  <a:pt x="421462" y="1001282"/>
                  <a:pt x="421462" y="1001282"/>
                  <a:pt x="422708" y="1001282"/>
                </a:cubicBezTo>
                <a:cubicBezTo>
                  <a:pt x="430190" y="1003776"/>
                  <a:pt x="435178" y="1003776"/>
                  <a:pt x="442660" y="1005023"/>
                </a:cubicBezTo>
                <a:cubicBezTo>
                  <a:pt x="443906" y="1005023"/>
                  <a:pt x="445152" y="1006270"/>
                  <a:pt x="447646" y="1006270"/>
                </a:cubicBezTo>
                <a:cubicBezTo>
                  <a:pt x="452634" y="1006270"/>
                  <a:pt x="458870" y="1007517"/>
                  <a:pt x="465104" y="1008764"/>
                </a:cubicBezTo>
                <a:cubicBezTo>
                  <a:pt x="467598" y="1008764"/>
                  <a:pt x="470092" y="1010011"/>
                  <a:pt x="471338" y="1010011"/>
                </a:cubicBezTo>
                <a:cubicBezTo>
                  <a:pt x="477574" y="1010011"/>
                  <a:pt x="483808" y="1010011"/>
                  <a:pt x="490042" y="1011258"/>
                </a:cubicBezTo>
                <a:cubicBezTo>
                  <a:pt x="491290" y="1011258"/>
                  <a:pt x="495030" y="1011258"/>
                  <a:pt x="496278" y="1011258"/>
                </a:cubicBezTo>
                <a:cubicBezTo>
                  <a:pt x="503758" y="1011258"/>
                  <a:pt x="512488" y="1011258"/>
                  <a:pt x="521216" y="1011258"/>
                </a:cubicBezTo>
                <a:cubicBezTo>
                  <a:pt x="529944" y="1011258"/>
                  <a:pt x="537426" y="1011258"/>
                  <a:pt x="546154" y="1011258"/>
                </a:cubicBezTo>
                <a:cubicBezTo>
                  <a:pt x="547402" y="1011258"/>
                  <a:pt x="549894" y="1011258"/>
                  <a:pt x="551142" y="1011258"/>
                </a:cubicBezTo>
                <a:cubicBezTo>
                  <a:pt x="557376" y="1010011"/>
                  <a:pt x="563612" y="1010011"/>
                  <a:pt x="569846" y="1010011"/>
                </a:cubicBezTo>
                <a:cubicBezTo>
                  <a:pt x="572340" y="1010011"/>
                  <a:pt x="574834" y="1008764"/>
                  <a:pt x="576080" y="1008764"/>
                </a:cubicBezTo>
                <a:cubicBezTo>
                  <a:pt x="582314" y="1007517"/>
                  <a:pt x="588550" y="1006270"/>
                  <a:pt x="594784" y="1006270"/>
                </a:cubicBezTo>
                <a:cubicBezTo>
                  <a:pt x="596032" y="1006270"/>
                  <a:pt x="597278" y="1005023"/>
                  <a:pt x="599772" y="1005023"/>
                </a:cubicBezTo>
                <a:cubicBezTo>
                  <a:pt x="606006" y="1003776"/>
                  <a:pt x="612242" y="1003776"/>
                  <a:pt x="618476" y="1001282"/>
                </a:cubicBezTo>
                <a:cubicBezTo>
                  <a:pt x="619722" y="1001282"/>
                  <a:pt x="620970" y="1001282"/>
                  <a:pt x="622216" y="1001282"/>
                </a:cubicBezTo>
                <a:cubicBezTo>
                  <a:pt x="628452" y="998789"/>
                  <a:pt x="635932" y="997542"/>
                  <a:pt x="643414" y="996295"/>
                </a:cubicBezTo>
                <a:cubicBezTo>
                  <a:pt x="663366" y="991307"/>
                  <a:pt x="682070" y="985072"/>
                  <a:pt x="699526" y="977591"/>
                </a:cubicBezTo>
                <a:lnTo>
                  <a:pt x="699526" y="796786"/>
                </a:lnTo>
                <a:cubicBezTo>
                  <a:pt x="699526" y="788058"/>
                  <a:pt x="705760" y="781823"/>
                  <a:pt x="714490" y="781823"/>
                </a:cubicBezTo>
                <a:cubicBezTo>
                  <a:pt x="723218" y="781823"/>
                  <a:pt x="729452" y="788058"/>
                  <a:pt x="729452" y="796786"/>
                </a:cubicBezTo>
                <a:lnTo>
                  <a:pt x="729452" y="963875"/>
                </a:lnTo>
                <a:cubicBezTo>
                  <a:pt x="778082" y="941430"/>
                  <a:pt x="820478" y="912751"/>
                  <a:pt x="859132" y="876590"/>
                </a:cubicBezTo>
                <a:lnTo>
                  <a:pt x="830454" y="753144"/>
                </a:lnTo>
                <a:cubicBezTo>
                  <a:pt x="794292" y="624710"/>
                  <a:pt x="776836" y="618476"/>
                  <a:pt x="713242" y="618476"/>
                </a:cubicBezTo>
                <a:close/>
                <a:moveTo>
                  <a:pt x="521214" y="211207"/>
                </a:moveTo>
                <a:cubicBezTo>
                  <a:pt x="443870" y="211207"/>
                  <a:pt x="381494" y="273583"/>
                  <a:pt x="381494" y="349680"/>
                </a:cubicBezTo>
                <a:cubicBezTo>
                  <a:pt x="381494" y="427026"/>
                  <a:pt x="443870" y="489401"/>
                  <a:pt x="521214" y="489401"/>
                </a:cubicBezTo>
                <a:cubicBezTo>
                  <a:pt x="597312" y="489401"/>
                  <a:pt x="659688" y="427026"/>
                  <a:pt x="659688" y="349680"/>
                </a:cubicBezTo>
                <a:cubicBezTo>
                  <a:pt x="659688" y="273583"/>
                  <a:pt x="597312" y="211207"/>
                  <a:pt x="521214" y="211207"/>
                </a:cubicBezTo>
                <a:close/>
                <a:moveTo>
                  <a:pt x="521214" y="181267"/>
                </a:moveTo>
                <a:cubicBezTo>
                  <a:pt x="614778" y="181267"/>
                  <a:pt x="690876" y="256118"/>
                  <a:pt x="690876" y="349680"/>
                </a:cubicBezTo>
                <a:cubicBezTo>
                  <a:pt x="690876" y="444491"/>
                  <a:pt x="614778" y="520588"/>
                  <a:pt x="521214" y="520588"/>
                </a:cubicBezTo>
                <a:cubicBezTo>
                  <a:pt x="427652" y="520588"/>
                  <a:pt x="351554" y="444491"/>
                  <a:pt x="351554" y="349680"/>
                </a:cubicBezTo>
                <a:cubicBezTo>
                  <a:pt x="351554" y="256118"/>
                  <a:pt x="427652" y="181267"/>
                  <a:pt x="521214" y="181267"/>
                </a:cubicBezTo>
                <a:close/>
                <a:moveTo>
                  <a:pt x="521216" y="31173"/>
                </a:moveTo>
                <a:cubicBezTo>
                  <a:pt x="250632" y="31173"/>
                  <a:pt x="31174" y="250633"/>
                  <a:pt x="31174" y="521216"/>
                </a:cubicBezTo>
                <a:cubicBezTo>
                  <a:pt x="31174" y="647155"/>
                  <a:pt x="78556" y="763119"/>
                  <a:pt x="158360" y="850404"/>
                </a:cubicBezTo>
                <a:lnTo>
                  <a:pt x="180804" y="746909"/>
                </a:lnTo>
                <a:cubicBezTo>
                  <a:pt x="218212" y="614735"/>
                  <a:pt x="243150" y="587303"/>
                  <a:pt x="327942" y="587303"/>
                </a:cubicBezTo>
                <a:lnTo>
                  <a:pt x="713242" y="587303"/>
                </a:lnTo>
                <a:cubicBezTo>
                  <a:pt x="798034" y="587303"/>
                  <a:pt x="822972" y="614735"/>
                  <a:pt x="860380" y="745662"/>
                </a:cubicBezTo>
                <a:lnTo>
                  <a:pt x="884072" y="850404"/>
                </a:lnTo>
                <a:cubicBezTo>
                  <a:pt x="962628" y="763119"/>
                  <a:pt x="1011258" y="647155"/>
                  <a:pt x="1011258" y="521216"/>
                </a:cubicBezTo>
                <a:cubicBezTo>
                  <a:pt x="1011258" y="250633"/>
                  <a:pt x="790552" y="31173"/>
                  <a:pt x="521216" y="31173"/>
                </a:cubicBezTo>
                <a:close/>
                <a:moveTo>
                  <a:pt x="521216" y="0"/>
                </a:moveTo>
                <a:cubicBezTo>
                  <a:pt x="808008" y="0"/>
                  <a:pt x="1042432" y="233176"/>
                  <a:pt x="1042432" y="521216"/>
                </a:cubicBezTo>
                <a:cubicBezTo>
                  <a:pt x="1042432" y="663365"/>
                  <a:pt x="985072" y="791799"/>
                  <a:pt x="892800" y="886565"/>
                </a:cubicBezTo>
                <a:lnTo>
                  <a:pt x="886566" y="892800"/>
                </a:lnTo>
                <a:cubicBezTo>
                  <a:pt x="814244" y="963875"/>
                  <a:pt x="724464" y="1011258"/>
                  <a:pt x="625958" y="1031209"/>
                </a:cubicBezTo>
                <a:cubicBezTo>
                  <a:pt x="618476" y="1032456"/>
                  <a:pt x="610994" y="1033703"/>
                  <a:pt x="602266" y="1036196"/>
                </a:cubicBezTo>
                <a:lnTo>
                  <a:pt x="599772" y="1036196"/>
                </a:lnTo>
                <a:cubicBezTo>
                  <a:pt x="592290" y="1037443"/>
                  <a:pt x="586056" y="1038690"/>
                  <a:pt x="578574" y="1038690"/>
                </a:cubicBezTo>
                <a:cubicBezTo>
                  <a:pt x="576080" y="1038690"/>
                  <a:pt x="574834" y="1039937"/>
                  <a:pt x="573586" y="1039937"/>
                </a:cubicBezTo>
                <a:cubicBezTo>
                  <a:pt x="567352" y="1039937"/>
                  <a:pt x="559870" y="1039937"/>
                  <a:pt x="553636" y="1041184"/>
                </a:cubicBezTo>
                <a:cubicBezTo>
                  <a:pt x="551142" y="1041184"/>
                  <a:pt x="548648" y="1041184"/>
                  <a:pt x="547402" y="1041184"/>
                </a:cubicBezTo>
                <a:cubicBezTo>
                  <a:pt x="538672" y="1042431"/>
                  <a:pt x="529944" y="1042431"/>
                  <a:pt x="521216" y="1042431"/>
                </a:cubicBezTo>
                <a:cubicBezTo>
                  <a:pt x="511240" y="1042431"/>
                  <a:pt x="503758" y="1042431"/>
                  <a:pt x="495030" y="1041184"/>
                </a:cubicBezTo>
                <a:cubicBezTo>
                  <a:pt x="492536" y="1041184"/>
                  <a:pt x="490042" y="1041184"/>
                  <a:pt x="488796" y="1041184"/>
                </a:cubicBezTo>
                <a:cubicBezTo>
                  <a:pt x="481314" y="1039937"/>
                  <a:pt x="475080" y="1039937"/>
                  <a:pt x="468844" y="1039937"/>
                </a:cubicBezTo>
                <a:cubicBezTo>
                  <a:pt x="466350" y="1039937"/>
                  <a:pt x="465104" y="1038690"/>
                  <a:pt x="462610" y="1038690"/>
                </a:cubicBezTo>
                <a:cubicBezTo>
                  <a:pt x="456376" y="1038690"/>
                  <a:pt x="448894" y="1037443"/>
                  <a:pt x="441412" y="1036196"/>
                </a:cubicBezTo>
                <a:cubicBezTo>
                  <a:pt x="441412" y="1036196"/>
                  <a:pt x="440166" y="1036196"/>
                  <a:pt x="438918" y="1036196"/>
                </a:cubicBezTo>
                <a:cubicBezTo>
                  <a:pt x="431436" y="1033703"/>
                  <a:pt x="423956" y="1032456"/>
                  <a:pt x="416474" y="1031209"/>
                </a:cubicBezTo>
                <a:cubicBezTo>
                  <a:pt x="317966" y="1011258"/>
                  <a:pt x="228188" y="963875"/>
                  <a:pt x="155866" y="892800"/>
                </a:cubicBezTo>
                <a:lnTo>
                  <a:pt x="149632" y="886565"/>
                </a:lnTo>
                <a:cubicBezTo>
                  <a:pt x="56112" y="791799"/>
                  <a:pt x="0" y="663365"/>
                  <a:pt x="0" y="521216"/>
                </a:cubicBezTo>
                <a:cubicBezTo>
                  <a:pt x="0" y="233176"/>
                  <a:pt x="233176" y="0"/>
                  <a:pt x="521216" y="0"/>
                </a:cubicBezTo>
                <a:close/>
              </a:path>
            </a:pathLst>
          </a:custGeom>
          <a:solidFill>
            <a:schemeClr val="tx2"/>
          </a:solidFill>
          <a:ln>
            <a:noFill/>
          </a:ln>
          <a:effectLst/>
        </p:spPr>
        <p:txBody>
          <a:bodyPr wrap="square" anchor="ctr">
            <a:noAutofit/>
          </a:bodyPr>
          <a:lstStyle/>
          <a:p>
            <a:endParaRPr lang="en-US" sz="1200" dirty="0"/>
          </a:p>
        </p:txBody>
      </p:sp>
      <p:sp>
        <p:nvSpPr>
          <p:cNvPr id="61" name="Freeform 542">
            <a:extLst>
              <a:ext uri="{FF2B5EF4-FFF2-40B4-BE49-F238E27FC236}">
                <a16:creationId xmlns:a16="http://schemas.microsoft.com/office/drawing/2014/main" id="{981F6CC2-54C7-627A-D88B-BF4EF1A62619}"/>
              </a:ext>
            </a:extLst>
          </p:cNvPr>
          <p:cNvSpPr>
            <a:spLocks noChangeArrowheads="1"/>
          </p:cNvSpPr>
          <p:nvPr/>
        </p:nvSpPr>
        <p:spPr bwMode="auto">
          <a:xfrm>
            <a:off x="10567959" y="2120821"/>
            <a:ext cx="1252566" cy="1082574"/>
          </a:xfrm>
          <a:custGeom>
            <a:avLst/>
            <a:gdLst>
              <a:gd name="T0" fmla="*/ 1849 w 1850"/>
              <a:gd name="T1" fmla="*/ 1601 h 1602"/>
              <a:gd name="T2" fmla="*/ 0 w 1850"/>
              <a:gd name="T3" fmla="*/ 1601 h 1602"/>
              <a:gd name="T4" fmla="*/ 0 w 1850"/>
              <a:gd name="T5" fmla="*/ 0 h 1602"/>
              <a:gd name="T6" fmla="*/ 1849 w 1850"/>
              <a:gd name="T7" fmla="*/ 0 h 1602"/>
              <a:gd name="T8" fmla="*/ 1849 w 1850"/>
              <a:gd name="T9" fmla="*/ 1601 h 1602"/>
            </a:gdLst>
            <a:ahLst/>
            <a:cxnLst>
              <a:cxn ang="0">
                <a:pos x="T0" y="T1"/>
              </a:cxn>
              <a:cxn ang="0">
                <a:pos x="T2" y="T3"/>
              </a:cxn>
              <a:cxn ang="0">
                <a:pos x="T4" y="T5"/>
              </a:cxn>
              <a:cxn ang="0">
                <a:pos x="T6" y="T7"/>
              </a:cxn>
              <a:cxn ang="0">
                <a:pos x="T8" y="T9"/>
              </a:cxn>
            </a:cxnLst>
            <a:rect l="0" t="0" r="r" b="b"/>
            <a:pathLst>
              <a:path w="1850" h="1602">
                <a:moveTo>
                  <a:pt x="1849" y="1601"/>
                </a:moveTo>
                <a:lnTo>
                  <a:pt x="0" y="1601"/>
                </a:lnTo>
                <a:lnTo>
                  <a:pt x="0" y="0"/>
                </a:lnTo>
                <a:lnTo>
                  <a:pt x="1849" y="0"/>
                </a:lnTo>
                <a:lnTo>
                  <a:pt x="1849" y="1601"/>
                </a:lnTo>
              </a:path>
            </a:pathLst>
          </a:custGeom>
          <a:solidFill>
            <a:schemeClr val="accent1"/>
          </a:solidFill>
          <a:ln>
            <a:noFill/>
          </a:ln>
          <a:effectLst/>
        </p:spPr>
        <p:txBody>
          <a:bodyPr wrap="none" anchor="ctr"/>
          <a:lstStyle/>
          <a:p>
            <a:pPr algn="r"/>
            <a:r>
              <a:rPr lang="en-US" sz="4000" dirty="0">
                <a:solidFill>
                  <a:schemeClr val="bg1"/>
                </a:solidFill>
              </a:rPr>
              <a:t>01</a:t>
            </a:r>
          </a:p>
        </p:txBody>
      </p:sp>
      <p:sp>
        <p:nvSpPr>
          <p:cNvPr id="63" name="Freeform 544">
            <a:extLst>
              <a:ext uri="{FF2B5EF4-FFF2-40B4-BE49-F238E27FC236}">
                <a16:creationId xmlns:a16="http://schemas.microsoft.com/office/drawing/2014/main" id="{0A1CA692-3929-55B7-A930-311BB31B0CC7}"/>
              </a:ext>
            </a:extLst>
          </p:cNvPr>
          <p:cNvSpPr>
            <a:spLocks noChangeArrowheads="1"/>
          </p:cNvSpPr>
          <p:nvPr/>
        </p:nvSpPr>
        <p:spPr bwMode="auto">
          <a:xfrm>
            <a:off x="6167438" y="2120821"/>
            <a:ext cx="4045628" cy="1082574"/>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dirty="0"/>
          </a:p>
        </p:txBody>
      </p:sp>
      <p:sp>
        <p:nvSpPr>
          <p:cNvPr id="64" name="Freeform 545">
            <a:extLst>
              <a:ext uri="{FF2B5EF4-FFF2-40B4-BE49-F238E27FC236}">
                <a16:creationId xmlns:a16="http://schemas.microsoft.com/office/drawing/2014/main" id="{CBBF81F2-0433-7628-ACD1-6A17965BEDE7}"/>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solidFill>
          <a:ln>
            <a:noFill/>
          </a:ln>
          <a:effectLst/>
        </p:spPr>
        <p:txBody>
          <a:bodyPr wrap="none" anchor="ctr"/>
          <a:lstStyle/>
          <a:p>
            <a:endParaRPr lang="en-US" sz="1200" dirty="0"/>
          </a:p>
        </p:txBody>
      </p:sp>
      <p:sp>
        <p:nvSpPr>
          <p:cNvPr id="65" name="Freeform 546">
            <a:extLst>
              <a:ext uri="{FF2B5EF4-FFF2-40B4-BE49-F238E27FC236}">
                <a16:creationId xmlns:a16="http://schemas.microsoft.com/office/drawing/2014/main" id="{E2CD0D20-4EC0-B2D4-1515-DE2BE7524EE6}"/>
              </a:ext>
            </a:extLst>
          </p:cNvPr>
          <p:cNvSpPr>
            <a:spLocks noChangeArrowheads="1"/>
          </p:cNvSpPr>
          <p:nvPr/>
        </p:nvSpPr>
        <p:spPr bwMode="auto">
          <a:xfrm>
            <a:off x="9670288" y="1864343"/>
            <a:ext cx="217707" cy="259459"/>
          </a:xfrm>
          <a:custGeom>
            <a:avLst/>
            <a:gdLst>
              <a:gd name="T0" fmla="*/ 320 w 321"/>
              <a:gd name="T1" fmla="*/ 0 h 383"/>
              <a:gd name="T2" fmla="*/ 0 w 321"/>
              <a:gd name="T3" fmla="*/ 382 h 383"/>
              <a:gd name="T4" fmla="*/ 320 w 321"/>
              <a:gd name="T5" fmla="*/ 382 h 383"/>
              <a:gd name="T6" fmla="*/ 320 w 321"/>
              <a:gd name="T7" fmla="*/ 0 h 383"/>
            </a:gdLst>
            <a:ahLst/>
            <a:cxnLst>
              <a:cxn ang="0">
                <a:pos x="T0" y="T1"/>
              </a:cxn>
              <a:cxn ang="0">
                <a:pos x="T2" y="T3"/>
              </a:cxn>
              <a:cxn ang="0">
                <a:pos x="T4" y="T5"/>
              </a:cxn>
              <a:cxn ang="0">
                <a:pos x="T6" y="T7"/>
              </a:cxn>
            </a:cxnLst>
            <a:rect l="0" t="0" r="r" b="b"/>
            <a:pathLst>
              <a:path w="321" h="383">
                <a:moveTo>
                  <a:pt x="320" y="0"/>
                </a:moveTo>
                <a:lnTo>
                  <a:pt x="0" y="382"/>
                </a:lnTo>
                <a:lnTo>
                  <a:pt x="320" y="382"/>
                </a:lnTo>
                <a:lnTo>
                  <a:pt x="32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6" name="Freeform 547">
            <a:extLst>
              <a:ext uri="{FF2B5EF4-FFF2-40B4-BE49-F238E27FC236}">
                <a16:creationId xmlns:a16="http://schemas.microsoft.com/office/drawing/2014/main" id="{2F4E6C99-02F7-3BC6-7C53-D2732763B019}"/>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solidFill>
          <a:ln>
            <a:noFill/>
          </a:ln>
          <a:effectLst/>
        </p:spPr>
        <p:txBody>
          <a:bodyPr wrap="none" anchor="ctr"/>
          <a:lstStyle/>
          <a:p>
            <a:endParaRPr lang="en-US" sz="1200" dirty="0"/>
          </a:p>
        </p:txBody>
      </p:sp>
      <p:sp>
        <p:nvSpPr>
          <p:cNvPr id="67" name="Freeform 548">
            <a:extLst>
              <a:ext uri="{FF2B5EF4-FFF2-40B4-BE49-F238E27FC236}">
                <a16:creationId xmlns:a16="http://schemas.microsoft.com/office/drawing/2014/main" id="{2E2DB929-19CC-B527-A90C-66BDC1D523CC}"/>
              </a:ext>
            </a:extLst>
          </p:cNvPr>
          <p:cNvSpPr>
            <a:spLocks noChangeArrowheads="1"/>
          </p:cNvSpPr>
          <p:nvPr/>
        </p:nvSpPr>
        <p:spPr bwMode="auto">
          <a:xfrm>
            <a:off x="10893032" y="1864343"/>
            <a:ext cx="217707" cy="259459"/>
          </a:xfrm>
          <a:custGeom>
            <a:avLst/>
            <a:gdLst>
              <a:gd name="T0" fmla="*/ 0 w 321"/>
              <a:gd name="T1" fmla="*/ 0 h 383"/>
              <a:gd name="T2" fmla="*/ 320 w 321"/>
              <a:gd name="T3" fmla="*/ 382 h 383"/>
              <a:gd name="T4" fmla="*/ 0 w 321"/>
              <a:gd name="T5" fmla="*/ 382 h 383"/>
              <a:gd name="T6" fmla="*/ 0 w 321"/>
              <a:gd name="T7" fmla="*/ 0 h 383"/>
            </a:gdLst>
            <a:ahLst/>
            <a:cxnLst>
              <a:cxn ang="0">
                <a:pos x="T0" y="T1"/>
              </a:cxn>
              <a:cxn ang="0">
                <a:pos x="T2" y="T3"/>
              </a:cxn>
              <a:cxn ang="0">
                <a:pos x="T4" y="T5"/>
              </a:cxn>
              <a:cxn ang="0">
                <a:pos x="T6" y="T7"/>
              </a:cxn>
            </a:cxnLst>
            <a:rect l="0" t="0" r="r" b="b"/>
            <a:pathLst>
              <a:path w="321" h="383">
                <a:moveTo>
                  <a:pt x="0" y="0"/>
                </a:moveTo>
                <a:lnTo>
                  <a:pt x="320"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dirty="0"/>
          </a:p>
        </p:txBody>
      </p:sp>
      <p:sp>
        <p:nvSpPr>
          <p:cNvPr id="68" name="Freeform 549">
            <a:extLst>
              <a:ext uri="{FF2B5EF4-FFF2-40B4-BE49-F238E27FC236}">
                <a16:creationId xmlns:a16="http://schemas.microsoft.com/office/drawing/2014/main" id="{CEA10955-B660-4B12-F218-0F2E12F16966}"/>
              </a:ext>
            </a:extLst>
          </p:cNvPr>
          <p:cNvSpPr>
            <a:spLocks noChangeArrowheads="1"/>
          </p:cNvSpPr>
          <p:nvPr/>
        </p:nvSpPr>
        <p:spPr bwMode="auto">
          <a:xfrm>
            <a:off x="9885014" y="2815696"/>
            <a:ext cx="325070" cy="390683"/>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dirty="0"/>
          </a:p>
        </p:txBody>
      </p:sp>
      <p:sp>
        <p:nvSpPr>
          <p:cNvPr id="69" name="Freeform 550">
            <a:extLst>
              <a:ext uri="{FF2B5EF4-FFF2-40B4-BE49-F238E27FC236}">
                <a16:creationId xmlns:a16="http://schemas.microsoft.com/office/drawing/2014/main" id="{48F25F92-4D4C-336F-986D-A091DF90E710}"/>
              </a:ext>
            </a:extLst>
          </p:cNvPr>
          <p:cNvSpPr>
            <a:spLocks noChangeArrowheads="1"/>
          </p:cNvSpPr>
          <p:nvPr/>
        </p:nvSpPr>
        <p:spPr bwMode="auto">
          <a:xfrm>
            <a:off x="10567959" y="2815696"/>
            <a:ext cx="325072" cy="390683"/>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dirty="0"/>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2270154"/>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1</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6" y="2561142"/>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5" name="TextBox 8">
            <a:extLst>
              <a:ext uri="{FF2B5EF4-FFF2-40B4-BE49-F238E27FC236}">
                <a16:creationId xmlns:a16="http://schemas.microsoft.com/office/drawing/2014/main" id="{BFFCFC18-4C46-6196-A2C8-E83C0FB86A15}"/>
              </a:ext>
            </a:extLst>
          </p:cNvPr>
          <p:cNvSpPr txBox="1"/>
          <p:nvPr/>
        </p:nvSpPr>
        <p:spPr>
          <a:xfrm>
            <a:off x="2444516" y="4113730"/>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4" name="TextBox 7">
            <a:extLst>
              <a:ext uri="{FF2B5EF4-FFF2-40B4-BE49-F238E27FC236}">
                <a16:creationId xmlns:a16="http://schemas.microsoft.com/office/drawing/2014/main" id="{137E3A43-E6CD-A5CC-A029-D1E5CD0C5A19}"/>
              </a:ext>
            </a:extLst>
          </p:cNvPr>
          <p:cNvSpPr txBox="1"/>
          <p:nvPr/>
        </p:nvSpPr>
        <p:spPr>
          <a:xfrm>
            <a:off x="2444516" y="3822742"/>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2</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9"/>
            <a:ext cx="3129144" cy="277692"/>
          </a:xfrm>
          <a:prstGeom prst="rect">
            <a:avLst/>
          </a:prstGeom>
          <a:noFill/>
          <a:effectLst/>
        </p:spPr>
        <p:txBody>
          <a:bodyPr wrap="square" lIns="0" rtlCol="0" anchor="b">
            <a:noAutofit/>
          </a:bodyPr>
          <a:lstStyle/>
          <a:p>
            <a:r>
              <a:rPr lang="en-US" sz="1200" b="1" spc="-30" dirty="0">
                <a:solidFill>
                  <a:schemeClr val="bg1"/>
                </a:solidFill>
                <a:cs typeface="Poppins" pitchFamily="2" charset="77"/>
              </a:rPr>
              <a:t>CHALLENGE 03</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6" y="5661386"/>
            <a:ext cx="3129144"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78" name="TextBox 11">
            <a:extLst>
              <a:ext uri="{FF2B5EF4-FFF2-40B4-BE49-F238E27FC236}">
                <a16:creationId xmlns:a16="http://schemas.microsoft.com/office/drawing/2014/main" id="{1A4EE655-BECF-0F8A-ABDB-D171E5B613C9}"/>
              </a:ext>
            </a:extLst>
          </p:cNvPr>
          <p:cNvSpPr txBox="1"/>
          <p:nvPr/>
        </p:nvSpPr>
        <p:spPr>
          <a:xfrm>
            <a:off x="6615360" y="2270154"/>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1</a:t>
            </a:r>
          </a:p>
        </p:txBody>
      </p:sp>
      <p:sp>
        <p:nvSpPr>
          <p:cNvPr id="79" name="TextBox 12">
            <a:extLst>
              <a:ext uri="{FF2B5EF4-FFF2-40B4-BE49-F238E27FC236}">
                <a16:creationId xmlns:a16="http://schemas.microsoft.com/office/drawing/2014/main" id="{E8082D67-2259-E792-015E-ACC2FA376782}"/>
              </a:ext>
            </a:extLst>
          </p:cNvPr>
          <p:cNvSpPr txBox="1"/>
          <p:nvPr/>
        </p:nvSpPr>
        <p:spPr>
          <a:xfrm>
            <a:off x="6615360" y="2561142"/>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0" name="TextBox 13">
            <a:extLst>
              <a:ext uri="{FF2B5EF4-FFF2-40B4-BE49-F238E27FC236}">
                <a16:creationId xmlns:a16="http://schemas.microsoft.com/office/drawing/2014/main" id="{D90A0535-DDD7-F24E-78D5-C01DE84D16A9}"/>
              </a:ext>
            </a:extLst>
          </p:cNvPr>
          <p:cNvSpPr txBox="1"/>
          <p:nvPr/>
        </p:nvSpPr>
        <p:spPr>
          <a:xfrm>
            <a:off x="6615360" y="3822742"/>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2</a:t>
            </a:r>
          </a:p>
        </p:txBody>
      </p:sp>
      <p:sp>
        <p:nvSpPr>
          <p:cNvPr id="81" name="TextBox 14">
            <a:extLst>
              <a:ext uri="{FF2B5EF4-FFF2-40B4-BE49-F238E27FC236}">
                <a16:creationId xmlns:a16="http://schemas.microsoft.com/office/drawing/2014/main" id="{4CF4D498-C1CF-A7D9-31DD-67C63CEE281F}"/>
              </a:ext>
            </a:extLst>
          </p:cNvPr>
          <p:cNvSpPr txBox="1"/>
          <p:nvPr/>
        </p:nvSpPr>
        <p:spPr>
          <a:xfrm>
            <a:off x="6615360" y="4113730"/>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82" name="TextBox 15">
            <a:extLst>
              <a:ext uri="{FF2B5EF4-FFF2-40B4-BE49-F238E27FC236}">
                <a16:creationId xmlns:a16="http://schemas.microsoft.com/office/drawing/2014/main" id="{DB30DDDE-1F67-9101-0472-9B2155F46525}"/>
              </a:ext>
            </a:extLst>
          </p:cNvPr>
          <p:cNvSpPr txBox="1"/>
          <p:nvPr/>
        </p:nvSpPr>
        <p:spPr>
          <a:xfrm>
            <a:off x="6615360" y="5370399"/>
            <a:ext cx="3129144" cy="277692"/>
          </a:xfrm>
          <a:prstGeom prst="rect">
            <a:avLst/>
          </a:prstGeom>
          <a:noFill/>
          <a:effectLst/>
        </p:spPr>
        <p:txBody>
          <a:bodyPr wrap="square" rIns="0" rtlCol="0" anchor="b">
            <a:noAutofit/>
          </a:bodyPr>
          <a:lstStyle/>
          <a:p>
            <a:pPr algn="r"/>
            <a:r>
              <a:rPr lang="en-US" sz="1200" b="1" spc="-30" dirty="0">
                <a:solidFill>
                  <a:schemeClr val="bg1"/>
                </a:solidFill>
                <a:cs typeface="Poppins" pitchFamily="2" charset="77"/>
              </a:rPr>
              <a:t>SOLUTION 03</a:t>
            </a:r>
          </a:p>
        </p:txBody>
      </p:sp>
      <p:sp>
        <p:nvSpPr>
          <p:cNvPr id="83" name="TextBox 16">
            <a:extLst>
              <a:ext uri="{FF2B5EF4-FFF2-40B4-BE49-F238E27FC236}">
                <a16:creationId xmlns:a16="http://schemas.microsoft.com/office/drawing/2014/main" id="{43AF7BD7-CFE5-CA9F-9112-26854F039BD1}"/>
              </a:ext>
            </a:extLst>
          </p:cNvPr>
          <p:cNvSpPr txBox="1"/>
          <p:nvPr/>
        </p:nvSpPr>
        <p:spPr>
          <a:xfrm>
            <a:off x="6615360" y="5661386"/>
            <a:ext cx="3129144" cy="553998"/>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endParaRPr lang="en-US" dirty="0"/>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86434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Freeform 36">
            <a:extLst>
              <a:ext uri="{FF2B5EF4-FFF2-40B4-BE49-F238E27FC236}">
                <a16:creationId xmlns:a16="http://schemas.microsoft.com/office/drawing/2014/main" id="{5F313E41-BA47-8342-5A18-FF5088A254E2}"/>
              </a:ext>
            </a:extLst>
          </p:cNvPr>
          <p:cNvSpPr>
            <a:spLocks noChangeArrowheads="1"/>
          </p:cNvSpPr>
          <p:nvPr/>
        </p:nvSpPr>
        <p:spPr bwMode="auto">
          <a:xfrm>
            <a:off x="1496154" y="2019423"/>
            <a:ext cx="604378" cy="640517"/>
          </a:xfrm>
          <a:custGeom>
            <a:avLst/>
            <a:gdLst>
              <a:gd name="connsiteX0" fmla="*/ 781491 w 1113194"/>
              <a:gd name="connsiteY0" fmla="*/ 732948 h 1179757"/>
              <a:gd name="connsiteX1" fmla="*/ 660893 w 1113194"/>
              <a:gd name="connsiteY1" fmla="*/ 853546 h 1179757"/>
              <a:gd name="connsiteX2" fmla="*/ 781491 w 1113194"/>
              <a:gd name="connsiteY2" fmla="*/ 974143 h 1179757"/>
              <a:gd name="connsiteX3" fmla="*/ 900845 w 1113194"/>
              <a:gd name="connsiteY3" fmla="*/ 853546 h 1179757"/>
              <a:gd name="connsiteX4" fmla="*/ 781491 w 1113194"/>
              <a:gd name="connsiteY4" fmla="*/ 732948 h 1179757"/>
              <a:gd name="connsiteX5" fmla="*/ 781491 w 1113194"/>
              <a:gd name="connsiteY5" fmla="*/ 703109 h 1179757"/>
              <a:gd name="connsiteX6" fmla="*/ 931927 w 1113194"/>
              <a:gd name="connsiteY6" fmla="*/ 853546 h 1179757"/>
              <a:gd name="connsiteX7" fmla="*/ 781491 w 1113194"/>
              <a:gd name="connsiteY7" fmla="*/ 1003982 h 1179757"/>
              <a:gd name="connsiteX8" fmla="*/ 631054 w 1113194"/>
              <a:gd name="connsiteY8" fmla="*/ 853546 h 1179757"/>
              <a:gd name="connsiteX9" fmla="*/ 781491 w 1113194"/>
              <a:gd name="connsiteY9" fmla="*/ 703109 h 1179757"/>
              <a:gd name="connsiteX10" fmla="*/ 751314 w 1113194"/>
              <a:gd name="connsiteY10" fmla="*/ 547582 h 1179757"/>
              <a:gd name="connsiteX11" fmla="*/ 751314 w 1113194"/>
              <a:gd name="connsiteY11" fmla="*/ 611299 h 1179757"/>
              <a:gd name="connsiteX12" fmla="*/ 737587 w 1113194"/>
              <a:gd name="connsiteY12" fmla="*/ 626292 h 1179757"/>
              <a:gd name="connsiteX13" fmla="*/ 655228 w 1113194"/>
              <a:gd name="connsiteY13" fmla="*/ 660024 h 1179757"/>
              <a:gd name="connsiteX14" fmla="*/ 636510 w 1113194"/>
              <a:gd name="connsiteY14" fmla="*/ 657526 h 1179757"/>
              <a:gd name="connsiteX15" fmla="*/ 591587 w 1113194"/>
              <a:gd name="connsiteY15" fmla="*/ 613798 h 1179757"/>
              <a:gd name="connsiteX16" fmla="*/ 549160 w 1113194"/>
              <a:gd name="connsiteY16" fmla="*/ 657526 h 1179757"/>
              <a:gd name="connsiteX17" fmla="*/ 592835 w 1113194"/>
              <a:gd name="connsiteY17" fmla="*/ 701253 h 1179757"/>
              <a:gd name="connsiteX18" fmla="*/ 594083 w 1113194"/>
              <a:gd name="connsiteY18" fmla="*/ 721243 h 1179757"/>
              <a:gd name="connsiteX19" fmla="*/ 559143 w 1113194"/>
              <a:gd name="connsiteY19" fmla="*/ 804950 h 1179757"/>
              <a:gd name="connsiteX20" fmla="*/ 544168 w 1113194"/>
              <a:gd name="connsiteY20" fmla="*/ 817443 h 1179757"/>
              <a:gd name="connsiteX21" fmla="*/ 481775 w 1113194"/>
              <a:gd name="connsiteY21" fmla="*/ 817443 h 1179757"/>
              <a:gd name="connsiteX22" fmla="*/ 481775 w 1113194"/>
              <a:gd name="connsiteY22" fmla="*/ 878662 h 1179757"/>
              <a:gd name="connsiteX23" fmla="*/ 542920 w 1113194"/>
              <a:gd name="connsiteY23" fmla="*/ 878662 h 1179757"/>
              <a:gd name="connsiteX24" fmla="*/ 557895 w 1113194"/>
              <a:gd name="connsiteY24" fmla="*/ 891155 h 1179757"/>
              <a:gd name="connsiteX25" fmla="*/ 592835 w 1113194"/>
              <a:gd name="connsiteY25" fmla="*/ 977361 h 1179757"/>
              <a:gd name="connsiteX26" fmla="*/ 590339 w 1113194"/>
              <a:gd name="connsiteY26" fmla="*/ 996101 h 1179757"/>
              <a:gd name="connsiteX27" fmla="*/ 549160 w 1113194"/>
              <a:gd name="connsiteY27" fmla="*/ 1038580 h 1179757"/>
              <a:gd name="connsiteX28" fmla="*/ 591587 w 1113194"/>
              <a:gd name="connsiteY28" fmla="*/ 1082307 h 1179757"/>
              <a:gd name="connsiteX29" fmla="*/ 634015 w 1113194"/>
              <a:gd name="connsiteY29" fmla="*/ 1039829 h 1179757"/>
              <a:gd name="connsiteX30" fmla="*/ 652732 w 1113194"/>
              <a:gd name="connsiteY30" fmla="*/ 1037330 h 1179757"/>
              <a:gd name="connsiteX31" fmla="*/ 740083 w 1113194"/>
              <a:gd name="connsiteY31" fmla="*/ 1073562 h 1179757"/>
              <a:gd name="connsiteX32" fmla="*/ 751314 w 1113194"/>
              <a:gd name="connsiteY32" fmla="*/ 1088554 h 1179757"/>
              <a:gd name="connsiteX33" fmla="*/ 751314 w 1113194"/>
              <a:gd name="connsiteY33" fmla="*/ 1108544 h 1179757"/>
              <a:gd name="connsiteX34" fmla="*/ 751314 w 1113194"/>
              <a:gd name="connsiteY34" fmla="*/ 1148523 h 1179757"/>
              <a:gd name="connsiteX35" fmla="*/ 812459 w 1113194"/>
              <a:gd name="connsiteY35" fmla="*/ 1148523 h 1179757"/>
              <a:gd name="connsiteX36" fmla="*/ 812459 w 1113194"/>
              <a:gd name="connsiteY36" fmla="*/ 1088554 h 1179757"/>
              <a:gd name="connsiteX37" fmla="*/ 824938 w 1113194"/>
              <a:gd name="connsiteY37" fmla="*/ 1073562 h 1179757"/>
              <a:gd name="connsiteX38" fmla="*/ 911040 w 1113194"/>
              <a:gd name="connsiteY38" fmla="*/ 1037330 h 1179757"/>
              <a:gd name="connsiteX39" fmla="*/ 931006 w 1113194"/>
              <a:gd name="connsiteY39" fmla="*/ 1039829 h 1179757"/>
              <a:gd name="connsiteX40" fmla="*/ 973434 w 1113194"/>
              <a:gd name="connsiteY40" fmla="*/ 1082307 h 1179757"/>
              <a:gd name="connsiteX41" fmla="*/ 1015861 w 1113194"/>
              <a:gd name="connsiteY41" fmla="*/ 1038580 h 1179757"/>
              <a:gd name="connsiteX42" fmla="*/ 973434 w 1113194"/>
              <a:gd name="connsiteY42" fmla="*/ 996101 h 1179757"/>
              <a:gd name="connsiteX43" fmla="*/ 970938 w 1113194"/>
              <a:gd name="connsiteY43" fmla="*/ 977361 h 1179757"/>
              <a:gd name="connsiteX44" fmla="*/ 1005878 w 1113194"/>
              <a:gd name="connsiteY44" fmla="*/ 891155 h 1179757"/>
              <a:gd name="connsiteX45" fmla="*/ 1020852 w 1113194"/>
              <a:gd name="connsiteY45" fmla="*/ 878662 h 1179757"/>
              <a:gd name="connsiteX46" fmla="*/ 1081998 w 1113194"/>
              <a:gd name="connsiteY46" fmla="*/ 878662 h 1179757"/>
              <a:gd name="connsiteX47" fmla="*/ 1081998 w 1113194"/>
              <a:gd name="connsiteY47" fmla="*/ 817443 h 1179757"/>
              <a:gd name="connsiteX48" fmla="*/ 1019605 w 1113194"/>
              <a:gd name="connsiteY48" fmla="*/ 817443 h 1179757"/>
              <a:gd name="connsiteX49" fmla="*/ 1005878 w 1113194"/>
              <a:gd name="connsiteY49" fmla="*/ 804950 h 1179757"/>
              <a:gd name="connsiteX50" fmla="*/ 969690 w 1113194"/>
              <a:gd name="connsiteY50" fmla="*/ 721243 h 1179757"/>
              <a:gd name="connsiteX51" fmla="*/ 972186 w 1113194"/>
              <a:gd name="connsiteY51" fmla="*/ 701253 h 1179757"/>
              <a:gd name="connsiteX52" fmla="*/ 1015861 w 1113194"/>
              <a:gd name="connsiteY52" fmla="*/ 657526 h 1179757"/>
              <a:gd name="connsiteX53" fmla="*/ 973434 w 1113194"/>
              <a:gd name="connsiteY53" fmla="*/ 613798 h 1179757"/>
              <a:gd name="connsiteX54" fmla="*/ 927263 w 1113194"/>
              <a:gd name="connsiteY54" fmla="*/ 657526 h 1179757"/>
              <a:gd name="connsiteX55" fmla="*/ 908545 w 1113194"/>
              <a:gd name="connsiteY55" fmla="*/ 660024 h 1179757"/>
              <a:gd name="connsiteX56" fmla="*/ 824938 w 1113194"/>
              <a:gd name="connsiteY56" fmla="*/ 626292 h 1179757"/>
              <a:gd name="connsiteX57" fmla="*/ 812459 w 1113194"/>
              <a:gd name="connsiteY57" fmla="*/ 611299 h 1179757"/>
              <a:gd name="connsiteX58" fmla="*/ 812459 w 1113194"/>
              <a:gd name="connsiteY58" fmla="*/ 547582 h 1179757"/>
              <a:gd name="connsiteX59" fmla="*/ 736339 w 1113194"/>
              <a:gd name="connsiteY59" fmla="*/ 516348 h 1179757"/>
              <a:gd name="connsiteX60" fmla="*/ 827433 w 1113194"/>
              <a:gd name="connsiteY60" fmla="*/ 516348 h 1179757"/>
              <a:gd name="connsiteX61" fmla="*/ 843656 w 1113194"/>
              <a:gd name="connsiteY61" fmla="*/ 532590 h 1179757"/>
              <a:gd name="connsiteX62" fmla="*/ 843656 w 1113194"/>
              <a:gd name="connsiteY62" fmla="*/ 598806 h 1179757"/>
              <a:gd name="connsiteX63" fmla="*/ 914784 w 1113194"/>
              <a:gd name="connsiteY63" fmla="*/ 628790 h 1179757"/>
              <a:gd name="connsiteX64" fmla="*/ 962203 w 1113194"/>
              <a:gd name="connsiteY64" fmla="*/ 581315 h 1179757"/>
              <a:gd name="connsiteX65" fmla="*/ 983416 w 1113194"/>
              <a:gd name="connsiteY65" fmla="*/ 581315 h 1179757"/>
              <a:gd name="connsiteX66" fmla="*/ 1048305 w 1113194"/>
              <a:gd name="connsiteY66" fmla="*/ 646281 h 1179757"/>
              <a:gd name="connsiteX67" fmla="*/ 1048305 w 1113194"/>
              <a:gd name="connsiteY67" fmla="*/ 668770 h 1179757"/>
              <a:gd name="connsiteX68" fmla="*/ 1002134 w 1113194"/>
              <a:gd name="connsiteY68" fmla="*/ 713747 h 1179757"/>
              <a:gd name="connsiteX69" fmla="*/ 1033331 w 1113194"/>
              <a:gd name="connsiteY69" fmla="*/ 786209 h 1179757"/>
              <a:gd name="connsiteX70" fmla="*/ 1096972 w 1113194"/>
              <a:gd name="connsiteY70" fmla="*/ 786209 h 1179757"/>
              <a:gd name="connsiteX71" fmla="*/ 1113194 w 1113194"/>
              <a:gd name="connsiteY71" fmla="*/ 801202 h 1179757"/>
              <a:gd name="connsiteX72" fmla="*/ 1113194 w 1113194"/>
              <a:gd name="connsiteY72" fmla="*/ 893654 h 1179757"/>
              <a:gd name="connsiteX73" fmla="*/ 1096972 w 1113194"/>
              <a:gd name="connsiteY73" fmla="*/ 909896 h 1179757"/>
              <a:gd name="connsiteX74" fmla="*/ 1034579 w 1113194"/>
              <a:gd name="connsiteY74" fmla="*/ 909896 h 1179757"/>
              <a:gd name="connsiteX75" fmla="*/ 1004630 w 1113194"/>
              <a:gd name="connsiteY75" fmla="*/ 982358 h 1179757"/>
              <a:gd name="connsiteX76" fmla="*/ 1048305 w 1113194"/>
              <a:gd name="connsiteY76" fmla="*/ 1028585 h 1179757"/>
              <a:gd name="connsiteX77" fmla="*/ 1048305 w 1113194"/>
              <a:gd name="connsiteY77" fmla="*/ 1049824 h 1179757"/>
              <a:gd name="connsiteX78" fmla="*/ 983416 w 1113194"/>
              <a:gd name="connsiteY78" fmla="*/ 1114790 h 1179757"/>
              <a:gd name="connsiteX79" fmla="*/ 973434 w 1113194"/>
              <a:gd name="connsiteY79" fmla="*/ 1118538 h 1179757"/>
              <a:gd name="connsiteX80" fmla="*/ 962203 w 1113194"/>
              <a:gd name="connsiteY80" fmla="*/ 1114790 h 1179757"/>
              <a:gd name="connsiteX81" fmla="*/ 918528 w 1113194"/>
              <a:gd name="connsiteY81" fmla="*/ 1069813 h 1179757"/>
              <a:gd name="connsiteX82" fmla="*/ 843656 w 1113194"/>
              <a:gd name="connsiteY82" fmla="*/ 1101047 h 1179757"/>
              <a:gd name="connsiteX83" fmla="*/ 843656 w 1113194"/>
              <a:gd name="connsiteY83" fmla="*/ 1163515 h 1179757"/>
              <a:gd name="connsiteX84" fmla="*/ 827433 w 1113194"/>
              <a:gd name="connsiteY84" fmla="*/ 1179757 h 1179757"/>
              <a:gd name="connsiteX85" fmla="*/ 736339 w 1113194"/>
              <a:gd name="connsiteY85" fmla="*/ 1179757 h 1179757"/>
              <a:gd name="connsiteX86" fmla="*/ 721365 w 1113194"/>
              <a:gd name="connsiteY86" fmla="*/ 1163515 h 1179757"/>
              <a:gd name="connsiteX87" fmla="*/ 721365 w 1113194"/>
              <a:gd name="connsiteY87" fmla="*/ 1131032 h 1179757"/>
              <a:gd name="connsiteX88" fmla="*/ 473040 w 1113194"/>
              <a:gd name="connsiteY88" fmla="*/ 1178508 h 1179757"/>
              <a:gd name="connsiteX89" fmla="*/ 37535 w 1113194"/>
              <a:gd name="connsiteY89" fmla="*/ 1019839 h 1179757"/>
              <a:gd name="connsiteX90" fmla="*/ 2595 w 1113194"/>
              <a:gd name="connsiteY90" fmla="*/ 917392 h 1179757"/>
              <a:gd name="connsiteX91" fmla="*/ 30048 w 1113194"/>
              <a:gd name="connsiteY91" fmla="*/ 794955 h 1179757"/>
              <a:gd name="connsiteX92" fmla="*/ 218475 w 1113194"/>
              <a:gd name="connsiteY92" fmla="*/ 590060 h 1179757"/>
              <a:gd name="connsiteX93" fmla="*/ 380698 w 1113194"/>
              <a:gd name="connsiteY93" fmla="*/ 590060 h 1179757"/>
              <a:gd name="connsiteX94" fmla="*/ 415638 w 1113194"/>
              <a:gd name="connsiteY94" fmla="*/ 608801 h 1179757"/>
              <a:gd name="connsiteX95" fmla="*/ 459313 w 1113194"/>
              <a:gd name="connsiteY95" fmla="*/ 685011 h 1179757"/>
              <a:gd name="connsiteX96" fmla="*/ 473040 w 1113194"/>
              <a:gd name="connsiteY96" fmla="*/ 693757 h 1179757"/>
              <a:gd name="connsiteX97" fmla="*/ 486767 w 1113194"/>
              <a:gd name="connsiteY97" fmla="*/ 685011 h 1179757"/>
              <a:gd name="connsiteX98" fmla="*/ 507980 w 1113194"/>
              <a:gd name="connsiteY98" fmla="*/ 680014 h 1179757"/>
              <a:gd name="connsiteX99" fmla="*/ 512972 w 1113194"/>
              <a:gd name="connsiteY99" fmla="*/ 701253 h 1179757"/>
              <a:gd name="connsiteX100" fmla="*/ 473040 w 1113194"/>
              <a:gd name="connsiteY100" fmla="*/ 724991 h 1179757"/>
              <a:gd name="connsiteX101" fmla="*/ 433108 w 1113194"/>
              <a:gd name="connsiteY101" fmla="*/ 701253 h 1179757"/>
              <a:gd name="connsiteX102" fmla="*/ 388185 w 1113194"/>
              <a:gd name="connsiteY102" fmla="*/ 625042 h 1179757"/>
              <a:gd name="connsiteX103" fmla="*/ 380698 w 1113194"/>
              <a:gd name="connsiteY103" fmla="*/ 620045 h 1179757"/>
              <a:gd name="connsiteX104" fmla="*/ 218475 w 1113194"/>
              <a:gd name="connsiteY104" fmla="*/ 620045 h 1179757"/>
              <a:gd name="connsiteX105" fmla="*/ 59997 w 1113194"/>
              <a:gd name="connsiteY105" fmla="*/ 802451 h 1179757"/>
              <a:gd name="connsiteX106" fmla="*/ 32544 w 1113194"/>
              <a:gd name="connsiteY106" fmla="*/ 923639 h 1179757"/>
              <a:gd name="connsiteX107" fmla="*/ 57501 w 1113194"/>
              <a:gd name="connsiteY107" fmla="*/ 997351 h 1179757"/>
              <a:gd name="connsiteX108" fmla="*/ 202253 w 1113194"/>
              <a:gd name="connsiteY108" fmla="*/ 1088554 h 1179757"/>
              <a:gd name="connsiteX109" fmla="*/ 202253 w 1113194"/>
              <a:gd name="connsiteY109" fmla="*/ 859921 h 1179757"/>
              <a:gd name="connsiteX110" fmla="*/ 217228 w 1113194"/>
              <a:gd name="connsiteY110" fmla="*/ 844929 h 1179757"/>
              <a:gd name="connsiteX111" fmla="*/ 232202 w 1113194"/>
              <a:gd name="connsiteY111" fmla="*/ 859921 h 1179757"/>
              <a:gd name="connsiteX112" fmla="*/ 232202 w 1113194"/>
              <a:gd name="connsiteY112" fmla="*/ 1101047 h 1179757"/>
              <a:gd name="connsiteX113" fmla="*/ 473040 w 1113194"/>
              <a:gd name="connsiteY113" fmla="*/ 1147274 h 1179757"/>
              <a:gd name="connsiteX114" fmla="*/ 716374 w 1113194"/>
              <a:gd name="connsiteY114" fmla="*/ 1099798 h 1179757"/>
              <a:gd name="connsiteX115" fmla="*/ 646493 w 1113194"/>
              <a:gd name="connsiteY115" fmla="*/ 1069813 h 1179757"/>
              <a:gd name="connsiteX116" fmla="*/ 602818 w 1113194"/>
              <a:gd name="connsiteY116" fmla="*/ 1114790 h 1179757"/>
              <a:gd name="connsiteX117" fmla="*/ 580356 w 1113194"/>
              <a:gd name="connsiteY117" fmla="*/ 1114790 h 1179757"/>
              <a:gd name="connsiteX118" fmla="*/ 515467 w 1113194"/>
              <a:gd name="connsiteY118" fmla="*/ 1049824 h 1179757"/>
              <a:gd name="connsiteX119" fmla="*/ 511724 w 1113194"/>
              <a:gd name="connsiteY119" fmla="*/ 1038580 h 1179757"/>
              <a:gd name="connsiteX120" fmla="*/ 515467 w 1113194"/>
              <a:gd name="connsiteY120" fmla="*/ 1028585 h 1179757"/>
              <a:gd name="connsiteX121" fmla="*/ 560391 w 1113194"/>
              <a:gd name="connsiteY121" fmla="*/ 982358 h 1179757"/>
              <a:gd name="connsiteX122" fmla="*/ 530442 w 1113194"/>
              <a:gd name="connsiteY122" fmla="*/ 909896 h 1179757"/>
              <a:gd name="connsiteX123" fmla="*/ 466801 w 1113194"/>
              <a:gd name="connsiteY123" fmla="*/ 909896 h 1179757"/>
              <a:gd name="connsiteX124" fmla="*/ 451826 w 1113194"/>
              <a:gd name="connsiteY124" fmla="*/ 893654 h 1179757"/>
              <a:gd name="connsiteX125" fmla="*/ 451826 w 1113194"/>
              <a:gd name="connsiteY125" fmla="*/ 801202 h 1179757"/>
              <a:gd name="connsiteX126" fmla="*/ 466801 w 1113194"/>
              <a:gd name="connsiteY126" fmla="*/ 786209 h 1179757"/>
              <a:gd name="connsiteX127" fmla="*/ 531690 w 1113194"/>
              <a:gd name="connsiteY127" fmla="*/ 786209 h 1179757"/>
              <a:gd name="connsiteX128" fmla="*/ 561638 w 1113194"/>
              <a:gd name="connsiteY128" fmla="*/ 713747 h 1179757"/>
              <a:gd name="connsiteX129" fmla="*/ 515467 w 1113194"/>
              <a:gd name="connsiteY129" fmla="*/ 668770 h 1179757"/>
              <a:gd name="connsiteX130" fmla="*/ 511724 w 1113194"/>
              <a:gd name="connsiteY130" fmla="*/ 657526 h 1179757"/>
              <a:gd name="connsiteX131" fmla="*/ 515467 w 1113194"/>
              <a:gd name="connsiteY131" fmla="*/ 646281 h 1179757"/>
              <a:gd name="connsiteX132" fmla="*/ 580356 w 1113194"/>
              <a:gd name="connsiteY132" fmla="*/ 581315 h 1179757"/>
              <a:gd name="connsiteX133" fmla="*/ 602818 w 1113194"/>
              <a:gd name="connsiteY133" fmla="*/ 581315 h 1179757"/>
              <a:gd name="connsiteX134" fmla="*/ 648989 w 1113194"/>
              <a:gd name="connsiteY134" fmla="*/ 628790 h 1179757"/>
              <a:gd name="connsiteX135" fmla="*/ 721365 w 1113194"/>
              <a:gd name="connsiteY135" fmla="*/ 597556 h 1179757"/>
              <a:gd name="connsiteX136" fmla="*/ 721365 w 1113194"/>
              <a:gd name="connsiteY136" fmla="*/ 532590 h 1179757"/>
              <a:gd name="connsiteX137" fmla="*/ 736339 w 1113194"/>
              <a:gd name="connsiteY137" fmla="*/ 516348 h 1179757"/>
              <a:gd name="connsiteX138" fmla="*/ 435241 w 1113194"/>
              <a:gd name="connsiteY138" fmla="*/ 170688 h 1179757"/>
              <a:gd name="connsiteX139" fmla="*/ 283189 w 1113194"/>
              <a:gd name="connsiteY139" fmla="*/ 314686 h 1179757"/>
              <a:gd name="connsiteX140" fmla="*/ 281943 w 1113194"/>
              <a:gd name="connsiteY140" fmla="*/ 327100 h 1179757"/>
              <a:gd name="connsiteX141" fmla="*/ 473877 w 1113194"/>
              <a:gd name="connsiteY141" fmla="*/ 517029 h 1179757"/>
              <a:gd name="connsiteX142" fmla="*/ 664565 w 1113194"/>
              <a:gd name="connsiteY142" fmla="*/ 327100 h 1179757"/>
              <a:gd name="connsiteX143" fmla="*/ 435241 w 1113194"/>
              <a:gd name="connsiteY143" fmla="*/ 170688 h 1179757"/>
              <a:gd name="connsiteX144" fmla="*/ 430256 w 1113194"/>
              <a:gd name="connsiteY144" fmla="*/ 111103 h 1179757"/>
              <a:gd name="connsiteX145" fmla="*/ 446458 w 1113194"/>
              <a:gd name="connsiteY145" fmla="*/ 121034 h 1179757"/>
              <a:gd name="connsiteX146" fmla="*/ 680767 w 1113194"/>
              <a:gd name="connsiteY146" fmla="*/ 297307 h 1179757"/>
              <a:gd name="connsiteX147" fmla="*/ 695723 w 1113194"/>
              <a:gd name="connsiteY147" fmla="*/ 312204 h 1179757"/>
              <a:gd name="connsiteX148" fmla="*/ 695723 w 1113194"/>
              <a:gd name="connsiteY148" fmla="*/ 327100 h 1179757"/>
              <a:gd name="connsiteX149" fmla="*/ 473877 w 1113194"/>
              <a:gd name="connsiteY149" fmla="*/ 548063 h 1179757"/>
              <a:gd name="connsiteX150" fmla="*/ 252031 w 1113194"/>
              <a:gd name="connsiteY150" fmla="*/ 327100 h 1179757"/>
              <a:gd name="connsiteX151" fmla="*/ 253277 w 1113194"/>
              <a:gd name="connsiteY151" fmla="*/ 302273 h 1179757"/>
              <a:gd name="connsiteX152" fmla="*/ 265741 w 1113194"/>
              <a:gd name="connsiteY152" fmla="*/ 287376 h 1179757"/>
              <a:gd name="connsiteX153" fmla="*/ 416546 w 1113194"/>
              <a:gd name="connsiteY153" fmla="*/ 122275 h 1179757"/>
              <a:gd name="connsiteX154" fmla="*/ 430256 w 1113194"/>
              <a:gd name="connsiteY154" fmla="*/ 111103 h 1179757"/>
              <a:gd name="connsiteX155" fmla="*/ 464522 w 1113194"/>
              <a:gd name="connsiteY155" fmla="*/ 0 h 1179757"/>
              <a:gd name="connsiteX156" fmla="*/ 647888 w 1113194"/>
              <a:gd name="connsiteY156" fmla="*/ 60799 h 1179757"/>
              <a:gd name="connsiteX157" fmla="*/ 757657 w 1113194"/>
              <a:gd name="connsiteY157" fmla="*/ 363557 h 1179757"/>
              <a:gd name="connsiteX158" fmla="*/ 745183 w 1113194"/>
              <a:gd name="connsiteY158" fmla="*/ 441728 h 1179757"/>
              <a:gd name="connsiteX159" fmla="*/ 691546 w 1113194"/>
              <a:gd name="connsiteY159" fmla="*/ 487638 h 1179757"/>
              <a:gd name="connsiteX160" fmla="*/ 671588 w 1113194"/>
              <a:gd name="connsiteY160" fmla="*/ 487638 h 1179757"/>
              <a:gd name="connsiteX161" fmla="*/ 656619 w 1113194"/>
              <a:gd name="connsiteY161" fmla="*/ 472749 h 1179757"/>
              <a:gd name="connsiteX162" fmla="*/ 671588 w 1113194"/>
              <a:gd name="connsiteY162" fmla="*/ 456618 h 1179757"/>
              <a:gd name="connsiteX163" fmla="*/ 691546 w 1113194"/>
              <a:gd name="connsiteY163" fmla="*/ 456618 h 1179757"/>
              <a:gd name="connsiteX164" fmla="*/ 715246 w 1113194"/>
              <a:gd name="connsiteY164" fmla="*/ 436765 h 1179757"/>
              <a:gd name="connsiteX165" fmla="*/ 726473 w 1113194"/>
              <a:gd name="connsiteY165" fmla="*/ 359835 h 1179757"/>
              <a:gd name="connsiteX166" fmla="*/ 629177 w 1113194"/>
              <a:gd name="connsiteY166" fmla="*/ 84375 h 1179757"/>
              <a:gd name="connsiteX167" fmla="*/ 465769 w 1113194"/>
              <a:gd name="connsiteY167" fmla="*/ 31020 h 1179757"/>
              <a:gd name="connsiteX168" fmla="*/ 233756 w 1113194"/>
              <a:gd name="connsiteY168" fmla="*/ 187362 h 1179757"/>
              <a:gd name="connsiteX169" fmla="*/ 220035 w 1113194"/>
              <a:gd name="connsiteY169" fmla="*/ 385892 h 1179757"/>
              <a:gd name="connsiteX170" fmla="*/ 228766 w 1113194"/>
              <a:gd name="connsiteY170" fmla="*/ 436765 h 1179757"/>
              <a:gd name="connsiteX171" fmla="*/ 252467 w 1113194"/>
              <a:gd name="connsiteY171" fmla="*/ 456618 h 1179757"/>
              <a:gd name="connsiteX172" fmla="*/ 273672 w 1113194"/>
              <a:gd name="connsiteY172" fmla="*/ 456618 h 1179757"/>
              <a:gd name="connsiteX173" fmla="*/ 289888 w 1113194"/>
              <a:gd name="connsiteY173" fmla="*/ 472749 h 1179757"/>
              <a:gd name="connsiteX174" fmla="*/ 273672 w 1113194"/>
              <a:gd name="connsiteY174" fmla="*/ 487638 h 1179757"/>
              <a:gd name="connsiteX175" fmla="*/ 252467 w 1113194"/>
              <a:gd name="connsiteY175" fmla="*/ 487638 h 1179757"/>
              <a:gd name="connsiteX176" fmla="*/ 198829 w 1113194"/>
              <a:gd name="connsiteY176" fmla="*/ 441728 h 1179757"/>
              <a:gd name="connsiteX177" fmla="*/ 190097 w 1113194"/>
              <a:gd name="connsiteY177" fmla="*/ 390855 h 1179757"/>
              <a:gd name="connsiteX178" fmla="*/ 205066 w 1113194"/>
              <a:gd name="connsiteY178" fmla="*/ 176195 h 1179757"/>
              <a:gd name="connsiteX179" fmla="*/ 464522 w 1113194"/>
              <a:gd name="connsiteY179" fmla="*/ 0 h 117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13194" h="1179757">
                <a:moveTo>
                  <a:pt x="781491" y="732948"/>
                </a:moveTo>
                <a:cubicBezTo>
                  <a:pt x="715597" y="732948"/>
                  <a:pt x="660893" y="787652"/>
                  <a:pt x="660893" y="853546"/>
                </a:cubicBezTo>
                <a:cubicBezTo>
                  <a:pt x="660893" y="919439"/>
                  <a:pt x="715597" y="974143"/>
                  <a:pt x="781491" y="974143"/>
                </a:cubicBezTo>
                <a:cubicBezTo>
                  <a:pt x="847384" y="974143"/>
                  <a:pt x="900845" y="919439"/>
                  <a:pt x="900845" y="853546"/>
                </a:cubicBezTo>
                <a:cubicBezTo>
                  <a:pt x="900845" y="787652"/>
                  <a:pt x="847384" y="732948"/>
                  <a:pt x="781491" y="732948"/>
                </a:cubicBezTo>
                <a:close/>
                <a:moveTo>
                  <a:pt x="781491" y="703109"/>
                </a:moveTo>
                <a:cubicBezTo>
                  <a:pt x="863547" y="703109"/>
                  <a:pt x="931927" y="770246"/>
                  <a:pt x="931927" y="853546"/>
                </a:cubicBezTo>
                <a:cubicBezTo>
                  <a:pt x="931927" y="936845"/>
                  <a:pt x="863547" y="1003982"/>
                  <a:pt x="781491" y="1003982"/>
                </a:cubicBezTo>
                <a:cubicBezTo>
                  <a:pt x="698191" y="1003982"/>
                  <a:pt x="631054" y="936845"/>
                  <a:pt x="631054" y="853546"/>
                </a:cubicBezTo>
                <a:cubicBezTo>
                  <a:pt x="631054" y="770246"/>
                  <a:pt x="698191" y="703109"/>
                  <a:pt x="781491" y="703109"/>
                </a:cubicBezTo>
                <a:close/>
                <a:moveTo>
                  <a:pt x="751314" y="547582"/>
                </a:moveTo>
                <a:lnTo>
                  <a:pt x="751314" y="611299"/>
                </a:lnTo>
                <a:cubicBezTo>
                  <a:pt x="751314" y="618796"/>
                  <a:pt x="745074" y="625042"/>
                  <a:pt x="737587" y="626292"/>
                </a:cubicBezTo>
                <a:cubicBezTo>
                  <a:pt x="711382" y="628790"/>
                  <a:pt x="685177" y="640035"/>
                  <a:pt x="655228" y="660024"/>
                </a:cubicBezTo>
                <a:cubicBezTo>
                  <a:pt x="648989" y="663772"/>
                  <a:pt x="641502" y="663772"/>
                  <a:pt x="636510" y="657526"/>
                </a:cubicBezTo>
                <a:lnTo>
                  <a:pt x="591587" y="613798"/>
                </a:lnTo>
                <a:lnTo>
                  <a:pt x="549160" y="657526"/>
                </a:lnTo>
                <a:lnTo>
                  <a:pt x="592835" y="701253"/>
                </a:lnTo>
                <a:cubicBezTo>
                  <a:pt x="597826" y="706251"/>
                  <a:pt x="597826" y="714996"/>
                  <a:pt x="594083" y="721243"/>
                </a:cubicBezTo>
                <a:cubicBezTo>
                  <a:pt x="576613" y="747479"/>
                  <a:pt x="565382" y="774965"/>
                  <a:pt x="559143" y="804950"/>
                </a:cubicBezTo>
                <a:cubicBezTo>
                  <a:pt x="556647" y="812446"/>
                  <a:pt x="551655" y="817443"/>
                  <a:pt x="544168" y="817443"/>
                </a:cubicBezTo>
                <a:lnTo>
                  <a:pt x="481775" y="817443"/>
                </a:lnTo>
                <a:lnTo>
                  <a:pt x="481775" y="878662"/>
                </a:lnTo>
                <a:lnTo>
                  <a:pt x="542920" y="878662"/>
                </a:lnTo>
                <a:cubicBezTo>
                  <a:pt x="550408" y="878662"/>
                  <a:pt x="556647" y="883659"/>
                  <a:pt x="557895" y="891155"/>
                </a:cubicBezTo>
                <a:cubicBezTo>
                  <a:pt x="564134" y="921140"/>
                  <a:pt x="575365" y="951125"/>
                  <a:pt x="592835" y="977361"/>
                </a:cubicBezTo>
                <a:cubicBezTo>
                  <a:pt x="596579" y="982358"/>
                  <a:pt x="596579" y="991104"/>
                  <a:pt x="590339" y="996101"/>
                </a:cubicBezTo>
                <a:lnTo>
                  <a:pt x="549160" y="1038580"/>
                </a:lnTo>
                <a:lnTo>
                  <a:pt x="591587" y="1082307"/>
                </a:lnTo>
                <a:lnTo>
                  <a:pt x="634015" y="1039829"/>
                </a:lnTo>
                <a:cubicBezTo>
                  <a:pt x="639006" y="1034831"/>
                  <a:pt x="646493" y="1034831"/>
                  <a:pt x="652732" y="1037330"/>
                </a:cubicBezTo>
                <a:cubicBezTo>
                  <a:pt x="678938" y="1056071"/>
                  <a:pt x="708886" y="1067315"/>
                  <a:pt x="740083" y="1073562"/>
                </a:cubicBezTo>
                <a:cubicBezTo>
                  <a:pt x="746322" y="1074811"/>
                  <a:pt x="751314" y="1081058"/>
                  <a:pt x="751314" y="1088554"/>
                </a:cubicBezTo>
                <a:lnTo>
                  <a:pt x="751314" y="1108544"/>
                </a:lnTo>
                <a:lnTo>
                  <a:pt x="751314" y="1148523"/>
                </a:lnTo>
                <a:lnTo>
                  <a:pt x="812459" y="1148523"/>
                </a:lnTo>
                <a:lnTo>
                  <a:pt x="812459" y="1088554"/>
                </a:lnTo>
                <a:cubicBezTo>
                  <a:pt x="812459" y="1081058"/>
                  <a:pt x="818698" y="1074811"/>
                  <a:pt x="824938" y="1073562"/>
                </a:cubicBezTo>
                <a:cubicBezTo>
                  <a:pt x="856134" y="1067315"/>
                  <a:pt x="884835" y="1056071"/>
                  <a:pt x="911040" y="1037330"/>
                </a:cubicBezTo>
                <a:cubicBezTo>
                  <a:pt x="917280" y="1034831"/>
                  <a:pt x="926015" y="1034831"/>
                  <a:pt x="931006" y="1039829"/>
                </a:cubicBezTo>
                <a:lnTo>
                  <a:pt x="973434" y="1082307"/>
                </a:lnTo>
                <a:lnTo>
                  <a:pt x="1015861" y="1038580"/>
                </a:lnTo>
                <a:lnTo>
                  <a:pt x="973434" y="996101"/>
                </a:lnTo>
                <a:cubicBezTo>
                  <a:pt x="968442" y="991104"/>
                  <a:pt x="967194" y="982358"/>
                  <a:pt x="970938" y="977361"/>
                </a:cubicBezTo>
                <a:cubicBezTo>
                  <a:pt x="989656" y="951125"/>
                  <a:pt x="1000887" y="921140"/>
                  <a:pt x="1005878" y="891155"/>
                </a:cubicBezTo>
                <a:cubicBezTo>
                  <a:pt x="1007126" y="883659"/>
                  <a:pt x="1014613" y="878662"/>
                  <a:pt x="1020852" y="878662"/>
                </a:cubicBezTo>
                <a:lnTo>
                  <a:pt x="1081998" y="878662"/>
                </a:lnTo>
                <a:lnTo>
                  <a:pt x="1081998" y="817443"/>
                </a:lnTo>
                <a:lnTo>
                  <a:pt x="1019605" y="817443"/>
                </a:lnTo>
                <a:cubicBezTo>
                  <a:pt x="1013365" y="817443"/>
                  <a:pt x="1007126" y="812446"/>
                  <a:pt x="1005878" y="804950"/>
                </a:cubicBezTo>
                <a:cubicBezTo>
                  <a:pt x="999639" y="774965"/>
                  <a:pt x="987160" y="747479"/>
                  <a:pt x="969690" y="721243"/>
                </a:cubicBezTo>
                <a:cubicBezTo>
                  <a:pt x="965946" y="714996"/>
                  <a:pt x="967194" y="706251"/>
                  <a:pt x="972186" y="701253"/>
                </a:cubicBezTo>
                <a:lnTo>
                  <a:pt x="1015861" y="657526"/>
                </a:lnTo>
                <a:lnTo>
                  <a:pt x="973434" y="613798"/>
                </a:lnTo>
                <a:lnTo>
                  <a:pt x="927263" y="657526"/>
                </a:lnTo>
                <a:cubicBezTo>
                  <a:pt x="923519" y="663772"/>
                  <a:pt x="914784" y="663772"/>
                  <a:pt x="908545" y="660024"/>
                </a:cubicBezTo>
                <a:cubicBezTo>
                  <a:pt x="883587" y="643783"/>
                  <a:pt x="854886" y="631289"/>
                  <a:pt x="824938" y="626292"/>
                </a:cubicBezTo>
                <a:cubicBezTo>
                  <a:pt x="818698" y="625042"/>
                  <a:pt x="812459" y="618796"/>
                  <a:pt x="812459" y="611299"/>
                </a:cubicBezTo>
                <a:lnTo>
                  <a:pt x="812459" y="547582"/>
                </a:lnTo>
                <a:close/>
                <a:moveTo>
                  <a:pt x="736339" y="516348"/>
                </a:moveTo>
                <a:lnTo>
                  <a:pt x="827433" y="516348"/>
                </a:lnTo>
                <a:cubicBezTo>
                  <a:pt x="836169" y="516348"/>
                  <a:pt x="843656" y="523844"/>
                  <a:pt x="843656" y="532590"/>
                </a:cubicBezTo>
                <a:lnTo>
                  <a:pt x="843656" y="598806"/>
                </a:lnTo>
                <a:cubicBezTo>
                  <a:pt x="868613" y="605053"/>
                  <a:pt x="892322" y="615047"/>
                  <a:pt x="914784" y="628790"/>
                </a:cubicBezTo>
                <a:lnTo>
                  <a:pt x="962203" y="581315"/>
                </a:lnTo>
                <a:cubicBezTo>
                  <a:pt x="967194" y="576317"/>
                  <a:pt x="977177" y="576317"/>
                  <a:pt x="983416" y="581315"/>
                </a:cubicBezTo>
                <a:lnTo>
                  <a:pt x="1048305" y="646281"/>
                </a:lnTo>
                <a:cubicBezTo>
                  <a:pt x="1054545" y="652528"/>
                  <a:pt x="1054545" y="662523"/>
                  <a:pt x="1048305" y="668770"/>
                </a:cubicBezTo>
                <a:lnTo>
                  <a:pt x="1002134" y="713747"/>
                </a:lnTo>
                <a:cubicBezTo>
                  <a:pt x="1017109" y="736235"/>
                  <a:pt x="1025844" y="761222"/>
                  <a:pt x="1033331" y="786209"/>
                </a:cubicBezTo>
                <a:lnTo>
                  <a:pt x="1096972" y="786209"/>
                </a:lnTo>
                <a:cubicBezTo>
                  <a:pt x="1105707" y="786209"/>
                  <a:pt x="1113194" y="793706"/>
                  <a:pt x="1113194" y="801202"/>
                </a:cubicBezTo>
                <a:lnTo>
                  <a:pt x="1113194" y="893654"/>
                </a:lnTo>
                <a:cubicBezTo>
                  <a:pt x="1113194" y="902400"/>
                  <a:pt x="1105707" y="909896"/>
                  <a:pt x="1096972" y="909896"/>
                </a:cubicBezTo>
                <a:lnTo>
                  <a:pt x="1034579" y="909896"/>
                </a:lnTo>
                <a:cubicBezTo>
                  <a:pt x="1028340" y="936132"/>
                  <a:pt x="1018357" y="959870"/>
                  <a:pt x="1004630" y="982358"/>
                </a:cubicBezTo>
                <a:lnTo>
                  <a:pt x="1048305" y="1028585"/>
                </a:lnTo>
                <a:cubicBezTo>
                  <a:pt x="1054545" y="1034831"/>
                  <a:pt x="1054545" y="1043577"/>
                  <a:pt x="1048305" y="1049824"/>
                </a:cubicBezTo>
                <a:lnTo>
                  <a:pt x="983416" y="1114790"/>
                </a:lnTo>
                <a:cubicBezTo>
                  <a:pt x="980921" y="1117289"/>
                  <a:pt x="977177" y="1118538"/>
                  <a:pt x="973434" y="1118538"/>
                </a:cubicBezTo>
                <a:cubicBezTo>
                  <a:pt x="968442" y="1118538"/>
                  <a:pt x="964699" y="1117289"/>
                  <a:pt x="962203" y="1114790"/>
                </a:cubicBezTo>
                <a:lnTo>
                  <a:pt x="918528" y="1069813"/>
                </a:lnTo>
                <a:cubicBezTo>
                  <a:pt x="894818" y="1084806"/>
                  <a:pt x="869861" y="1094801"/>
                  <a:pt x="843656" y="1101047"/>
                </a:cubicBezTo>
                <a:lnTo>
                  <a:pt x="843656" y="1163515"/>
                </a:lnTo>
                <a:cubicBezTo>
                  <a:pt x="843656" y="1172261"/>
                  <a:pt x="836169" y="1179757"/>
                  <a:pt x="827433" y="1179757"/>
                </a:cubicBezTo>
                <a:lnTo>
                  <a:pt x="736339" y="1179757"/>
                </a:lnTo>
                <a:cubicBezTo>
                  <a:pt x="727604" y="1179757"/>
                  <a:pt x="721365" y="1172261"/>
                  <a:pt x="721365" y="1163515"/>
                </a:cubicBezTo>
                <a:lnTo>
                  <a:pt x="721365" y="1131032"/>
                </a:lnTo>
                <a:cubicBezTo>
                  <a:pt x="641502" y="1162266"/>
                  <a:pt x="559143" y="1178508"/>
                  <a:pt x="473040" y="1178508"/>
                </a:cubicBezTo>
                <a:cubicBezTo>
                  <a:pt x="313313" y="1178508"/>
                  <a:pt x="159826" y="1122286"/>
                  <a:pt x="37535" y="1019839"/>
                </a:cubicBezTo>
                <a:cubicBezTo>
                  <a:pt x="7586" y="996101"/>
                  <a:pt x="-6140" y="956122"/>
                  <a:pt x="2595" y="917392"/>
                </a:cubicBezTo>
                <a:lnTo>
                  <a:pt x="30048" y="794955"/>
                </a:lnTo>
                <a:cubicBezTo>
                  <a:pt x="79962" y="622544"/>
                  <a:pt x="108663" y="590060"/>
                  <a:pt x="218475" y="590060"/>
                </a:cubicBezTo>
                <a:lnTo>
                  <a:pt x="380698" y="590060"/>
                </a:lnTo>
                <a:cubicBezTo>
                  <a:pt x="394425" y="590060"/>
                  <a:pt x="408151" y="597556"/>
                  <a:pt x="415638" y="608801"/>
                </a:cubicBezTo>
                <a:lnTo>
                  <a:pt x="459313" y="685011"/>
                </a:lnTo>
                <a:cubicBezTo>
                  <a:pt x="463057" y="692508"/>
                  <a:pt x="470544" y="693757"/>
                  <a:pt x="473040" y="693757"/>
                </a:cubicBezTo>
                <a:cubicBezTo>
                  <a:pt x="475536" y="693757"/>
                  <a:pt x="481775" y="692508"/>
                  <a:pt x="486767" y="685011"/>
                </a:cubicBezTo>
                <a:cubicBezTo>
                  <a:pt x="490510" y="677515"/>
                  <a:pt x="500493" y="676266"/>
                  <a:pt x="507980" y="680014"/>
                </a:cubicBezTo>
                <a:cubicBezTo>
                  <a:pt x="515467" y="683762"/>
                  <a:pt x="517963" y="693757"/>
                  <a:pt x="512972" y="701253"/>
                </a:cubicBezTo>
                <a:cubicBezTo>
                  <a:pt x="504237" y="714996"/>
                  <a:pt x="489262" y="724991"/>
                  <a:pt x="473040" y="724991"/>
                </a:cubicBezTo>
                <a:cubicBezTo>
                  <a:pt x="455570" y="724991"/>
                  <a:pt x="440596" y="714996"/>
                  <a:pt x="433108" y="701253"/>
                </a:cubicBezTo>
                <a:lnTo>
                  <a:pt x="388185" y="625042"/>
                </a:lnTo>
                <a:cubicBezTo>
                  <a:pt x="386937" y="622544"/>
                  <a:pt x="383194" y="620045"/>
                  <a:pt x="380698" y="620045"/>
                </a:cubicBezTo>
                <a:lnTo>
                  <a:pt x="218475" y="620045"/>
                </a:lnTo>
                <a:cubicBezTo>
                  <a:pt x="129877" y="620045"/>
                  <a:pt x="107416" y="636287"/>
                  <a:pt x="59997" y="802451"/>
                </a:cubicBezTo>
                <a:lnTo>
                  <a:pt x="32544" y="923639"/>
                </a:lnTo>
                <a:cubicBezTo>
                  <a:pt x="26304" y="951125"/>
                  <a:pt x="36287" y="978610"/>
                  <a:pt x="57501" y="997351"/>
                </a:cubicBezTo>
                <a:cubicBezTo>
                  <a:pt x="101176" y="1034831"/>
                  <a:pt x="149843" y="1064816"/>
                  <a:pt x="202253" y="1088554"/>
                </a:cubicBezTo>
                <a:lnTo>
                  <a:pt x="202253" y="859921"/>
                </a:lnTo>
                <a:cubicBezTo>
                  <a:pt x="202253" y="851176"/>
                  <a:pt x="208492" y="844929"/>
                  <a:pt x="217228" y="844929"/>
                </a:cubicBezTo>
                <a:cubicBezTo>
                  <a:pt x="225963" y="844929"/>
                  <a:pt x="232202" y="851176"/>
                  <a:pt x="232202" y="859921"/>
                </a:cubicBezTo>
                <a:lnTo>
                  <a:pt x="232202" y="1101047"/>
                </a:lnTo>
                <a:cubicBezTo>
                  <a:pt x="308322" y="1131032"/>
                  <a:pt x="389433" y="1147274"/>
                  <a:pt x="473040" y="1147274"/>
                </a:cubicBezTo>
                <a:cubicBezTo>
                  <a:pt x="556647" y="1147274"/>
                  <a:pt x="639006" y="1131032"/>
                  <a:pt x="716374" y="1099798"/>
                </a:cubicBezTo>
                <a:cubicBezTo>
                  <a:pt x="691416" y="1093551"/>
                  <a:pt x="668955" y="1083556"/>
                  <a:pt x="646493" y="1069813"/>
                </a:cubicBezTo>
                <a:lnTo>
                  <a:pt x="602818" y="1114790"/>
                </a:lnTo>
                <a:cubicBezTo>
                  <a:pt x="596579" y="1121037"/>
                  <a:pt x="586596" y="1121037"/>
                  <a:pt x="580356" y="1114790"/>
                </a:cubicBezTo>
                <a:lnTo>
                  <a:pt x="515467" y="1049824"/>
                </a:lnTo>
                <a:cubicBezTo>
                  <a:pt x="512972" y="1046076"/>
                  <a:pt x="511724" y="1042328"/>
                  <a:pt x="511724" y="1038580"/>
                </a:cubicBezTo>
                <a:cubicBezTo>
                  <a:pt x="511724" y="1034831"/>
                  <a:pt x="512972" y="1031083"/>
                  <a:pt x="515467" y="1028585"/>
                </a:cubicBezTo>
                <a:lnTo>
                  <a:pt x="560391" y="982358"/>
                </a:lnTo>
                <a:cubicBezTo>
                  <a:pt x="546664" y="959870"/>
                  <a:pt x="536681" y="936132"/>
                  <a:pt x="530442" y="909896"/>
                </a:cubicBezTo>
                <a:lnTo>
                  <a:pt x="466801" y="909896"/>
                </a:lnTo>
                <a:cubicBezTo>
                  <a:pt x="459313" y="909896"/>
                  <a:pt x="451826" y="902400"/>
                  <a:pt x="451826" y="893654"/>
                </a:cubicBezTo>
                <a:lnTo>
                  <a:pt x="451826" y="801202"/>
                </a:lnTo>
                <a:cubicBezTo>
                  <a:pt x="451826" y="793706"/>
                  <a:pt x="459313" y="786209"/>
                  <a:pt x="466801" y="786209"/>
                </a:cubicBezTo>
                <a:lnTo>
                  <a:pt x="531690" y="786209"/>
                </a:lnTo>
                <a:cubicBezTo>
                  <a:pt x="537929" y="761222"/>
                  <a:pt x="547912" y="736235"/>
                  <a:pt x="561638" y="713747"/>
                </a:cubicBezTo>
                <a:lnTo>
                  <a:pt x="515467" y="668770"/>
                </a:lnTo>
                <a:cubicBezTo>
                  <a:pt x="512972" y="665022"/>
                  <a:pt x="511724" y="661274"/>
                  <a:pt x="511724" y="657526"/>
                </a:cubicBezTo>
                <a:cubicBezTo>
                  <a:pt x="511724" y="652528"/>
                  <a:pt x="512972" y="648780"/>
                  <a:pt x="515467" y="646281"/>
                </a:cubicBezTo>
                <a:lnTo>
                  <a:pt x="580356" y="581315"/>
                </a:lnTo>
                <a:cubicBezTo>
                  <a:pt x="586596" y="576317"/>
                  <a:pt x="596579" y="576317"/>
                  <a:pt x="602818" y="581315"/>
                </a:cubicBezTo>
                <a:lnTo>
                  <a:pt x="648989" y="628790"/>
                </a:lnTo>
                <a:cubicBezTo>
                  <a:pt x="673946" y="612549"/>
                  <a:pt x="697656" y="603803"/>
                  <a:pt x="721365" y="597556"/>
                </a:cubicBezTo>
                <a:lnTo>
                  <a:pt x="721365" y="532590"/>
                </a:lnTo>
                <a:cubicBezTo>
                  <a:pt x="721365" y="523844"/>
                  <a:pt x="727604" y="516348"/>
                  <a:pt x="736339" y="516348"/>
                </a:cubicBezTo>
                <a:close/>
                <a:moveTo>
                  <a:pt x="435241" y="170688"/>
                </a:moveTo>
                <a:cubicBezTo>
                  <a:pt x="399097" y="271239"/>
                  <a:pt x="314347" y="304755"/>
                  <a:pt x="283189" y="314686"/>
                </a:cubicBezTo>
                <a:lnTo>
                  <a:pt x="281943" y="327100"/>
                </a:lnTo>
                <a:cubicBezTo>
                  <a:pt x="281943" y="432616"/>
                  <a:pt x="367939" y="517029"/>
                  <a:pt x="473877" y="517029"/>
                </a:cubicBezTo>
                <a:cubicBezTo>
                  <a:pt x="578568" y="517029"/>
                  <a:pt x="664565" y="432616"/>
                  <a:pt x="664565" y="327100"/>
                </a:cubicBezTo>
                <a:cubicBezTo>
                  <a:pt x="533701" y="317169"/>
                  <a:pt x="465153" y="225308"/>
                  <a:pt x="435241" y="170688"/>
                </a:cubicBezTo>
                <a:close/>
                <a:moveTo>
                  <a:pt x="430256" y="111103"/>
                </a:moveTo>
                <a:cubicBezTo>
                  <a:pt x="437734" y="109861"/>
                  <a:pt x="443965" y="114827"/>
                  <a:pt x="446458" y="121034"/>
                </a:cubicBezTo>
                <a:cubicBezTo>
                  <a:pt x="447704" y="128482"/>
                  <a:pt x="503789" y="292342"/>
                  <a:pt x="680767" y="297307"/>
                </a:cubicBezTo>
                <a:cubicBezTo>
                  <a:pt x="688245" y="298549"/>
                  <a:pt x="695723" y="304755"/>
                  <a:pt x="695723" y="312204"/>
                </a:cubicBezTo>
                <a:cubicBezTo>
                  <a:pt x="695723" y="312204"/>
                  <a:pt x="695723" y="322135"/>
                  <a:pt x="695723" y="327100"/>
                </a:cubicBezTo>
                <a:cubicBezTo>
                  <a:pt x="695723" y="448754"/>
                  <a:pt x="596017" y="548063"/>
                  <a:pt x="473877" y="548063"/>
                </a:cubicBezTo>
                <a:cubicBezTo>
                  <a:pt x="351737" y="548063"/>
                  <a:pt x="252031" y="448754"/>
                  <a:pt x="252031" y="327100"/>
                </a:cubicBezTo>
                <a:lnTo>
                  <a:pt x="253277" y="302273"/>
                </a:lnTo>
                <a:cubicBezTo>
                  <a:pt x="253277" y="294825"/>
                  <a:pt x="259509" y="288618"/>
                  <a:pt x="265741" y="287376"/>
                </a:cubicBezTo>
                <a:cubicBezTo>
                  <a:pt x="270726" y="286135"/>
                  <a:pt x="390373" y="262549"/>
                  <a:pt x="416546" y="122275"/>
                </a:cubicBezTo>
                <a:cubicBezTo>
                  <a:pt x="417792" y="116068"/>
                  <a:pt x="422778" y="111103"/>
                  <a:pt x="430256" y="111103"/>
                </a:cubicBezTo>
                <a:close/>
                <a:moveTo>
                  <a:pt x="464522" y="0"/>
                </a:moveTo>
                <a:cubicBezTo>
                  <a:pt x="531881" y="0"/>
                  <a:pt x="594250" y="19853"/>
                  <a:pt x="647888" y="60799"/>
                </a:cubicBezTo>
                <a:cubicBezTo>
                  <a:pt x="731462" y="122840"/>
                  <a:pt x="772626" y="236995"/>
                  <a:pt x="757657" y="363557"/>
                </a:cubicBezTo>
                <a:lnTo>
                  <a:pt x="745183" y="441728"/>
                </a:lnTo>
                <a:cubicBezTo>
                  <a:pt x="741441" y="467785"/>
                  <a:pt x="718988" y="487638"/>
                  <a:pt x="691546" y="487638"/>
                </a:cubicBezTo>
                <a:lnTo>
                  <a:pt x="671588" y="487638"/>
                </a:lnTo>
                <a:cubicBezTo>
                  <a:pt x="662856" y="487638"/>
                  <a:pt x="656619" y="480194"/>
                  <a:pt x="656619" y="472749"/>
                </a:cubicBezTo>
                <a:cubicBezTo>
                  <a:pt x="656619" y="464063"/>
                  <a:pt x="662856" y="456618"/>
                  <a:pt x="671588" y="456618"/>
                </a:cubicBezTo>
                <a:lnTo>
                  <a:pt x="691546" y="456618"/>
                </a:lnTo>
                <a:cubicBezTo>
                  <a:pt x="704020" y="456618"/>
                  <a:pt x="713999" y="449173"/>
                  <a:pt x="715246" y="436765"/>
                </a:cubicBezTo>
                <a:lnTo>
                  <a:pt x="726473" y="359835"/>
                </a:lnTo>
                <a:cubicBezTo>
                  <a:pt x="741441" y="243199"/>
                  <a:pt x="704020" y="141453"/>
                  <a:pt x="629177" y="84375"/>
                </a:cubicBezTo>
                <a:cubicBezTo>
                  <a:pt x="581776" y="48391"/>
                  <a:pt x="525644" y="29779"/>
                  <a:pt x="465769" y="31020"/>
                </a:cubicBezTo>
                <a:cubicBezTo>
                  <a:pt x="360989" y="32261"/>
                  <a:pt x="276167" y="89338"/>
                  <a:pt x="233756" y="187362"/>
                </a:cubicBezTo>
                <a:cubicBezTo>
                  <a:pt x="206313" y="253125"/>
                  <a:pt x="211303" y="325092"/>
                  <a:pt x="220035" y="385892"/>
                </a:cubicBezTo>
                <a:lnTo>
                  <a:pt x="228766" y="436765"/>
                </a:lnTo>
                <a:cubicBezTo>
                  <a:pt x="231261" y="449173"/>
                  <a:pt x="239993" y="456618"/>
                  <a:pt x="252467" y="456618"/>
                </a:cubicBezTo>
                <a:lnTo>
                  <a:pt x="273672" y="456618"/>
                </a:lnTo>
                <a:cubicBezTo>
                  <a:pt x="282404" y="456618"/>
                  <a:pt x="289888" y="464063"/>
                  <a:pt x="289888" y="472749"/>
                </a:cubicBezTo>
                <a:cubicBezTo>
                  <a:pt x="289888" y="480194"/>
                  <a:pt x="282404" y="487638"/>
                  <a:pt x="273672" y="487638"/>
                </a:cubicBezTo>
                <a:lnTo>
                  <a:pt x="252467" y="487638"/>
                </a:lnTo>
                <a:cubicBezTo>
                  <a:pt x="225024" y="487638"/>
                  <a:pt x="202571" y="469026"/>
                  <a:pt x="198829" y="441728"/>
                </a:cubicBezTo>
                <a:lnTo>
                  <a:pt x="190097" y="390855"/>
                </a:lnTo>
                <a:cubicBezTo>
                  <a:pt x="180118" y="325092"/>
                  <a:pt x="175129" y="248162"/>
                  <a:pt x="205066" y="176195"/>
                </a:cubicBezTo>
                <a:cubicBezTo>
                  <a:pt x="252467" y="65763"/>
                  <a:pt x="347268" y="1241"/>
                  <a:pt x="464522" y="0"/>
                </a:cubicBezTo>
                <a:close/>
              </a:path>
            </a:pathLst>
          </a:custGeom>
          <a:solidFill>
            <a:schemeClr val="accent1"/>
          </a:solidFill>
          <a:ln>
            <a:noFill/>
          </a:ln>
          <a:effectLst/>
        </p:spPr>
        <p:txBody>
          <a:bodyPr wrap="square" anchor="ctr">
            <a:noAutofit/>
          </a:bodyPr>
          <a:lstStyle/>
          <a:p>
            <a:endParaRPr lang="en-US" sz="1200" dirty="0"/>
          </a:p>
        </p:txBody>
      </p:sp>
      <p:sp>
        <p:nvSpPr>
          <p:cNvPr id="62" name="Freeform 543">
            <a:extLst>
              <a:ext uri="{FF2B5EF4-FFF2-40B4-BE49-F238E27FC236}">
                <a16:creationId xmlns:a16="http://schemas.microsoft.com/office/drawing/2014/main" id="{63179629-4528-C7FA-6AA3-DD35E3C96378}"/>
              </a:ext>
            </a:extLst>
          </p:cNvPr>
          <p:cNvSpPr>
            <a:spLocks noChangeArrowheads="1"/>
          </p:cNvSpPr>
          <p:nvPr/>
        </p:nvSpPr>
        <p:spPr bwMode="auto">
          <a:xfrm>
            <a:off x="9885014" y="1864343"/>
            <a:ext cx="1005034" cy="954336"/>
          </a:xfrm>
          <a:custGeom>
            <a:avLst/>
            <a:gdLst>
              <a:gd name="T0" fmla="*/ 1487 w 1488"/>
              <a:gd name="T1" fmla="*/ 1408 h 1409"/>
              <a:gd name="T2" fmla="*/ 0 w 1488"/>
              <a:gd name="T3" fmla="*/ 1408 h 1409"/>
              <a:gd name="T4" fmla="*/ 0 w 1488"/>
              <a:gd name="T5" fmla="*/ 0 h 1409"/>
              <a:gd name="T6" fmla="*/ 1487 w 1488"/>
              <a:gd name="T7" fmla="*/ 0 h 1409"/>
              <a:gd name="T8" fmla="*/ 1487 w 1488"/>
              <a:gd name="T9" fmla="*/ 1408 h 1409"/>
            </a:gdLst>
            <a:ahLst/>
            <a:cxnLst>
              <a:cxn ang="0">
                <a:pos x="T0" y="T1"/>
              </a:cxn>
              <a:cxn ang="0">
                <a:pos x="T2" y="T3"/>
              </a:cxn>
              <a:cxn ang="0">
                <a:pos x="T4" y="T5"/>
              </a:cxn>
              <a:cxn ang="0">
                <a:pos x="T6" y="T7"/>
              </a:cxn>
              <a:cxn ang="0">
                <a:pos x="T8" y="T9"/>
              </a:cxn>
            </a:cxnLst>
            <a:rect l="0" t="0" r="r" b="b"/>
            <a:pathLst>
              <a:path w="1488" h="1409">
                <a:moveTo>
                  <a:pt x="1487" y="1408"/>
                </a:moveTo>
                <a:lnTo>
                  <a:pt x="0" y="1408"/>
                </a:lnTo>
                <a:lnTo>
                  <a:pt x="0" y="0"/>
                </a:lnTo>
                <a:lnTo>
                  <a:pt x="1487" y="0"/>
                </a:lnTo>
                <a:lnTo>
                  <a:pt x="1487" y="1408"/>
                </a:lnTo>
              </a:path>
            </a:pathLst>
          </a:custGeom>
          <a:solidFill>
            <a:schemeClr val="bg1">
              <a:lumMod val="95000"/>
            </a:schemeClr>
          </a:solidFill>
          <a:effectLst/>
        </p:spPr>
        <p:txBody>
          <a:bodyPr vert="vert270" lIns="108000" tIns="72000" rIns="72000" bIns="72000" anchor="ctr"/>
          <a:lstStyle/>
          <a:p>
            <a:pPr algn="ctr"/>
            <a:endParaRPr lang="en-US" sz="1200" b="1" dirty="0">
              <a:latin typeface="Verdana" panose="020B0604030504040204" pitchFamily="34" charset="0"/>
              <a:ea typeface="Verdana" panose="020B0604030504040204" pitchFamily="34" charset="0"/>
              <a:cs typeface="Verdana" panose="020B0604030504040204" pitchFamily="34" charset="0"/>
            </a:endParaRPr>
          </a:p>
        </p:txBody>
      </p:sp>
      <p:sp>
        <p:nvSpPr>
          <p:cNvPr id="71" name="Freeform 92">
            <a:extLst>
              <a:ext uri="{FF2B5EF4-FFF2-40B4-BE49-F238E27FC236}">
                <a16:creationId xmlns:a16="http://schemas.microsoft.com/office/drawing/2014/main" id="{B4878059-CF98-79FF-A317-3076104EB74E}"/>
              </a:ext>
            </a:extLst>
          </p:cNvPr>
          <p:cNvSpPr>
            <a:spLocks noChangeArrowheads="1"/>
          </p:cNvSpPr>
          <p:nvPr/>
        </p:nvSpPr>
        <p:spPr bwMode="auto">
          <a:xfrm>
            <a:off x="10065837" y="2022404"/>
            <a:ext cx="648608" cy="634555"/>
          </a:xfrm>
          <a:custGeom>
            <a:avLst/>
            <a:gdLst>
              <a:gd name="connsiteX0" fmla="*/ 901614 w 1194660"/>
              <a:gd name="connsiteY0" fmla="*/ 856915 h 1168776"/>
              <a:gd name="connsiteX1" fmla="*/ 918094 w 1194660"/>
              <a:gd name="connsiteY1" fmla="*/ 871949 h 1168776"/>
              <a:gd name="connsiteX2" fmla="*/ 918094 w 1194660"/>
              <a:gd name="connsiteY2" fmla="*/ 1126268 h 1168776"/>
              <a:gd name="connsiteX3" fmla="*/ 901614 w 1194660"/>
              <a:gd name="connsiteY3" fmla="*/ 1141301 h 1168776"/>
              <a:gd name="connsiteX4" fmla="*/ 886402 w 1194660"/>
              <a:gd name="connsiteY4" fmla="*/ 1126268 h 1168776"/>
              <a:gd name="connsiteX5" fmla="*/ 886402 w 1194660"/>
              <a:gd name="connsiteY5" fmla="*/ 871949 h 1168776"/>
              <a:gd name="connsiteX6" fmla="*/ 901614 w 1194660"/>
              <a:gd name="connsiteY6" fmla="*/ 856915 h 1168776"/>
              <a:gd name="connsiteX7" fmla="*/ 287660 w 1194660"/>
              <a:gd name="connsiteY7" fmla="*/ 856915 h 1168776"/>
              <a:gd name="connsiteX8" fmla="*/ 302872 w 1194660"/>
              <a:gd name="connsiteY8" fmla="*/ 871949 h 1168776"/>
              <a:gd name="connsiteX9" fmla="*/ 302872 w 1194660"/>
              <a:gd name="connsiteY9" fmla="*/ 1126268 h 1168776"/>
              <a:gd name="connsiteX10" fmla="*/ 287660 w 1194660"/>
              <a:gd name="connsiteY10" fmla="*/ 1141301 h 1168776"/>
              <a:gd name="connsiteX11" fmla="*/ 271180 w 1194660"/>
              <a:gd name="connsiteY11" fmla="*/ 1126268 h 1168776"/>
              <a:gd name="connsiteX12" fmla="*/ 271180 w 1194660"/>
              <a:gd name="connsiteY12" fmla="*/ 871949 h 1168776"/>
              <a:gd name="connsiteX13" fmla="*/ 287660 w 1194660"/>
              <a:gd name="connsiteY13" fmla="*/ 856915 h 1168776"/>
              <a:gd name="connsiteX14" fmla="*/ 594612 w 1194660"/>
              <a:gd name="connsiteY14" fmla="*/ 752548 h 1168776"/>
              <a:gd name="connsiteX15" fmla="*/ 610432 w 1194660"/>
              <a:gd name="connsiteY15" fmla="*/ 767507 h 1168776"/>
              <a:gd name="connsiteX16" fmla="*/ 610432 w 1194660"/>
              <a:gd name="connsiteY16" fmla="*/ 1087896 h 1168776"/>
              <a:gd name="connsiteX17" fmla="*/ 594612 w 1194660"/>
              <a:gd name="connsiteY17" fmla="*/ 1102856 h 1168776"/>
              <a:gd name="connsiteX18" fmla="*/ 578792 w 1194660"/>
              <a:gd name="connsiteY18" fmla="*/ 1087896 h 1168776"/>
              <a:gd name="connsiteX19" fmla="*/ 578792 w 1194660"/>
              <a:gd name="connsiteY19" fmla="*/ 767507 h 1168776"/>
              <a:gd name="connsiteX20" fmla="*/ 594612 w 1194660"/>
              <a:gd name="connsiteY20" fmla="*/ 752548 h 1168776"/>
              <a:gd name="connsiteX21" fmla="*/ 450596 w 1194660"/>
              <a:gd name="connsiteY21" fmla="*/ 324092 h 1168776"/>
              <a:gd name="connsiteX22" fmla="*/ 699402 w 1194660"/>
              <a:gd name="connsiteY22" fmla="*/ 324092 h 1168776"/>
              <a:gd name="connsiteX23" fmla="*/ 700646 w 1194660"/>
              <a:gd name="connsiteY23" fmla="*/ 324092 h 1168776"/>
              <a:gd name="connsiteX24" fmla="*/ 741698 w 1194660"/>
              <a:gd name="connsiteY24" fmla="*/ 324092 h 1168776"/>
              <a:gd name="connsiteX25" fmla="*/ 851174 w 1194660"/>
              <a:gd name="connsiteY25" fmla="*/ 428743 h 1168776"/>
              <a:gd name="connsiteX26" fmla="*/ 1009164 w 1194660"/>
              <a:gd name="connsiteY26" fmla="*/ 428743 h 1168776"/>
              <a:gd name="connsiteX27" fmla="*/ 1051462 w 1194660"/>
              <a:gd name="connsiteY27" fmla="*/ 428743 h 1168776"/>
              <a:gd name="connsiteX28" fmla="*/ 1165912 w 1194660"/>
              <a:gd name="connsiteY28" fmla="*/ 549590 h 1168776"/>
              <a:gd name="connsiteX29" fmla="*/ 1193280 w 1194660"/>
              <a:gd name="connsiteY29" fmla="*/ 674175 h 1168776"/>
              <a:gd name="connsiteX30" fmla="*/ 1170888 w 1194660"/>
              <a:gd name="connsiteY30" fmla="*/ 742696 h 1168776"/>
              <a:gd name="connsiteX31" fmla="*/ 1067634 w 1194660"/>
              <a:gd name="connsiteY31" fmla="*/ 838627 h 1168776"/>
              <a:gd name="connsiteX32" fmla="*/ 1067634 w 1194660"/>
              <a:gd name="connsiteY32" fmla="*/ 1153826 h 1168776"/>
              <a:gd name="connsiteX33" fmla="*/ 1052706 w 1194660"/>
              <a:gd name="connsiteY33" fmla="*/ 1168776 h 1168776"/>
              <a:gd name="connsiteX34" fmla="*/ 1036534 w 1194660"/>
              <a:gd name="connsiteY34" fmla="*/ 1153826 h 1168776"/>
              <a:gd name="connsiteX35" fmla="*/ 1036534 w 1194660"/>
              <a:gd name="connsiteY35" fmla="*/ 535886 h 1168776"/>
              <a:gd name="connsiteX36" fmla="*/ 1052706 w 1194660"/>
              <a:gd name="connsiteY36" fmla="*/ 520936 h 1168776"/>
              <a:gd name="connsiteX37" fmla="*/ 1067634 w 1194660"/>
              <a:gd name="connsiteY37" fmla="*/ 535886 h 1168776"/>
              <a:gd name="connsiteX38" fmla="*/ 1067634 w 1194660"/>
              <a:gd name="connsiteY38" fmla="*/ 635553 h 1168776"/>
              <a:gd name="connsiteX39" fmla="*/ 1082562 w 1194660"/>
              <a:gd name="connsiteY39" fmla="*/ 620603 h 1168776"/>
              <a:gd name="connsiteX40" fmla="*/ 1103710 w 1194660"/>
              <a:gd name="connsiteY40" fmla="*/ 620603 h 1168776"/>
              <a:gd name="connsiteX41" fmla="*/ 1103710 w 1194660"/>
              <a:gd name="connsiteY41" fmla="*/ 641783 h 1168776"/>
              <a:gd name="connsiteX42" fmla="*/ 1067634 w 1194660"/>
              <a:gd name="connsiteY42" fmla="*/ 679158 h 1168776"/>
              <a:gd name="connsiteX43" fmla="*/ 1067634 w 1194660"/>
              <a:gd name="connsiteY43" fmla="*/ 797514 h 1168776"/>
              <a:gd name="connsiteX44" fmla="*/ 1150984 w 1194660"/>
              <a:gd name="connsiteY44" fmla="*/ 720271 h 1168776"/>
              <a:gd name="connsiteX45" fmla="*/ 1163424 w 1194660"/>
              <a:gd name="connsiteY45" fmla="*/ 680404 h 1168776"/>
              <a:gd name="connsiteX46" fmla="*/ 1136056 w 1194660"/>
              <a:gd name="connsiteY46" fmla="*/ 557065 h 1168776"/>
              <a:gd name="connsiteX47" fmla="*/ 1051462 w 1194660"/>
              <a:gd name="connsiteY47" fmla="*/ 458643 h 1168776"/>
              <a:gd name="connsiteX48" fmla="*/ 1009164 w 1194660"/>
              <a:gd name="connsiteY48" fmla="*/ 458643 h 1168776"/>
              <a:gd name="connsiteX49" fmla="*/ 858638 w 1194660"/>
              <a:gd name="connsiteY49" fmla="*/ 458643 h 1168776"/>
              <a:gd name="connsiteX50" fmla="*/ 883518 w 1194660"/>
              <a:gd name="connsiteY50" fmla="*/ 569524 h 1168776"/>
              <a:gd name="connsiteX51" fmla="*/ 862370 w 1194660"/>
              <a:gd name="connsiteY51" fmla="*/ 638045 h 1168776"/>
              <a:gd name="connsiteX52" fmla="*/ 757872 w 1194660"/>
              <a:gd name="connsiteY52" fmla="*/ 735221 h 1168776"/>
              <a:gd name="connsiteX53" fmla="*/ 757872 w 1194660"/>
              <a:gd name="connsiteY53" fmla="*/ 1089042 h 1168776"/>
              <a:gd name="connsiteX54" fmla="*/ 742942 w 1194660"/>
              <a:gd name="connsiteY54" fmla="*/ 1103992 h 1168776"/>
              <a:gd name="connsiteX55" fmla="*/ 726770 w 1194660"/>
              <a:gd name="connsiteY55" fmla="*/ 1089042 h 1168776"/>
              <a:gd name="connsiteX56" fmla="*/ 726770 w 1194660"/>
              <a:gd name="connsiteY56" fmla="*/ 432480 h 1168776"/>
              <a:gd name="connsiteX57" fmla="*/ 742942 w 1194660"/>
              <a:gd name="connsiteY57" fmla="*/ 417530 h 1168776"/>
              <a:gd name="connsiteX58" fmla="*/ 757872 w 1194660"/>
              <a:gd name="connsiteY58" fmla="*/ 432480 h 1168776"/>
              <a:gd name="connsiteX59" fmla="*/ 757872 w 1194660"/>
              <a:gd name="connsiteY59" fmla="*/ 530902 h 1168776"/>
              <a:gd name="connsiteX60" fmla="*/ 774044 w 1194660"/>
              <a:gd name="connsiteY60" fmla="*/ 515952 h 1168776"/>
              <a:gd name="connsiteX61" fmla="*/ 795192 w 1194660"/>
              <a:gd name="connsiteY61" fmla="*/ 515952 h 1168776"/>
              <a:gd name="connsiteX62" fmla="*/ 795192 w 1194660"/>
              <a:gd name="connsiteY62" fmla="*/ 537132 h 1168776"/>
              <a:gd name="connsiteX63" fmla="*/ 757872 w 1194660"/>
              <a:gd name="connsiteY63" fmla="*/ 574507 h 1168776"/>
              <a:gd name="connsiteX64" fmla="*/ 757872 w 1194660"/>
              <a:gd name="connsiteY64" fmla="*/ 692862 h 1168776"/>
              <a:gd name="connsiteX65" fmla="*/ 841220 w 1194660"/>
              <a:gd name="connsiteY65" fmla="*/ 615620 h 1168776"/>
              <a:gd name="connsiteX66" fmla="*/ 853662 w 1194660"/>
              <a:gd name="connsiteY66" fmla="*/ 576999 h 1168776"/>
              <a:gd name="connsiteX67" fmla="*/ 826292 w 1194660"/>
              <a:gd name="connsiteY67" fmla="*/ 453660 h 1168776"/>
              <a:gd name="connsiteX68" fmla="*/ 741698 w 1194660"/>
              <a:gd name="connsiteY68" fmla="*/ 353992 h 1168776"/>
              <a:gd name="connsiteX69" fmla="*/ 700646 w 1194660"/>
              <a:gd name="connsiteY69" fmla="*/ 353992 h 1168776"/>
              <a:gd name="connsiteX70" fmla="*/ 699402 w 1194660"/>
              <a:gd name="connsiteY70" fmla="*/ 353992 h 1168776"/>
              <a:gd name="connsiteX71" fmla="*/ 450596 w 1194660"/>
              <a:gd name="connsiteY71" fmla="*/ 353992 h 1168776"/>
              <a:gd name="connsiteX72" fmla="*/ 366002 w 1194660"/>
              <a:gd name="connsiteY72" fmla="*/ 454906 h 1168776"/>
              <a:gd name="connsiteX73" fmla="*/ 338634 w 1194660"/>
              <a:gd name="connsiteY73" fmla="*/ 576999 h 1168776"/>
              <a:gd name="connsiteX74" fmla="*/ 351074 w 1194660"/>
              <a:gd name="connsiteY74" fmla="*/ 615620 h 1168776"/>
              <a:gd name="connsiteX75" fmla="*/ 434424 w 1194660"/>
              <a:gd name="connsiteY75" fmla="*/ 692862 h 1168776"/>
              <a:gd name="connsiteX76" fmla="*/ 434424 w 1194660"/>
              <a:gd name="connsiteY76" fmla="*/ 575753 h 1168776"/>
              <a:gd name="connsiteX77" fmla="*/ 395858 w 1194660"/>
              <a:gd name="connsiteY77" fmla="*/ 537132 h 1168776"/>
              <a:gd name="connsiteX78" fmla="*/ 395858 w 1194660"/>
              <a:gd name="connsiteY78" fmla="*/ 515952 h 1168776"/>
              <a:gd name="connsiteX79" fmla="*/ 417008 w 1194660"/>
              <a:gd name="connsiteY79" fmla="*/ 515952 h 1168776"/>
              <a:gd name="connsiteX80" fmla="*/ 434424 w 1194660"/>
              <a:gd name="connsiteY80" fmla="*/ 532148 h 1168776"/>
              <a:gd name="connsiteX81" fmla="*/ 434424 w 1194660"/>
              <a:gd name="connsiteY81" fmla="*/ 432480 h 1168776"/>
              <a:gd name="connsiteX82" fmla="*/ 449352 w 1194660"/>
              <a:gd name="connsiteY82" fmla="*/ 417530 h 1168776"/>
              <a:gd name="connsiteX83" fmla="*/ 465524 w 1194660"/>
              <a:gd name="connsiteY83" fmla="*/ 432480 h 1168776"/>
              <a:gd name="connsiteX84" fmla="*/ 465524 w 1194660"/>
              <a:gd name="connsiteY84" fmla="*/ 1089042 h 1168776"/>
              <a:gd name="connsiteX85" fmla="*/ 449352 w 1194660"/>
              <a:gd name="connsiteY85" fmla="*/ 1103992 h 1168776"/>
              <a:gd name="connsiteX86" fmla="*/ 434424 w 1194660"/>
              <a:gd name="connsiteY86" fmla="*/ 1089042 h 1168776"/>
              <a:gd name="connsiteX87" fmla="*/ 434424 w 1194660"/>
              <a:gd name="connsiteY87" fmla="*/ 735221 h 1168776"/>
              <a:gd name="connsiteX88" fmla="*/ 331170 w 1194660"/>
              <a:gd name="connsiteY88" fmla="*/ 638045 h 1168776"/>
              <a:gd name="connsiteX89" fmla="*/ 308776 w 1194660"/>
              <a:gd name="connsiteY89" fmla="*/ 569524 h 1168776"/>
              <a:gd name="connsiteX90" fmla="*/ 333658 w 1194660"/>
              <a:gd name="connsiteY90" fmla="*/ 458643 h 1168776"/>
              <a:gd name="connsiteX91" fmla="*/ 185618 w 1194660"/>
              <a:gd name="connsiteY91" fmla="*/ 458643 h 1168776"/>
              <a:gd name="connsiteX92" fmla="*/ 184374 w 1194660"/>
              <a:gd name="connsiteY92" fmla="*/ 458643 h 1168776"/>
              <a:gd name="connsiteX93" fmla="*/ 143322 w 1194660"/>
              <a:gd name="connsiteY93" fmla="*/ 458643 h 1168776"/>
              <a:gd name="connsiteX94" fmla="*/ 58728 w 1194660"/>
              <a:gd name="connsiteY94" fmla="*/ 558311 h 1168776"/>
              <a:gd name="connsiteX95" fmla="*/ 31358 w 1194660"/>
              <a:gd name="connsiteY95" fmla="*/ 680404 h 1168776"/>
              <a:gd name="connsiteX96" fmla="*/ 43800 w 1194660"/>
              <a:gd name="connsiteY96" fmla="*/ 720271 h 1168776"/>
              <a:gd name="connsiteX97" fmla="*/ 127148 w 1194660"/>
              <a:gd name="connsiteY97" fmla="*/ 797514 h 1168776"/>
              <a:gd name="connsiteX98" fmla="*/ 127148 w 1194660"/>
              <a:gd name="connsiteY98" fmla="*/ 679158 h 1168776"/>
              <a:gd name="connsiteX99" fmla="*/ 89828 w 1194660"/>
              <a:gd name="connsiteY99" fmla="*/ 641783 h 1168776"/>
              <a:gd name="connsiteX100" fmla="*/ 89828 w 1194660"/>
              <a:gd name="connsiteY100" fmla="*/ 620603 h 1168776"/>
              <a:gd name="connsiteX101" fmla="*/ 110976 w 1194660"/>
              <a:gd name="connsiteY101" fmla="*/ 620603 h 1168776"/>
              <a:gd name="connsiteX102" fmla="*/ 127148 w 1194660"/>
              <a:gd name="connsiteY102" fmla="*/ 635553 h 1168776"/>
              <a:gd name="connsiteX103" fmla="*/ 127148 w 1194660"/>
              <a:gd name="connsiteY103" fmla="*/ 535886 h 1168776"/>
              <a:gd name="connsiteX104" fmla="*/ 142078 w 1194660"/>
              <a:gd name="connsiteY104" fmla="*/ 520936 h 1168776"/>
              <a:gd name="connsiteX105" fmla="*/ 157006 w 1194660"/>
              <a:gd name="connsiteY105" fmla="*/ 535886 h 1168776"/>
              <a:gd name="connsiteX106" fmla="*/ 157006 w 1194660"/>
              <a:gd name="connsiteY106" fmla="*/ 1153826 h 1168776"/>
              <a:gd name="connsiteX107" fmla="*/ 142078 w 1194660"/>
              <a:gd name="connsiteY107" fmla="*/ 1168776 h 1168776"/>
              <a:gd name="connsiteX108" fmla="*/ 127148 w 1194660"/>
              <a:gd name="connsiteY108" fmla="*/ 1153826 h 1168776"/>
              <a:gd name="connsiteX109" fmla="*/ 127148 w 1194660"/>
              <a:gd name="connsiteY109" fmla="*/ 838627 h 1168776"/>
              <a:gd name="connsiteX110" fmla="*/ 22650 w 1194660"/>
              <a:gd name="connsiteY110" fmla="*/ 742696 h 1168776"/>
              <a:gd name="connsiteX111" fmla="*/ 1502 w 1194660"/>
              <a:gd name="connsiteY111" fmla="*/ 674175 h 1168776"/>
              <a:gd name="connsiteX112" fmla="*/ 28870 w 1194660"/>
              <a:gd name="connsiteY112" fmla="*/ 550836 h 1168776"/>
              <a:gd name="connsiteX113" fmla="*/ 143322 w 1194660"/>
              <a:gd name="connsiteY113" fmla="*/ 428743 h 1168776"/>
              <a:gd name="connsiteX114" fmla="*/ 184374 w 1194660"/>
              <a:gd name="connsiteY114" fmla="*/ 428743 h 1168776"/>
              <a:gd name="connsiteX115" fmla="*/ 185618 w 1194660"/>
              <a:gd name="connsiteY115" fmla="*/ 428743 h 1168776"/>
              <a:gd name="connsiteX116" fmla="*/ 342366 w 1194660"/>
              <a:gd name="connsiteY116" fmla="*/ 428743 h 1168776"/>
              <a:gd name="connsiteX117" fmla="*/ 450596 w 1194660"/>
              <a:gd name="connsiteY117" fmla="*/ 324092 h 1168776"/>
              <a:gd name="connsiteX118" fmla="*/ 901632 w 1194660"/>
              <a:gd name="connsiteY118" fmla="*/ 130318 h 1168776"/>
              <a:gd name="connsiteX119" fmla="*/ 800892 w 1194660"/>
              <a:gd name="connsiteY119" fmla="*/ 233455 h 1168776"/>
              <a:gd name="connsiteX120" fmla="*/ 901632 w 1194660"/>
              <a:gd name="connsiteY120" fmla="*/ 335334 h 1168776"/>
              <a:gd name="connsiteX121" fmla="*/ 1003616 w 1194660"/>
              <a:gd name="connsiteY121" fmla="*/ 233455 h 1168776"/>
              <a:gd name="connsiteX122" fmla="*/ 901632 w 1194660"/>
              <a:gd name="connsiteY122" fmla="*/ 130318 h 1168776"/>
              <a:gd name="connsiteX123" fmla="*/ 287036 w 1194660"/>
              <a:gd name="connsiteY123" fmla="*/ 130318 h 1168776"/>
              <a:gd name="connsiteX124" fmla="*/ 185530 w 1194660"/>
              <a:gd name="connsiteY124" fmla="*/ 233455 h 1168776"/>
              <a:gd name="connsiteX125" fmla="*/ 287036 w 1194660"/>
              <a:gd name="connsiteY125" fmla="*/ 335334 h 1168776"/>
              <a:gd name="connsiteX126" fmla="*/ 388542 w 1194660"/>
              <a:gd name="connsiteY126" fmla="*/ 233455 h 1168776"/>
              <a:gd name="connsiteX127" fmla="*/ 287036 w 1194660"/>
              <a:gd name="connsiteY127" fmla="*/ 130318 h 1168776"/>
              <a:gd name="connsiteX128" fmla="*/ 901632 w 1194660"/>
              <a:gd name="connsiteY128" fmla="*/ 98874 h 1168776"/>
              <a:gd name="connsiteX129" fmla="*/ 1033466 w 1194660"/>
              <a:gd name="connsiteY129" fmla="*/ 233455 h 1168776"/>
              <a:gd name="connsiteX130" fmla="*/ 901632 w 1194660"/>
              <a:gd name="connsiteY130" fmla="*/ 366778 h 1168776"/>
              <a:gd name="connsiteX131" fmla="*/ 771042 w 1194660"/>
              <a:gd name="connsiteY131" fmla="*/ 233455 h 1168776"/>
              <a:gd name="connsiteX132" fmla="*/ 901632 w 1194660"/>
              <a:gd name="connsiteY132" fmla="*/ 98874 h 1168776"/>
              <a:gd name="connsiteX133" fmla="*/ 287036 w 1194660"/>
              <a:gd name="connsiteY133" fmla="*/ 98874 h 1168776"/>
              <a:gd name="connsiteX134" fmla="*/ 418250 w 1194660"/>
              <a:gd name="connsiteY134" fmla="*/ 233455 h 1168776"/>
              <a:gd name="connsiteX135" fmla="*/ 287036 w 1194660"/>
              <a:gd name="connsiteY135" fmla="*/ 366778 h 1168776"/>
              <a:gd name="connsiteX136" fmla="*/ 155820 w 1194660"/>
              <a:gd name="connsiteY136" fmla="*/ 233455 h 1168776"/>
              <a:gd name="connsiteX137" fmla="*/ 287036 w 1194660"/>
              <a:gd name="connsiteY137" fmla="*/ 98874 h 1168776"/>
              <a:gd name="connsiteX138" fmla="*/ 594646 w 1194660"/>
              <a:gd name="connsiteY138" fmla="*/ 30947 h 1168776"/>
              <a:gd name="connsiteX139" fmla="*/ 493140 w 1194660"/>
              <a:gd name="connsiteY139" fmla="*/ 131214 h 1168776"/>
              <a:gd name="connsiteX140" fmla="*/ 594646 w 1194660"/>
              <a:gd name="connsiteY140" fmla="*/ 231482 h 1168776"/>
              <a:gd name="connsiteX141" fmla="*/ 694914 w 1194660"/>
              <a:gd name="connsiteY141" fmla="*/ 131214 h 1168776"/>
              <a:gd name="connsiteX142" fmla="*/ 594646 w 1194660"/>
              <a:gd name="connsiteY142" fmla="*/ 30947 h 1168776"/>
              <a:gd name="connsiteX143" fmla="*/ 594646 w 1194660"/>
              <a:gd name="connsiteY143" fmla="*/ 0 h 1168776"/>
              <a:gd name="connsiteX144" fmla="*/ 725862 w 1194660"/>
              <a:gd name="connsiteY144" fmla="*/ 131214 h 1168776"/>
              <a:gd name="connsiteX145" fmla="*/ 594646 w 1194660"/>
              <a:gd name="connsiteY145" fmla="*/ 262429 h 1168776"/>
              <a:gd name="connsiteX146" fmla="*/ 463432 w 1194660"/>
              <a:gd name="connsiteY146" fmla="*/ 131214 h 1168776"/>
              <a:gd name="connsiteX147" fmla="*/ 594646 w 1194660"/>
              <a:gd name="connsiteY147" fmla="*/ 0 h 116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194660" h="1168776">
                <a:moveTo>
                  <a:pt x="901614" y="856915"/>
                </a:moveTo>
                <a:cubicBezTo>
                  <a:pt x="910488" y="856915"/>
                  <a:pt x="918094" y="863179"/>
                  <a:pt x="918094" y="871949"/>
                </a:cubicBezTo>
                <a:lnTo>
                  <a:pt x="918094" y="1126268"/>
                </a:lnTo>
                <a:cubicBezTo>
                  <a:pt x="918094" y="1135037"/>
                  <a:pt x="910488" y="1141301"/>
                  <a:pt x="901614" y="1141301"/>
                </a:cubicBezTo>
                <a:cubicBezTo>
                  <a:pt x="894008" y="1141301"/>
                  <a:pt x="886402" y="1135037"/>
                  <a:pt x="886402" y="1126268"/>
                </a:cubicBezTo>
                <a:lnTo>
                  <a:pt x="886402" y="871949"/>
                </a:lnTo>
                <a:cubicBezTo>
                  <a:pt x="886402" y="863179"/>
                  <a:pt x="894008" y="856915"/>
                  <a:pt x="901614" y="856915"/>
                </a:cubicBezTo>
                <a:close/>
                <a:moveTo>
                  <a:pt x="287660" y="856915"/>
                </a:moveTo>
                <a:cubicBezTo>
                  <a:pt x="296534" y="856915"/>
                  <a:pt x="302872" y="863179"/>
                  <a:pt x="302872" y="871949"/>
                </a:cubicBezTo>
                <a:lnTo>
                  <a:pt x="302872" y="1126268"/>
                </a:lnTo>
                <a:cubicBezTo>
                  <a:pt x="302872" y="1135037"/>
                  <a:pt x="296534" y="1141301"/>
                  <a:pt x="287660" y="1141301"/>
                </a:cubicBezTo>
                <a:cubicBezTo>
                  <a:pt x="278786" y="1141301"/>
                  <a:pt x="271180" y="1135037"/>
                  <a:pt x="271180" y="1126268"/>
                </a:cubicBezTo>
                <a:lnTo>
                  <a:pt x="271180" y="871949"/>
                </a:lnTo>
                <a:cubicBezTo>
                  <a:pt x="271180" y="863179"/>
                  <a:pt x="278786" y="856915"/>
                  <a:pt x="287660" y="856915"/>
                </a:cubicBezTo>
                <a:close/>
                <a:moveTo>
                  <a:pt x="594612" y="752548"/>
                </a:moveTo>
                <a:cubicBezTo>
                  <a:pt x="603840" y="752548"/>
                  <a:pt x="610432" y="758781"/>
                  <a:pt x="610432" y="767507"/>
                </a:cubicBezTo>
                <a:lnTo>
                  <a:pt x="610432" y="1087896"/>
                </a:lnTo>
                <a:cubicBezTo>
                  <a:pt x="610432" y="1095376"/>
                  <a:pt x="603840" y="1102856"/>
                  <a:pt x="594612" y="1102856"/>
                </a:cubicBezTo>
                <a:cubicBezTo>
                  <a:pt x="585382" y="1102856"/>
                  <a:pt x="578792" y="1095376"/>
                  <a:pt x="578792" y="1087896"/>
                </a:cubicBezTo>
                <a:lnTo>
                  <a:pt x="578792" y="767507"/>
                </a:lnTo>
                <a:cubicBezTo>
                  <a:pt x="578792" y="758781"/>
                  <a:pt x="585382" y="752548"/>
                  <a:pt x="594612" y="752548"/>
                </a:cubicBezTo>
                <a:close/>
                <a:moveTo>
                  <a:pt x="450596" y="324092"/>
                </a:moveTo>
                <a:lnTo>
                  <a:pt x="699402" y="324092"/>
                </a:lnTo>
                <a:lnTo>
                  <a:pt x="700646" y="324092"/>
                </a:lnTo>
                <a:lnTo>
                  <a:pt x="741698" y="324092"/>
                </a:lnTo>
                <a:cubicBezTo>
                  <a:pt x="802656" y="324092"/>
                  <a:pt x="825048" y="342779"/>
                  <a:pt x="851174" y="428743"/>
                </a:cubicBezTo>
                <a:lnTo>
                  <a:pt x="1009164" y="428743"/>
                </a:lnTo>
                <a:lnTo>
                  <a:pt x="1051462" y="428743"/>
                </a:lnTo>
                <a:cubicBezTo>
                  <a:pt x="1117396" y="428743"/>
                  <a:pt x="1137300" y="449922"/>
                  <a:pt x="1165912" y="549590"/>
                </a:cubicBezTo>
                <a:lnTo>
                  <a:pt x="1193280" y="674175"/>
                </a:lnTo>
                <a:cubicBezTo>
                  <a:pt x="1198256" y="699092"/>
                  <a:pt x="1189548" y="725254"/>
                  <a:pt x="1170888" y="742696"/>
                </a:cubicBezTo>
                <a:lnTo>
                  <a:pt x="1067634" y="838627"/>
                </a:lnTo>
                <a:lnTo>
                  <a:pt x="1067634" y="1153826"/>
                </a:lnTo>
                <a:cubicBezTo>
                  <a:pt x="1067634" y="1162547"/>
                  <a:pt x="1060170" y="1168776"/>
                  <a:pt x="1052706" y="1168776"/>
                </a:cubicBezTo>
                <a:cubicBezTo>
                  <a:pt x="1043998" y="1168776"/>
                  <a:pt x="1036534" y="1162547"/>
                  <a:pt x="1036534" y="1153826"/>
                </a:cubicBezTo>
                <a:lnTo>
                  <a:pt x="1036534" y="535886"/>
                </a:lnTo>
                <a:cubicBezTo>
                  <a:pt x="1036534" y="528411"/>
                  <a:pt x="1043998" y="520936"/>
                  <a:pt x="1052706" y="520936"/>
                </a:cubicBezTo>
                <a:cubicBezTo>
                  <a:pt x="1060170" y="520936"/>
                  <a:pt x="1067634" y="528411"/>
                  <a:pt x="1067634" y="535886"/>
                </a:cubicBezTo>
                <a:lnTo>
                  <a:pt x="1067634" y="635553"/>
                </a:lnTo>
                <a:lnTo>
                  <a:pt x="1082562" y="620603"/>
                </a:lnTo>
                <a:cubicBezTo>
                  <a:pt x="1088782" y="614374"/>
                  <a:pt x="1098734" y="614374"/>
                  <a:pt x="1103710" y="620603"/>
                </a:cubicBezTo>
                <a:cubicBezTo>
                  <a:pt x="1109932" y="626833"/>
                  <a:pt x="1109932" y="635553"/>
                  <a:pt x="1103710" y="641783"/>
                </a:cubicBezTo>
                <a:lnTo>
                  <a:pt x="1067634" y="679158"/>
                </a:lnTo>
                <a:lnTo>
                  <a:pt x="1067634" y="797514"/>
                </a:lnTo>
                <a:lnTo>
                  <a:pt x="1150984" y="720271"/>
                </a:lnTo>
                <a:cubicBezTo>
                  <a:pt x="1160936" y="710304"/>
                  <a:pt x="1165912" y="694108"/>
                  <a:pt x="1163424" y="680404"/>
                </a:cubicBezTo>
                <a:lnTo>
                  <a:pt x="1136056" y="557065"/>
                </a:lnTo>
                <a:cubicBezTo>
                  <a:pt x="1108688" y="462381"/>
                  <a:pt x="1096246" y="458643"/>
                  <a:pt x="1051462" y="458643"/>
                </a:cubicBezTo>
                <a:lnTo>
                  <a:pt x="1009164" y="458643"/>
                </a:lnTo>
                <a:lnTo>
                  <a:pt x="858638" y="458643"/>
                </a:lnTo>
                <a:lnTo>
                  <a:pt x="883518" y="569524"/>
                </a:lnTo>
                <a:cubicBezTo>
                  <a:pt x="888494" y="594441"/>
                  <a:pt x="881030" y="621849"/>
                  <a:pt x="862370" y="638045"/>
                </a:cubicBezTo>
                <a:lnTo>
                  <a:pt x="757872" y="735221"/>
                </a:lnTo>
                <a:lnTo>
                  <a:pt x="757872" y="1089042"/>
                </a:lnTo>
                <a:cubicBezTo>
                  <a:pt x="757872" y="1097763"/>
                  <a:pt x="750406" y="1103992"/>
                  <a:pt x="742942" y="1103992"/>
                </a:cubicBezTo>
                <a:cubicBezTo>
                  <a:pt x="734234" y="1103992"/>
                  <a:pt x="726770" y="1097763"/>
                  <a:pt x="726770" y="1089042"/>
                </a:cubicBezTo>
                <a:lnTo>
                  <a:pt x="726770" y="432480"/>
                </a:lnTo>
                <a:cubicBezTo>
                  <a:pt x="726770" y="423760"/>
                  <a:pt x="734234" y="417530"/>
                  <a:pt x="742942" y="417530"/>
                </a:cubicBezTo>
                <a:cubicBezTo>
                  <a:pt x="750406" y="417530"/>
                  <a:pt x="757872" y="423760"/>
                  <a:pt x="757872" y="432480"/>
                </a:cubicBezTo>
                <a:lnTo>
                  <a:pt x="757872" y="530902"/>
                </a:lnTo>
                <a:lnTo>
                  <a:pt x="774044" y="515952"/>
                </a:lnTo>
                <a:cubicBezTo>
                  <a:pt x="779020" y="509723"/>
                  <a:pt x="788972" y="509723"/>
                  <a:pt x="795192" y="515952"/>
                </a:cubicBezTo>
                <a:cubicBezTo>
                  <a:pt x="801412" y="522181"/>
                  <a:pt x="801412" y="532148"/>
                  <a:pt x="795192" y="537132"/>
                </a:cubicBezTo>
                <a:lnTo>
                  <a:pt x="757872" y="574507"/>
                </a:lnTo>
                <a:lnTo>
                  <a:pt x="757872" y="692862"/>
                </a:lnTo>
                <a:lnTo>
                  <a:pt x="841220" y="615620"/>
                </a:lnTo>
                <a:cubicBezTo>
                  <a:pt x="852418" y="606899"/>
                  <a:pt x="857394" y="590703"/>
                  <a:pt x="853662" y="576999"/>
                </a:cubicBezTo>
                <a:lnTo>
                  <a:pt x="826292" y="453660"/>
                </a:lnTo>
                <a:cubicBezTo>
                  <a:pt x="800168" y="358975"/>
                  <a:pt x="786484" y="353992"/>
                  <a:pt x="741698" y="353992"/>
                </a:cubicBezTo>
                <a:lnTo>
                  <a:pt x="700646" y="353992"/>
                </a:lnTo>
                <a:lnTo>
                  <a:pt x="699402" y="353992"/>
                </a:lnTo>
                <a:lnTo>
                  <a:pt x="450596" y="353992"/>
                </a:lnTo>
                <a:cubicBezTo>
                  <a:pt x="405812" y="353992"/>
                  <a:pt x="393370" y="358975"/>
                  <a:pt x="366002" y="454906"/>
                </a:cubicBezTo>
                <a:lnTo>
                  <a:pt x="338634" y="576999"/>
                </a:lnTo>
                <a:cubicBezTo>
                  <a:pt x="336146" y="590703"/>
                  <a:pt x="341122" y="606899"/>
                  <a:pt x="351074" y="615620"/>
                </a:cubicBezTo>
                <a:lnTo>
                  <a:pt x="434424" y="692862"/>
                </a:lnTo>
                <a:lnTo>
                  <a:pt x="434424" y="575753"/>
                </a:lnTo>
                <a:lnTo>
                  <a:pt x="395858" y="537132"/>
                </a:lnTo>
                <a:cubicBezTo>
                  <a:pt x="389638" y="532148"/>
                  <a:pt x="389638" y="522181"/>
                  <a:pt x="395858" y="515952"/>
                </a:cubicBezTo>
                <a:cubicBezTo>
                  <a:pt x="402080" y="509723"/>
                  <a:pt x="412032" y="509723"/>
                  <a:pt x="417008" y="515952"/>
                </a:cubicBezTo>
                <a:lnTo>
                  <a:pt x="434424" y="532148"/>
                </a:lnTo>
                <a:lnTo>
                  <a:pt x="434424" y="432480"/>
                </a:lnTo>
                <a:cubicBezTo>
                  <a:pt x="434424" y="423760"/>
                  <a:pt x="441888" y="417530"/>
                  <a:pt x="449352" y="417530"/>
                </a:cubicBezTo>
                <a:cubicBezTo>
                  <a:pt x="458060" y="417530"/>
                  <a:pt x="465524" y="423760"/>
                  <a:pt x="465524" y="432480"/>
                </a:cubicBezTo>
                <a:lnTo>
                  <a:pt x="465524" y="1089042"/>
                </a:lnTo>
                <a:cubicBezTo>
                  <a:pt x="465524" y="1097763"/>
                  <a:pt x="458060" y="1103992"/>
                  <a:pt x="449352" y="1103992"/>
                </a:cubicBezTo>
                <a:cubicBezTo>
                  <a:pt x="441888" y="1103992"/>
                  <a:pt x="434424" y="1097763"/>
                  <a:pt x="434424" y="1089042"/>
                </a:cubicBezTo>
                <a:lnTo>
                  <a:pt x="434424" y="735221"/>
                </a:lnTo>
                <a:lnTo>
                  <a:pt x="331170" y="638045"/>
                </a:lnTo>
                <a:cubicBezTo>
                  <a:pt x="311266" y="621849"/>
                  <a:pt x="303800" y="594441"/>
                  <a:pt x="308776" y="569524"/>
                </a:cubicBezTo>
                <a:lnTo>
                  <a:pt x="333658" y="458643"/>
                </a:lnTo>
                <a:lnTo>
                  <a:pt x="185618" y="458643"/>
                </a:lnTo>
                <a:lnTo>
                  <a:pt x="184374" y="458643"/>
                </a:lnTo>
                <a:lnTo>
                  <a:pt x="143322" y="458643"/>
                </a:lnTo>
                <a:cubicBezTo>
                  <a:pt x="98536" y="458643"/>
                  <a:pt x="84852" y="462381"/>
                  <a:pt x="58728" y="558311"/>
                </a:cubicBezTo>
                <a:lnTo>
                  <a:pt x="31358" y="680404"/>
                </a:lnTo>
                <a:cubicBezTo>
                  <a:pt x="28870" y="694108"/>
                  <a:pt x="32602" y="710304"/>
                  <a:pt x="43800" y="720271"/>
                </a:cubicBezTo>
                <a:lnTo>
                  <a:pt x="127148" y="797514"/>
                </a:lnTo>
                <a:lnTo>
                  <a:pt x="127148" y="679158"/>
                </a:lnTo>
                <a:lnTo>
                  <a:pt x="89828" y="641783"/>
                </a:lnTo>
                <a:cubicBezTo>
                  <a:pt x="83608" y="635553"/>
                  <a:pt x="83608" y="626833"/>
                  <a:pt x="89828" y="620603"/>
                </a:cubicBezTo>
                <a:cubicBezTo>
                  <a:pt x="96048" y="614374"/>
                  <a:pt x="106000" y="614374"/>
                  <a:pt x="110976" y="620603"/>
                </a:cubicBezTo>
                <a:lnTo>
                  <a:pt x="127148" y="635553"/>
                </a:lnTo>
                <a:lnTo>
                  <a:pt x="127148" y="535886"/>
                </a:lnTo>
                <a:cubicBezTo>
                  <a:pt x="127148" y="528411"/>
                  <a:pt x="133370" y="520936"/>
                  <a:pt x="142078" y="520936"/>
                </a:cubicBezTo>
                <a:cubicBezTo>
                  <a:pt x="150786" y="520936"/>
                  <a:pt x="157006" y="528411"/>
                  <a:pt x="157006" y="535886"/>
                </a:cubicBezTo>
                <a:lnTo>
                  <a:pt x="157006" y="1153826"/>
                </a:lnTo>
                <a:cubicBezTo>
                  <a:pt x="157006" y="1162547"/>
                  <a:pt x="150786" y="1168776"/>
                  <a:pt x="142078" y="1168776"/>
                </a:cubicBezTo>
                <a:cubicBezTo>
                  <a:pt x="133370" y="1168776"/>
                  <a:pt x="127148" y="1162547"/>
                  <a:pt x="127148" y="1153826"/>
                </a:cubicBezTo>
                <a:lnTo>
                  <a:pt x="127148" y="838627"/>
                </a:lnTo>
                <a:lnTo>
                  <a:pt x="22650" y="742696"/>
                </a:lnTo>
                <a:cubicBezTo>
                  <a:pt x="3990" y="725254"/>
                  <a:pt x="-3474" y="699092"/>
                  <a:pt x="1502" y="674175"/>
                </a:cubicBezTo>
                <a:lnTo>
                  <a:pt x="28870" y="550836"/>
                </a:lnTo>
                <a:cubicBezTo>
                  <a:pt x="57484" y="449922"/>
                  <a:pt x="77388" y="428743"/>
                  <a:pt x="143322" y="428743"/>
                </a:cubicBezTo>
                <a:lnTo>
                  <a:pt x="184374" y="428743"/>
                </a:lnTo>
                <a:lnTo>
                  <a:pt x="185618" y="428743"/>
                </a:lnTo>
                <a:lnTo>
                  <a:pt x="342366" y="428743"/>
                </a:lnTo>
                <a:cubicBezTo>
                  <a:pt x="367246" y="342779"/>
                  <a:pt x="389638" y="324092"/>
                  <a:pt x="450596" y="324092"/>
                </a:cubicBezTo>
                <a:close/>
                <a:moveTo>
                  <a:pt x="901632" y="130318"/>
                </a:moveTo>
                <a:cubicBezTo>
                  <a:pt x="846908" y="130318"/>
                  <a:pt x="800892" y="176855"/>
                  <a:pt x="800892" y="233455"/>
                </a:cubicBezTo>
                <a:cubicBezTo>
                  <a:pt x="800892" y="288796"/>
                  <a:pt x="846908" y="335334"/>
                  <a:pt x="901632" y="335334"/>
                </a:cubicBezTo>
                <a:cubicBezTo>
                  <a:pt x="957598" y="335334"/>
                  <a:pt x="1003616" y="288796"/>
                  <a:pt x="1003616" y="233455"/>
                </a:cubicBezTo>
                <a:cubicBezTo>
                  <a:pt x="1003616" y="176855"/>
                  <a:pt x="957598" y="130318"/>
                  <a:pt x="901632" y="130318"/>
                </a:cubicBezTo>
                <a:close/>
                <a:moveTo>
                  <a:pt x="287036" y="130318"/>
                </a:moveTo>
                <a:cubicBezTo>
                  <a:pt x="231332" y="130318"/>
                  <a:pt x="185530" y="176855"/>
                  <a:pt x="185530" y="233455"/>
                </a:cubicBezTo>
                <a:cubicBezTo>
                  <a:pt x="185530" y="288796"/>
                  <a:pt x="231332" y="335334"/>
                  <a:pt x="287036" y="335334"/>
                </a:cubicBezTo>
                <a:cubicBezTo>
                  <a:pt x="342740" y="335334"/>
                  <a:pt x="388542" y="288796"/>
                  <a:pt x="388542" y="233455"/>
                </a:cubicBezTo>
                <a:cubicBezTo>
                  <a:pt x="388542" y="176855"/>
                  <a:pt x="342740" y="130318"/>
                  <a:pt x="287036" y="130318"/>
                </a:cubicBezTo>
                <a:close/>
                <a:moveTo>
                  <a:pt x="901632" y="98874"/>
                </a:moveTo>
                <a:cubicBezTo>
                  <a:pt x="975010" y="98874"/>
                  <a:pt x="1033466" y="159247"/>
                  <a:pt x="1033466" y="233455"/>
                </a:cubicBezTo>
                <a:cubicBezTo>
                  <a:pt x="1033466" y="306405"/>
                  <a:pt x="975010" y="366778"/>
                  <a:pt x="901632" y="366778"/>
                </a:cubicBezTo>
                <a:cubicBezTo>
                  <a:pt x="829496" y="366778"/>
                  <a:pt x="771042" y="306405"/>
                  <a:pt x="771042" y="233455"/>
                </a:cubicBezTo>
                <a:cubicBezTo>
                  <a:pt x="771042" y="159247"/>
                  <a:pt x="829496" y="98874"/>
                  <a:pt x="901632" y="98874"/>
                </a:cubicBezTo>
                <a:close/>
                <a:moveTo>
                  <a:pt x="287036" y="98874"/>
                </a:moveTo>
                <a:cubicBezTo>
                  <a:pt x="360070" y="98874"/>
                  <a:pt x="418250" y="159247"/>
                  <a:pt x="418250" y="233455"/>
                </a:cubicBezTo>
                <a:cubicBezTo>
                  <a:pt x="418250" y="306405"/>
                  <a:pt x="360070" y="366778"/>
                  <a:pt x="287036" y="366778"/>
                </a:cubicBezTo>
                <a:cubicBezTo>
                  <a:pt x="215238" y="366778"/>
                  <a:pt x="155820" y="306405"/>
                  <a:pt x="155820" y="233455"/>
                </a:cubicBezTo>
                <a:cubicBezTo>
                  <a:pt x="155820" y="159247"/>
                  <a:pt x="215238" y="98874"/>
                  <a:pt x="287036" y="98874"/>
                </a:cubicBezTo>
                <a:close/>
                <a:moveTo>
                  <a:pt x="594646" y="30947"/>
                </a:moveTo>
                <a:cubicBezTo>
                  <a:pt x="538942" y="30947"/>
                  <a:pt x="493140" y="75510"/>
                  <a:pt x="493140" y="131214"/>
                </a:cubicBezTo>
                <a:cubicBezTo>
                  <a:pt x="493140" y="186919"/>
                  <a:pt x="538942" y="231482"/>
                  <a:pt x="594646" y="231482"/>
                </a:cubicBezTo>
                <a:cubicBezTo>
                  <a:pt x="650350" y="231482"/>
                  <a:pt x="694914" y="186919"/>
                  <a:pt x="694914" y="131214"/>
                </a:cubicBezTo>
                <a:cubicBezTo>
                  <a:pt x="694914" y="75510"/>
                  <a:pt x="650350" y="30947"/>
                  <a:pt x="594646" y="30947"/>
                </a:cubicBezTo>
                <a:close/>
                <a:moveTo>
                  <a:pt x="594646" y="0"/>
                </a:moveTo>
                <a:cubicBezTo>
                  <a:pt x="666444" y="0"/>
                  <a:pt x="725862" y="59418"/>
                  <a:pt x="725862" y="131214"/>
                </a:cubicBezTo>
                <a:cubicBezTo>
                  <a:pt x="725862" y="204249"/>
                  <a:pt x="666444" y="262429"/>
                  <a:pt x="594646" y="262429"/>
                </a:cubicBezTo>
                <a:cubicBezTo>
                  <a:pt x="521612" y="262429"/>
                  <a:pt x="463432" y="204249"/>
                  <a:pt x="463432" y="131214"/>
                </a:cubicBezTo>
                <a:cubicBezTo>
                  <a:pt x="463432" y="59418"/>
                  <a:pt x="521612" y="0"/>
                  <a:pt x="594646" y="0"/>
                </a:cubicBezTo>
                <a:close/>
              </a:path>
            </a:pathLst>
          </a:custGeom>
          <a:solidFill>
            <a:schemeClr val="accent1"/>
          </a:solidFill>
          <a:ln>
            <a:noFill/>
          </a:ln>
          <a:effectLst/>
        </p:spPr>
        <p:txBody>
          <a:bodyPr wrap="square" anchor="ctr">
            <a:noAutofit/>
          </a:bodyPr>
          <a:lstStyle/>
          <a:p>
            <a:endParaRPr lang="en-US" sz="1200" dirty="0"/>
          </a:p>
        </p:txBody>
      </p:sp>
      <p:sp>
        <p:nvSpPr>
          <p:cNvPr id="14" name="Footer Placeholder 13">
            <a:extLst>
              <a:ext uri="{FF2B5EF4-FFF2-40B4-BE49-F238E27FC236}">
                <a16:creationId xmlns:a16="http://schemas.microsoft.com/office/drawing/2014/main" id="{A5DC46E6-8594-341C-0F7C-6DA0666C42B0}"/>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085839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63022575-DA70-0513-76DB-7C0ACD5CB62D}"/>
              </a:ext>
            </a:extLst>
          </p:cNvPr>
          <p:cNvGraphicFramePr>
            <a:graphicFrameLocks noChangeAspect="1"/>
          </p:cNvGraphicFramePr>
          <p:nvPr>
            <p:custDataLst>
              <p:tags r:id="rId1"/>
            </p:custDataLst>
            <p:extLst>
              <p:ext uri="{D42A27DB-BD31-4B8C-83A1-F6EECF244321}">
                <p14:modId xmlns:p14="http://schemas.microsoft.com/office/powerpoint/2010/main" val="36287403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63022575-DA70-0513-76DB-7C0ACD5CB6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2554B8FF-93D2-95AE-0F4F-59E6C443CF5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E9FB5B3-BF81-D8D8-0099-6B3236FF4BD1}"/>
              </a:ext>
            </a:extLst>
          </p:cNvPr>
          <p:cNvSpPr>
            <a:spLocks noGrp="1"/>
          </p:cNvSpPr>
          <p:nvPr>
            <p:ph type="title"/>
          </p:nvPr>
        </p:nvSpPr>
        <p:spPr/>
        <p:txBody>
          <a:bodyPr vert="horz"/>
          <a:lstStyle/>
          <a:p>
            <a:r>
              <a:rPr lang="en-US" dirty="0"/>
              <a:t>Template - Multiple Bars</a:t>
            </a:r>
          </a:p>
        </p:txBody>
      </p:sp>
      <p:graphicFrame>
        <p:nvGraphicFramePr>
          <p:cNvPr id="4" name="Chart 3">
            <a:extLst>
              <a:ext uri="{FF2B5EF4-FFF2-40B4-BE49-F238E27FC236}">
                <a16:creationId xmlns:a16="http://schemas.microsoft.com/office/drawing/2014/main" id="{C38DD9EE-3913-96A5-39CC-319CA3F231CF}"/>
              </a:ext>
            </a:extLst>
          </p:cNvPr>
          <p:cNvGraphicFramePr/>
          <p:nvPr>
            <p:extLst>
              <p:ext uri="{D42A27DB-BD31-4B8C-83A1-F6EECF244321}">
                <p14:modId xmlns:p14="http://schemas.microsoft.com/office/powerpoint/2010/main" val="1771833621"/>
              </p:ext>
            </p:extLst>
          </p:nvPr>
        </p:nvGraphicFramePr>
        <p:xfrm>
          <a:off x="560438" y="2390208"/>
          <a:ext cx="11043068" cy="270265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4">
            <a:extLst>
              <a:ext uri="{FF2B5EF4-FFF2-40B4-BE49-F238E27FC236}">
                <a16:creationId xmlns:a16="http://schemas.microsoft.com/office/drawing/2014/main" id="{2BAA485F-9875-45E1-3AEB-7B16E12B6CE7}"/>
              </a:ext>
            </a:extLst>
          </p:cNvPr>
          <p:cNvSpPr txBox="1"/>
          <p:nvPr/>
        </p:nvSpPr>
        <p:spPr>
          <a:xfrm>
            <a:off x="127220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8" name="Subtitle 2">
            <a:extLst>
              <a:ext uri="{FF2B5EF4-FFF2-40B4-BE49-F238E27FC236}">
                <a16:creationId xmlns:a16="http://schemas.microsoft.com/office/drawing/2014/main" id="{09FFFA24-C4F7-E8AE-BA3D-EDA7E6DCF8EB}"/>
              </a:ext>
            </a:extLst>
          </p:cNvPr>
          <p:cNvSpPr txBox="1">
            <a:spLocks/>
          </p:cNvSpPr>
          <p:nvPr/>
        </p:nvSpPr>
        <p:spPr>
          <a:xfrm>
            <a:off x="127220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8">
            <a:extLst>
              <a:ext uri="{FF2B5EF4-FFF2-40B4-BE49-F238E27FC236}">
                <a16:creationId xmlns:a16="http://schemas.microsoft.com/office/drawing/2014/main" id="{CEDF2FAC-4934-74D3-0DA2-F3A56F44F191}"/>
              </a:ext>
            </a:extLst>
          </p:cNvPr>
          <p:cNvSpPr txBox="1"/>
          <p:nvPr/>
        </p:nvSpPr>
        <p:spPr>
          <a:xfrm>
            <a:off x="340904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0" name="Subtitle 2">
            <a:extLst>
              <a:ext uri="{FF2B5EF4-FFF2-40B4-BE49-F238E27FC236}">
                <a16:creationId xmlns:a16="http://schemas.microsoft.com/office/drawing/2014/main" id="{12770E28-DFF5-6FC4-70E0-B07D109F947C}"/>
              </a:ext>
            </a:extLst>
          </p:cNvPr>
          <p:cNvSpPr txBox="1">
            <a:spLocks/>
          </p:cNvSpPr>
          <p:nvPr/>
        </p:nvSpPr>
        <p:spPr>
          <a:xfrm>
            <a:off x="3409046"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TextBox 11">
            <a:extLst>
              <a:ext uri="{FF2B5EF4-FFF2-40B4-BE49-F238E27FC236}">
                <a16:creationId xmlns:a16="http://schemas.microsoft.com/office/drawing/2014/main" id="{7F318218-29CF-E1A2-1306-C8E41709A9E5}"/>
              </a:ext>
            </a:extLst>
          </p:cNvPr>
          <p:cNvSpPr txBox="1"/>
          <p:nvPr/>
        </p:nvSpPr>
        <p:spPr>
          <a:xfrm>
            <a:off x="5545888"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2" name="Subtitle 2">
            <a:extLst>
              <a:ext uri="{FF2B5EF4-FFF2-40B4-BE49-F238E27FC236}">
                <a16:creationId xmlns:a16="http://schemas.microsoft.com/office/drawing/2014/main" id="{D7D76000-EE66-7940-5040-D67319C3033B}"/>
              </a:ext>
            </a:extLst>
          </p:cNvPr>
          <p:cNvSpPr txBox="1">
            <a:spLocks/>
          </p:cNvSpPr>
          <p:nvPr/>
        </p:nvSpPr>
        <p:spPr>
          <a:xfrm>
            <a:off x="554588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3" name="TextBox 14">
            <a:extLst>
              <a:ext uri="{FF2B5EF4-FFF2-40B4-BE49-F238E27FC236}">
                <a16:creationId xmlns:a16="http://schemas.microsoft.com/office/drawing/2014/main" id="{E8674C5B-522D-2F0B-BE9D-9867CFACF551}"/>
              </a:ext>
            </a:extLst>
          </p:cNvPr>
          <p:cNvSpPr txBox="1"/>
          <p:nvPr/>
        </p:nvSpPr>
        <p:spPr>
          <a:xfrm>
            <a:off x="9819567"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4" name="Subtitle 2">
            <a:extLst>
              <a:ext uri="{FF2B5EF4-FFF2-40B4-BE49-F238E27FC236}">
                <a16:creationId xmlns:a16="http://schemas.microsoft.com/office/drawing/2014/main" id="{9D86C30F-95B1-87F5-9270-38788D63C9B4}"/>
              </a:ext>
            </a:extLst>
          </p:cNvPr>
          <p:cNvSpPr txBox="1">
            <a:spLocks/>
          </p:cNvSpPr>
          <p:nvPr/>
        </p:nvSpPr>
        <p:spPr>
          <a:xfrm>
            <a:off x="9819564"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5" name="TextBox 17">
            <a:extLst>
              <a:ext uri="{FF2B5EF4-FFF2-40B4-BE49-F238E27FC236}">
                <a16:creationId xmlns:a16="http://schemas.microsoft.com/office/drawing/2014/main" id="{F8F81126-87B8-9AF9-B132-8ED7E95A3A85}"/>
              </a:ext>
            </a:extLst>
          </p:cNvPr>
          <p:cNvSpPr txBox="1"/>
          <p:nvPr/>
        </p:nvSpPr>
        <p:spPr>
          <a:xfrm>
            <a:off x="7682726" y="5217981"/>
            <a:ext cx="1258276"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16" name="Subtitle 2">
            <a:extLst>
              <a:ext uri="{FF2B5EF4-FFF2-40B4-BE49-F238E27FC236}">
                <a16:creationId xmlns:a16="http://schemas.microsoft.com/office/drawing/2014/main" id="{CBA7585A-2AB3-1374-AD69-0E83FDE5128F}"/>
              </a:ext>
            </a:extLst>
          </p:cNvPr>
          <p:cNvSpPr txBox="1">
            <a:spLocks/>
          </p:cNvSpPr>
          <p:nvPr/>
        </p:nvSpPr>
        <p:spPr>
          <a:xfrm>
            <a:off x="7682725" y="5494980"/>
            <a:ext cx="1786964"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24">
            <a:extLst>
              <a:ext uri="{FF2B5EF4-FFF2-40B4-BE49-F238E27FC236}">
                <a16:creationId xmlns:a16="http://schemas.microsoft.com/office/drawing/2014/main" id="{323041AD-AF8B-4947-B81D-593EE316D4A1}"/>
              </a:ext>
            </a:extLst>
          </p:cNvPr>
          <p:cNvSpPr txBox="1"/>
          <p:nvPr/>
        </p:nvSpPr>
        <p:spPr>
          <a:xfrm>
            <a:off x="570272" y="1911134"/>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5" name="Footer Placeholder 4">
            <a:extLst>
              <a:ext uri="{FF2B5EF4-FFF2-40B4-BE49-F238E27FC236}">
                <a16:creationId xmlns:a16="http://schemas.microsoft.com/office/drawing/2014/main" id="{C0096AFC-AE47-CB3A-5985-3B15B6E84351}"/>
              </a:ext>
            </a:extLst>
          </p:cNvPr>
          <p:cNvSpPr>
            <a:spLocks noGrp="1"/>
          </p:cNvSpPr>
          <p:nvPr>
            <p:ph type="ftr" sz="quarter" idx="3"/>
          </p:nvPr>
        </p:nvSpPr>
        <p:spPr/>
        <p:txBody>
          <a:bodyPr/>
          <a:lstStyle/>
          <a:p>
            <a:r>
              <a:rPr lang="en-US"/>
              <a:t>Source:_______</a:t>
            </a:r>
            <a:endParaRPr lang="en-US" dirty="0"/>
          </a:p>
        </p:txBody>
      </p:sp>
      <p:sp>
        <p:nvSpPr>
          <p:cNvPr id="23" name="TextBox 24">
            <a:extLst>
              <a:ext uri="{FF2B5EF4-FFF2-40B4-BE49-F238E27FC236}">
                <a16:creationId xmlns:a16="http://schemas.microsoft.com/office/drawing/2014/main" id="{4A1AE358-F499-495C-01BF-32ED46FC0C98}"/>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24" name="Conector recto 9">
            <a:extLst>
              <a:ext uri="{FF2B5EF4-FFF2-40B4-BE49-F238E27FC236}">
                <a16:creationId xmlns:a16="http://schemas.microsoft.com/office/drawing/2014/main" id="{05A42D0A-B3E5-5889-7E46-F5CEB48E881B}"/>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9145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7" name="Objeto 16" hidden="1">
            <a:extLst>
              <a:ext uri="{FF2B5EF4-FFF2-40B4-BE49-F238E27FC236}">
                <a16:creationId xmlns:a16="http://schemas.microsoft.com/office/drawing/2014/main" id="{9E33CC14-0471-A3BB-4892-9CA9C8B7DB70}"/>
              </a:ext>
            </a:extLst>
          </p:cNvPr>
          <p:cNvGraphicFramePr>
            <a:graphicFrameLocks noChangeAspect="1"/>
          </p:cNvGraphicFramePr>
          <p:nvPr>
            <p:custDataLst>
              <p:tags r:id="rId1"/>
            </p:custDataLst>
            <p:extLst>
              <p:ext uri="{D42A27DB-BD31-4B8C-83A1-F6EECF244321}">
                <p14:modId xmlns:p14="http://schemas.microsoft.com/office/powerpoint/2010/main" val="1507156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to 16" hidden="1">
                        <a:extLst>
                          <a:ext uri="{FF2B5EF4-FFF2-40B4-BE49-F238E27FC236}">
                            <a16:creationId xmlns:a16="http://schemas.microsoft.com/office/drawing/2014/main" id="{9E33CC14-0471-A3BB-4892-9CA9C8B7DB7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E816F96B-CF2E-6E95-0E07-C6FFB69C979D}"/>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FE673426-4C15-5B5B-31EF-3FB32D25E848}"/>
              </a:ext>
            </a:extLst>
          </p:cNvPr>
          <p:cNvSpPr>
            <a:spLocks noGrp="1"/>
          </p:cNvSpPr>
          <p:nvPr>
            <p:ph type="title"/>
          </p:nvPr>
        </p:nvSpPr>
        <p:spPr/>
        <p:txBody>
          <a:bodyPr vert="horz"/>
          <a:lstStyle/>
          <a:p>
            <a:r>
              <a:rPr lang="en-US" dirty="0"/>
              <a:t>Template - Multiple line chart</a:t>
            </a:r>
          </a:p>
        </p:txBody>
      </p:sp>
      <p:graphicFrame>
        <p:nvGraphicFramePr>
          <p:cNvPr id="4" name="Chart 3">
            <a:extLst>
              <a:ext uri="{FF2B5EF4-FFF2-40B4-BE49-F238E27FC236}">
                <a16:creationId xmlns:a16="http://schemas.microsoft.com/office/drawing/2014/main" id="{075219B7-2ED2-D788-CDF2-1E6245C9A272}"/>
              </a:ext>
            </a:extLst>
          </p:cNvPr>
          <p:cNvGraphicFramePr/>
          <p:nvPr>
            <p:extLst>
              <p:ext uri="{D42A27DB-BD31-4B8C-83A1-F6EECF244321}">
                <p14:modId xmlns:p14="http://schemas.microsoft.com/office/powerpoint/2010/main" val="792865909"/>
              </p:ext>
            </p:extLst>
          </p:nvPr>
        </p:nvGraphicFramePr>
        <p:xfrm>
          <a:off x="418899" y="2378284"/>
          <a:ext cx="3528069" cy="268657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4">
            <a:extLst>
              <a:ext uri="{FF2B5EF4-FFF2-40B4-BE49-F238E27FC236}">
                <a16:creationId xmlns:a16="http://schemas.microsoft.com/office/drawing/2014/main" id="{20EB81B5-213C-05B1-5A24-CE633CE5478B}"/>
              </a:ext>
            </a:extLst>
          </p:cNvPr>
          <p:cNvSpPr txBox="1"/>
          <p:nvPr/>
        </p:nvSpPr>
        <p:spPr>
          <a:xfrm>
            <a:off x="1173806"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9" name="Subtitle 2">
            <a:extLst>
              <a:ext uri="{FF2B5EF4-FFF2-40B4-BE49-F238E27FC236}">
                <a16:creationId xmlns:a16="http://schemas.microsoft.com/office/drawing/2014/main" id="{2D5760FF-5F80-8164-D3DD-06EAEC86BFC8}"/>
              </a:ext>
            </a:extLst>
          </p:cNvPr>
          <p:cNvSpPr txBox="1">
            <a:spLocks/>
          </p:cNvSpPr>
          <p:nvPr/>
        </p:nvSpPr>
        <p:spPr>
          <a:xfrm>
            <a:off x="1173806"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0" name="TextBox 8">
            <a:extLst>
              <a:ext uri="{FF2B5EF4-FFF2-40B4-BE49-F238E27FC236}">
                <a16:creationId xmlns:a16="http://schemas.microsoft.com/office/drawing/2014/main" id="{3460E6FC-4DFF-DE8A-F35A-FECA3676C4ED}"/>
              </a:ext>
            </a:extLst>
          </p:cNvPr>
          <p:cNvSpPr txBox="1"/>
          <p:nvPr/>
        </p:nvSpPr>
        <p:spPr>
          <a:xfrm>
            <a:off x="5151015"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1" name="Subtitle 2">
            <a:extLst>
              <a:ext uri="{FF2B5EF4-FFF2-40B4-BE49-F238E27FC236}">
                <a16:creationId xmlns:a16="http://schemas.microsoft.com/office/drawing/2014/main" id="{FED1A14E-7770-935E-D8B0-0C6429FD37D0}"/>
              </a:ext>
            </a:extLst>
          </p:cNvPr>
          <p:cNvSpPr txBox="1">
            <a:spLocks/>
          </p:cNvSpPr>
          <p:nvPr/>
        </p:nvSpPr>
        <p:spPr>
          <a:xfrm>
            <a:off x="5151015"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2" name="TextBox 11">
            <a:extLst>
              <a:ext uri="{FF2B5EF4-FFF2-40B4-BE49-F238E27FC236}">
                <a16:creationId xmlns:a16="http://schemas.microsoft.com/office/drawing/2014/main" id="{458A1E12-4220-E4B7-1F5D-2DD9164E501A}"/>
              </a:ext>
            </a:extLst>
          </p:cNvPr>
          <p:cNvSpPr txBox="1"/>
          <p:nvPr/>
        </p:nvSpPr>
        <p:spPr>
          <a:xfrm>
            <a:off x="9139804" y="5241489"/>
            <a:ext cx="1374797" cy="286895"/>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3" name="Subtitle 2">
            <a:extLst>
              <a:ext uri="{FF2B5EF4-FFF2-40B4-BE49-F238E27FC236}">
                <a16:creationId xmlns:a16="http://schemas.microsoft.com/office/drawing/2014/main" id="{69614FF7-542E-8C50-C118-1DA6AC0A2363}"/>
              </a:ext>
            </a:extLst>
          </p:cNvPr>
          <p:cNvSpPr txBox="1">
            <a:spLocks/>
          </p:cNvSpPr>
          <p:nvPr/>
        </p:nvSpPr>
        <p:spPr>
          <a:xfrm>
            <a:off x="9139803" y="5561240"/>
            <a:ext cx="1903483"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18" name="Grupo 42">
            <a:extLst>
              <a:ext uri="{FF2B5EF4-FFF2-40B4-BE49-F238E27FC236}">
                <a16:creationId xmlns:a16="http://schemas.microsoft.com/office/drawing/2014/main" id="{263E4BC7-7D28-1817-CCBE-2B6021819B76}"/>
              </a:ext>
            </a:extLst>
          </p:cNvPr>
          <p:cNvGrpSpPr/>
          <p:nvPr/>
        </p:nvGrpSpPr>
        <p:grpSpPr>
          <a:xfrm>
            <a:off x="8304749" y="5423858"/>
            <a:ext cx="478016" cy="565261"/>
            <a:chOff x="3657318" y="2960019"/>
            <a:chExt cx="428407" cy="506598"/>
          </a:xfrm>
        </p:grpSpPr>
        <p:grpSp>
          <p:nvGrpSpPr>
            <p:cNvPr id="19" name="Grupo 43">
              <a:extLst>
                <a:ext uri="{FF2B5EF4-FFF2-40B4-BE49-F238E27FC236}">
                  <a16:creationId xmlns:a16="http://schemas.microsoft.com/office/drawing/2014/main" id="{8C947257-7126-4EE6-0CC2-FA2B89DFAAD0}"/>
                </a:ext>
              </a:extLst>
            </p:cNvPr>
            <p:cNvGrpSpPr/>
            <p:nvPr/>
          </p:nvGrpSpPr>
          <p:grpSpPr>
            <a:xfrm>
              <a:off x="3828604" y="2960019"/>
              <a:ext cx="257121" cy="506598"/>
              <a:chOff x="2468880" y="3319199"/>
              <a:chExt cx="257121" cy="506598"/>
            </a:xfrm>
          </p:grpSpPr>
          <p:cxnSp>
            <p:nvCxnSpPr>
              <p:cNvPr id="21" name="Conector recto 45">
                <a:extLst>
                  <a:ext uri="{FF2B5EF4-FFF2-40B4-BE49-F238E27FC236}">
                    <a16:creationId xmlns:a16="http://schemas.microsoft.com/office/drawing/2014/main" id="{3D3B1FEC-B76C-6F3D-A1EC-9D5CD6010346}"/>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Conector recto 46">
                <a:extLst>
                  <a:ext uri="{FF2B5EF4-FFF2-40B4-BE49-F238E27FC236}">
                    <a16:creationId xmlns:a16="http://schemas.microsoft.com/office/drawing/2014/main" id="{461C1ED4-26B5-546B-642B-8C06A3A4DEE3}"/>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Conector recto 44">
              <a:extLst>
                <a:ext uri="{FF2B5EF4-FFF2-40B4-BE49-F238E27FC236}">
                  <a16:creationId xmlns:a16="http://schemas.microsoft.com/office/drawing/2014/main" id="{96A38215-7EE7-C916-E1C4-160F5C14C8A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upo 42">
            <a:extLst>
              <a:ext uri="{FF2B5EF4-FFF2-40B4-BE49-F238E27FC236}">
                <a16:creationId xmlns:a16="http://schemas.microsoft.com/office/drawing/2014/main" id="{50890699-F05F-5970-F44A-61B03BE8960B}"/>
              </a:ext>
            </a:extLst>
          </p:cNvPr>
          <p:cNvGrpSpPr/>
          <p:nvPr/>
        </p:nvGrpSpPr>
        <p:grpSpPr>
          <a:xfrm>
            <a:off x="4285104" y="5423858"/>
            <a:ext cx="478016" cy="565261"/>
            <a:chOff x="3657318" y="2960019"/>
            <a:chExt cx="428407" cy="506598"/>
          </a:xfrm>
        </p:grpSpPr>
        <p:grpSp>
          <p:nvGrpSpPr>
            <p:cNvPr id="24" name="Grupo 43">
              <a:extLst>
                <a:ext uri="{FF2B5EF4-FFF2-40B4-BE49-F238E27FC236}">
                  <a16:creationId xmlns:a16="http://schemas.microsoft.com/office/drawing/2014/main" id="{93949E05-7916-405B-A7CA-9B5435B27E64}"/>
                </a:ext>
              </a:extLst>
            </p:cNvPr>
            <p:cNvGrpSpPr/>
            <p:nvPr/>
          </p:nvGrpSpPr>
          <p:grpSpPr>
            <a:xfrm>
              <a:off x="3828604" y="2960019"/>
              <a:ext cx="257121" cy="506598"/>
              <a:chOff x="2468880" y="3319199"/>
              <a:chExt cx="257121" cy="506598"/>
            </a:xfrm>
          </p:grpSpPr>
          <p:cxnSp>
            <p:nvCxnSpPr>
              <p:cNvPr id="26" name="Conector recto 45">
                <a:extLst>
                  <a:ext uri="{FF2B5EF4-FFF2-40B4-BE49-F238E27FC236}">
                    <a16:creationId xmlns:a16="http://schemas.microsoft.com/office/drawing/2014/main" id="{7E7D066C-D370-ACE0-40DC-0E538D499059}"/>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Conector recto 46">
                <a:extLst>
                  <a:ext uri="{FF2B5EF4-FFF2-40B4-BE49-F238E27FC236}">
                    <a16:creationId xmlns:a16="http://schemas.microsoft.com/office/drawing/2014/main" id="{5F27DC79-9BEF-4221-75B1-1BE760BDC0D2}"/>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5" name="Conector recto 44">
              <a:extLst>
                <a:ext uri="{FF2B5EF4-FFF2-40B4-BE49-F238E27FC236}">
                  <a16:creationId xmlns:a16="http://schemas.microsoft.com/office/drawing/2014/main" id="{D5E64C1E-3407-80B3-1C0E-CE53D8C4FADD}"/>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8" name="Grupo 42">
            <a:extLst>
              <a:ext uri="{FF2B5EF4-FFF2-40B4-BE49-F238E27FC236}">
                <a16:creationId xmlns:a16="http://schemas.microsoft.com/office/drawing/2014/main" id="{93CFA80C-DA2C-D4F8-75C2-439C315257C2}"/>
              </a:ext>
            </a:extLst>
          </p:cNvPr>
          <p:cNvGrpSpPr/>
          <p:nvPr/>
        </p:nvGrpSpPr>
        <p:grpSpPr>
          <a:xfrm>
            <a:off x="371475" y="5423858"/>
            <a:ext cx="478016" cy="565261"/>
            <a:chOff x="3657318" y="2960019"/>
            <a:chExt cx="428407" cy="506598"/>
          </a:xfrm>
        </p:grpSpPr>
        <p:grpSp>
          <p:nvGrpSpPr>
            <p:cNvPr id="29" name="Grupo 43">
              <a:extLst>
                <a:ext uri="{FF2B5EF4-FFF2-40B4-BE49-F238E27FC236}">
                  <a16:creationId xmlns:a16="http://schemas.microsoft.com/office/drawing/2014/main" id="{D28FCCBD-D3CE-7F5E-AC84-ECE47ACF7396}"/>
                </a:ext>
              </a:extLst>
            </p:cNvPr>
            <p:cNvGrpSpPr/>
            <p:nvPr/>
          </p:nvGrpSpPr>
          <p:grpSpPr>
            <a:xfrm>
              <a:off x="3828604" y="2960019"/>
              <a:ext cx="257121" cy="506598"/>
              <a:chOff x="2468880" y="3319199"/>
              <a:chExt cx="257121" cy="506598"/>
            </a:xfrm>
          </p:grpSpPr>
          <p:cxnSp>
            <p:nvCxnSpPr>
              <p:cNvPr id="31" name="Conector recto 45">
                <a:extLst>
                  <a:ext uri="{FF2B5EF4-FFF2-40B4-BE49-F238E27FC236}">
                    <a16:creationId xmlns:a16="http://schemas.microsoft.com/office/drawing/2014/main" id="{17E40D71-C924-3FDB-97ED-4D2C3EF2EF5C}"/>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Conector recto 46">
                <a:extLst>
                  <a:ext uri="{FF2B5EF4-FFF2-40B4-BE49-F238E27FC236}">
                    <a16:creationId xmlns:a16="http://schemas.microsoft.com/office/drawing/2014/main" id="{924BDECD-EB15-B545-B43A-14CF69E9A598}"/>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0" name="Conector recto 44">
              <a:extLst>
                <a:ext uri="{FF2B5EF4-FFF2-40B4-BE49-F238E27FC236}">
                  <a16:creationId xmlns:a16="http://schemas.microsoft.com/office/drawing/2014/main" id="{1E21F9F1-B77E-6BF0-36F3-6C332BE6372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3" name="Chart 3">
            <a:extLst>
              <a:ext uri="{FF2B5EF4-FFF2-40B4-BE49-F238E27FC236}">
                <a16:creationId xmlns:a16="http://schemas.microsoft.com/office/drawing/2014/main" id="{A4F7801F-AFAC-344D-832C-C3F8C37549C3}"/>
              </a:ext>
            </a:extLst>
          </p:cNvPr>
          <p:cNvGraphicFramePr/>
          <p:nvPr>
            <p:extLst>
              <p:ext uri="{D42A27DB-BD31-4B8C-83A1-F6EECF244321}">
                <p14:modId xmlns:p14="http://schemas.microsoft.com/office/powerpoint/2010/main" val="2915093618"/>
              </p:ext>
            </p:extLst>
          </p:nvPr>
        </p:nvGraphicFramePr>
        <p:xfrm>
          <a:off x="4330376" y="2378284"/>
          <a:ext cx="3528069" cy="26865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
            <a:extLst>
              <a:ext uri="{FF2B5EF4-FFF2-40B4-BE49-F238E27FC236}">
                <a16:creationId xmlns:a16="http://schemas.microsoft.com/office/drawing/2014/main" id="{B2E0CB28-993C-4548-CC75-18B512C4B08A}"/>
              </a:ext>
            </a:extLst>
          </p:cNvPr>
          <p:cNvGraphicFramePr/>
          <p:nvPr>
            <p:extLst>
              <p:ext uri="{D42A27DB-BD31-4B8C-83A1-F6EECF244321}">
                <p14:modId xmlns:p14="http://schemas.microsoft.com/office/powerpoint/2010/main" val="840759769"/>
              </p:ext>
            </p:extLst>
          </p:nvPr>
        </p:nvGraphicFramePr>
        <p:xfrm>
          <a:off x="8211799" y="2378284"/>
          <a:ext cx="3528069" cy="2686578"/>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24">
            <a:extLst>
              <a:ext uri="{FF2B5EF4-FFF2-40B4-BE49-F238E27FC236}">
                <a16:creationId xmlns:a16="http://schemas.microsoft.com/office/drawing/2014/main" id="{A24D89C7-67E4-D430-14D4-7867C4B5650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6" name="Conector recto 9">
            <a:extLst>
              <a:ext uri="{FF2B5EF4-FFF2-40B4-BE49-F238E27FC236}">
                <a16:creationId xmlns:a16="http://schemas.microsoft.com/office/drawing/2014/main" id="{AD7C2A0B-6099-0BC4-7ABA-3D178D9AAEB8}"/>
              </a:ext>
            </a:extLst>
          </p:cNvPr>
          <p:cNvCxnSpPr>
            <a:cxnSpLocks/>
          </p:cNvCxnSpPr>
          <p:nvPr/>
        </p:nvCxnSpPr>
        <p:spPr>
          <a:xfrm>
            <a:off x="56043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24">
            <a:extLst>
              <a:ext uri="{FF2B5EF4-FFF2-40B4-BE49-F238E27FC236}">
                <a16:creationId xmlns:a16="http://schemas.microsoft.com/office/drawing/2014/main" id="{EF0DD59D-2D91-8D1E-A09B-202FE292020B}"/>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6" name="TextBox 24">
            <a:extLst>
              <a:ext uri="{FF2B5EF4-FFF2-40B4-BE49-F238E27FC236}">
                <a16:creationId xmlns:a16="http://schemas.microsoft.com/office/drawing/2014/main" id="{A4E27EB7-5114-C881-B6E6-DA7571037F01}"/>
              </a:ext>
            </a:extLst>
          </p:cNvPr>
          <p:cNvSpPr txBox="1"/>
          <p:nvPr/>
        </p:nvSpPr>
        <p:spPr>
          <a:xfrm>
            <a:off x="4375009"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37" name="Conector recto 9">
            <a:extLst>
              <a:ext uri="{FF2B5EF4-FFF2-40B4-BE49-F238E27FC236}">
                <a16:creationId xmlns:a16="http://schemas.microsoft.com/office/drawing/2014/main" id="{BC5CCF75-15E0-781B-A0B3-78BD1BB5DD7F}"/>
              </a:ext>
            </a:extLst>
          </p:cNvPr>
          <p:cNvCxnSpPr>
            <a:cxnSpLocks/>
          </p:cNvCxnSpPr>
          <p:nvPr/>
        </p:nvCxnSpPr>
        <p:spPr>
          <a:xfrm>
            <a:off x="4365176"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B826233F-0A0D-1697-2DB4-8B76D082B571}"/>
              </a:ext>
            </a:extLst>
          </p:cNvPr>
          <p:cNvSpPr txBox="1"/>
          <p:nvPr/>
        </p:nvSpPr>
        <p:spPr>
          <a:xfrm>
            <a:off x="4375010"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39" name="TextBox 24">
            <a:extLst>
              <a:ext uri="{FF2B5EF4-FFF2-40B4-BE49-F238E27FC236}">
                <a16:creationId xmlns:a16="http://schemas.microsoft.com/office/drawing/2014/main" id="{C5FFE3DF-1F81-7604-BE01-BBF612792FC6}"/>
              </a:ext>
            </a:extLst>
          </p:cNvPr>
          <p:cNvSpPr txBox="1"/>
          <p:nvPr/>
        </p:nvSpPr>
        <p:spPr>
          <a:xfrm>
            <a:off x="831539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0" name="Conector recto 9">
            <a:extLst>
              <a:ext uri="{FF2B5EF4-FFF2-40B4-BE49-F238E27FC236}">
                <a16:creationId xmlns:a16="http://schemas.microsoft.com/office/drawing/2014/main" id="{4B4FA4C7-98B2-9790-C593-8F886E5B9CEB}"/>
              </a:ext>
            </a:extLst>
          </p:cNvPr>
          <p:cNvCxnSpPr>
            <a:cxnSpLocks/>
          </p:cNvCxnSpPr>
          <p:nvPr/>
        </p:nvCxnSpPr>
        <p:spPr>
          <a:xfrm>
            <a:off x="8305558" y="1868343"/>
            <a:ext cx="3268612"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1" name="TextBox 24">
            <a:extLst>
              <a:ext uri="{FF2B5EF4-FFF2-40B4-BE49-F238E27FC236}">
                <a16:creationId xmlns:a16="http://schemas.microsoft.com/office/drawing/2014/main" id="{E7968065-9374-C64B-B3DB-458E18B8E0DF}"/>
              </a:ext>
            </a:extLst>
          </p:cNvPr>
          <p:cNvSpPr txBox="1"/>
          <p:nvPr/>
        </p:nvSpPr>
        <p:spPr>
          <a:xfrm>
            <a:off x="831539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4" name="Footer Placeholder 13">
            <a:extLst>
              <a:ext uri="{FF2B5EF4-FFF2-40B4-BE49-F238E27FC236}">
                <a16:creationId xmlns:a16="http://schemas.microsoft.com/office/drawing/2014/main" id="{F32D3211-AE3F-AEE7-416D-498428A6587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3080904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a16="http://schemas.microsoft.com/office/drawing/2014/main" id="{E31A1FEE-6B28-52C6-6A10-BA202633BD23}"/>
              </a:ext>
            </a:extLst>
          </p:cNvPr>
          <p:cNvGraphicFramePr>
            <a:graphicFrameLocks noChangeAspect="1"/>
          </p:cNvGraphicFramePr>
          <p:nvPr>
            <p:custDataLst>
              <p:tags r:id="rId1"/>
            </p:custDataLst>
            <p:extLst>
              <p:ext uri="{D42A27DB-BD31-4B8C-83A1-F6EECF244321}">
                <p14:modId xmlns:p14="http://schemas.microsoft.com/office/powerpoint/2010/main" val="29754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19" name="Objeto 18" hidden="1">
                        <a:extLst>
                          <a:ext uri="{FF2B5EF4-FFF2-40B4-BE49-F238E27FC236}">
                            <a16:creationId xmlns:a16="http://schemas.microsoft.com/office/drawing/2014/main" id="{E31A1FEE-6B28-52C6-6A10-BA202633B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9EEB7333-ED1A-25CB-2473-29C18C84902B}"/>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2EB0C2E2-2960-C847-0983-2316EEB0A68D}"/>
              </a:ext>
            </a:extLst>
          </p:cNvPr>
          <p:cNvSpPr>
            <a:spLocks noGrp="1"/>
          </p:cNvSpPr>
          <p:nvPr>
            <p:ph type="title"/>
          </p:nvPr>
        </p:nvSpPr>
        <p:spPr/>
        <p:txBody>
          <a:bodyPr vert="horz"/>
          <a:lstStyle/>
          <a:p>
            <a:r>
              <a:rPr lang="en-US" dirty="0"/>
              <a:t>Template - Line chart</a:t>
            </a:r>
          </a:p>
        </p:txBody>
      </p:sp>
      <p:graphicFrame>
        <p:nvGraphicFramePr>
          <p:cNvPr id="4" name="Chart 3">
            <a:extLst>
              <a:ext uri="{FF2B5EF4-FFF2-40B4-BE49-F238E27FC236}">
                <a16:creationId xmlns:a16="http://schemas.microsoft.com/office/drawing/2014/main" id="{6F909664-78D6-BB95-FD5E-09449B7B7202}"/>
              </a:ext>
            </a:extLst>
          </p:cNvPr>
          <p:cNvGraphicFramePr/>
          <p:nvPr>
            <p:extLst>
              <p:ext uri="{D42A27DB-BD31-4B8C-83A1-F6EECF244321}">
                <p14:modId xmlns:p14="http://schemas.microsoft.com/office/powerpoint/2010/main" val="974990345"/>
              </p:ext>
            </p:extLst>
          </p:nvPr>
        </p:nvGraphicFramePr>
        <p:xfrm>
          <a:off x="371475" y="2227329"/>
          <a:ext cx="11449050" cy="408139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B99F1FAD-19C2-1050-3169-A695F9B279C5}"/>
              </a:ext>
            </a:extLst>
          </p:cNvPr>
          <p:cNvSpPr txBox="1"/>
          <p:nvPr/>
        </p:nvSpPr>
        <p:spPr>
          <a:xfrm>
            <a:off x="3487238" y="2172916"/>
            <a:ext cx="846114" cy="279451"/>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1</a:t>
            </a:r>
          </a:p>
        </p:txBody>
      </p:sp>
      <p:sp>
        <p:nvSpPr>
          <p:cNvPr id="6" name="Subtitle 2">
            <a:extLst>
              <a:ext uri="{FF2B5EF4-FFF2-40B4-BE49-F238E27FC236}">
                <a16:creationId xmlns:a16="http://schemas.microsoft.com/office/drawing/2014/main" id="{C5425A1F-B1FC-DAF2-F09D-738746559153}"/>
              </a:ext>
            </a:extLst>
          </p:cNvPr>
          <p:cNvSpPr txBox="1">
            <a:spLocks/>
          </p:cNvSpPr>
          <p:nvPr/>
        </p:nvSpPr>
        <p:spPr>
          <a:xfrm>
            <a:off x="3487238" y="2419515"/>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7" name="TextBox 4">
            <a:extLst>
              <a:ext uri="{FF2B5EF4-FFF2-40B4-BE49-F238E27FC236}">
                <a16:creationId xmlns:a16="http://schemas.microsoft.com/office/drawing/2014/main" id="{E079E322-29D1-1B7F-1B2A-E9CB3963B1B1}"/>
              </a:ext>
            </a:extLst>
          </p:cNvPr>
          <p:cNvSpPr txBox="1"/>
          <p:nvPr/>
        </p:nvSpPr>
        <p:spPr>
          <a:xfrm>
            <a:off x="5093534" y="4310426"/>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2</a:t>
            </a:r>
          </a:p>
        </p:txBody>
      </p:sp>
      <p:sp>
        <p:nvSpPr>
          <p:cNvPr id="8" name="Subtitle 2">
            <a:extLst>
              <a:ext uri="{FF2B5EF4-FFF2-40B4-BE49-F238E27FC236}">
                <a16:creationId xmlns:a16="http://schemas.microsoft.com/office/drawing/2014/main" id="{447E6D4B-CF82-2320-30CC-5F0BE4D3DA3B}"/>
              </a:ext>
            </a:extLst>
          </p:cNvPr>
          <p:cNvSpPr txBox="1">
            <a:spLocks/>
          </p:cNvSpPr>
          <p:nvPr/>
        </p:nvSpPr>
        <p:spPr>
          <a:xfrm>
            <a:off x="5093534" y="4554573"/>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9" name="TextBox 4">
            <a:extLst>
              <a:ext uri="{FF2B5EF4-FFF2-40B4-BE49-F238E27FC236}">
                <a16:creationId xmlns:a16="http://schemas.microsoft.com/office/drawing/2014/main" id="{BEDA4D92-F58C-3888-8047-7B7812543BD2}"/>
              </a:ext>
            </a:extLst>
          </p:cNvPr>
          <p:cNvSpPr txBox="1"/>
          <p:nvPr/>
        </p:nvSpPr>
        <p:spPr>
          <a:xfrm>
            <a:off x="7842830" y="5086332"/>
            <a:ext cx="838691" cy="276999"/>
          </a:xfrm>
          <a:prstGeom prst="rect">
            <a:avLst/>
          </a:prstGeom>
          <a:noFill/>
        </p:spPr>
        <p:txBody>
          <a:bodyPr wrap="none"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0" name="Subtitle 2">
            <a:extLst>
              <a:ext uri="{FF2B5EF4-FFF2-40B4-BE49-F238E27FC236}">
                <a16:creationId xmlns:a16="http://schemas.microsoft.com/office/drawing/2014/main" id="{84778409-6259-FD77-3E04-B6756A527659}"/>
              </a:ext>
            </a:extLst>
          </p:cNvPr>
          <p:cNvSpPr txBox="1">
            <a:spLocks/>
          </p:cNvSpPr>
          <p:nvPr/>
        </p:nvSpPr>
        <p:spPr>
          <a:xfrm>
            <a:off x="7842830" y="5330479"/>
            <a:ext cx="2410642" cy="646331"/>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1" name="Freeform 926">
            <a:extLst>
              <a:ext uri="{FF2B5EF4-FFF2-40B4-BE49-F238E27FC236}">
                <a16:creationId xmlns:a16="http://schemas.microsoft.com/office/drawing/2014/main" id="{300DA90B-BE16-26DC-B504-7B350BC59918}"/>
              </a:ext>
            </a:extLst>
          </p:cNvPr>
          <p:cNvSpPr>
            <a:spLocks noChangeArrowheads="1"/>
          </p:cNvSpPr>
          <p:nvPr/>
        </p:nvSpPr>
        <p:spPr bwMode="auto">
          <a:xfrm>
            <a:off x="2712957" y="2366930"/>
            <a:ext cx="461665" cy="461665"/>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2" name="Freeform 927">
            <a:extLst>
              <a:ext uri="{FF2B5EF4-FFF2-40B4-BE49-F238E27FC236}">
                <a16:creationId xmlns:a16="http://schemas.microsoft.com/office/drawing/2014/main" id="{EBAAEC8D-774E-219E-46AC-A4AB6597DFC9}"/>
              </a:ext>
            </a:extLst>
          </p:cNvPr>
          <p:cNvSpPr>
            <a:spLocks noChangeArrowheads="1"/>
          </p:cNvSpPr>
          <p:nvPr/>
        </p:nvSpPr>
        <p:spPr bwMode="auto">
          <a:xfrm>
            <a:off x="5363866" y="3669561"/>
            <a:ext cx="367697" cy="461666"/>
          </a:xfrm>
          <a:custGeom>
            <a:avLst/>
            <a:gdLst>
              <a:gd name="T0" fmla="*/ 798435 w 236178"/>
              <a:gd name="T1" fmla="*/ 3144734 h 296502"/>
              <a:gd name="T2" fmla="*/ 1998058 w 236178"/>
              <a:gd name="T3" fmla="*/ 2703379 h 296502"/>
              <a:gd name="T4" fmla="*/ 1298699 w 236178"/>
              <a:gd name="T5" fmla="*/ 2462792 h 296502"/>
              <a:gd name="T6" fmla="*/ 1298699 w 236178"/>
              <a:gd name="T7" fmla="*/ 2736271 h 296502"/>
              <a:gd name="T8" fmla="*/ 1298699 w 236178"/>
              <a:gd name="T9" fmla="*/ 2462792 h 296502"/>
              <a:gd name="T10" fmla="*/ 1860611 w 236178"/>
              <a:gd name="T11" fmla="*/ 2504153 h 296502"/>
              <a:gd name="T12" fmla="*/ 1780364 w 236178"/>
              <a:gd name="T13" fmla="*/ 2556198 h 296502"/>
              <a:gd name="T14" fmla="*/ 883792 w 236178"/>
              <a:gd name="T15" fmla="*/ 2340054 h 296502"/>
              <a:gd name="T16" fmla="*/ 769356 w 236178"/>
              <a:gd name="T17" fmla="*/ 2580216 h 296502"/>
              <a:gd name="T18" fmla="*/ 814304 w 236178"/>
              <a:gd name="T19" fmla="*/ 2360069 h 296502"/>
              <a:gd name="T20" fmla="*/ 2222502 w 236178"/>
              <a:gd name="T21" fmla="*/ 2111222 h 296502"/>
              <a:gd name="T22" fmla="*/ 2171188 w 236178"/>
              <a:gd name="T23" fmla="*/ 2194695 h 296502"/>
              <a:gd name="T24" fmla="*/ 2076426 w 236178"/>
              <a:gd name="T25" fmla="*/ 2023788 h 296502"/>
              <a:gd name="T26" fmla="*/ 555562 w 236178"/>
              <a:gd name="T27" fmla="*/ 2111222 h 296502"/>
              <a:gd name="T28" fmla="*/ 345556 w 236178"/>
              <a:gd name="T29" fmla="*/ 2178795 h 296502"/>
              <a:gd name="T30" fmla="*/ 2171451 w 236178"/>
              <a:gd name="T31" fmla="*/ 1578281 h 296502"/>
              <a:gd name="T32" fmla="*/ 2340605 w 236178"/>
              <a:gd name="T33" fmla="*/ 1678334 h 296502"/>
              <a:gd name="T34" fmla="*/ 2171451 w 236178"/>
              <a:gd name="T35" fmla="*/ 1578281 h 296502"/>
              <a:gd name="T36" fmla="*/ 447764 w 236178"/>
              <a:gd name="T37" fmla="*/ 1626302 h 296502"/>
              <a:gd name="T38" fmla="*/ 191081 w 236178"/>
              <a:gd name="T39" fmla="*/ 1626302 h 296502"/>
              <a:gd name="T40" fmla="*/ 2238282 w 236178"/>
              <a:gd name="T41" fmla="*/ 1071766 h 296502"/>
              <a:gd name="T42" fmla="*/ 2052744 w 236178"/>
              <a:gd name="T43" fmla="*/ 1227507 h 296502"/>
              <a:gd name="T44" fmla="*/ 2171188 w 236178"/>
              <a:gd name="T45" fmla="*/ 1052300 h 296502"/>
              <a:gd name="T46" fmla="*/ 571121 w 236178"/>
              <a:gd name="T47" fmla="*/ 1204150 h 296502"/>
              <a:gd name="T48" fmla="*/ 365024 w 236178"/>
              <a:gd name="T49" fmla="*/ 1137954 h 296502"/>
              <a:gd name="T50" fmla="*/ 1298047 w 236178"/>
              <a:gd name="T51" fmla="*/ 953907 h 296502"/>
              <a:gd name="T52" fmla="*/ 1681593 w 236178"/>
              <a:gd name="T53" fmla="*/ 1579968 h 296502"/>
              <a:gd name="T54" fmla="*/ 1298047 w 236178"/>
              <a:gd name="T55" fmla="*/ 1678413 h 296502"/>
              <a:gd name="T56" fmla="*/ 1298047 w 236178"/>
              <a:gd name="T57" fmla="*/ 953907 h 296502"/>
              <a:gd name="T58" fmla="*/ 1780364 w 236178"/>
              <a:gd name="T59" fmla="*/ 891210 h 296502"/>
              <a:gd name="T60" fmla="*/ 1696297 w 236178"/>
              <a:gd name="T61" fmla="*/ 843157 h 296502"/>
              <a:gd name="T62" fmla="*/ 744833 w 236178"/>
              <a:gd name="T63" fmla="*/ 675059 h 296502"/>
              <a:gd name="T64" fmla="*/ 883792 w 236178"/>
              <a:gd name="T65" fmla="*/ 911223 h 296502"/>
              <a:gd name="T66" fmla="*/ 728494 w 236178"/>
              <a:gd name="T67" fmla="*/ 743105 h 296502"/>
              <a:gd name="T68" fmla="*/ 1350821 w 236178"/>
              <a:gd name="T69" fmla="*/ 583560 h 296502"/>
              <a:gd name="T70" fmla="*/ 1250602 w 236178"/>
              <a:gd name="T71" fmla="*/ 748080 h 296502"/>
              <a:gd name="T72" fmla="*/ 1290080 w 236178"/>
              <a:gd name="T73" fmla="*/ 425601 h 296502"/>
              <a:gd name="T74" fmla="*/ 2481839 w 236178"/>
              <a:gd name="T75" fmla="*/ 1619664 h 296502"/>
              <a:gd name="T76" fmla="*/ 652908 w 236178"/>
              <a:gd name="T77" fmla="*/ 212813 h 296502"/>
              <a:gd name="T78" fmla="*/ 1998058 w 236178"/>
              <a:gd name="T79" fmla="*/ 539874 h 296502"/>
              <a:gd name="T80" fmla="*/ 798435 w 236178"/>
              <a:gd name="T81" fmla="*/ 98520 h 296502"/>
              <a:gd name="T82" fmla="*/ 2025594 w 236178"/>
              <a:gd name="T83" fmla="*/ 193122 h 296502"/>
              <a:gd name="T84" fmla="*/ 2116055 w 236178"/>
              <a:gd name="T85" fmla="*/ 2616686 h 296502"/>
              <a:gd name="T86" fmla="*/ 798435 w 236178"/>
              <a:gd name="T87" fmla="*/ 3239316 h 296502"/>
              <a:gd name="T88" fmla="*/ 0 w 236178"/>
              <a:gd name="T89" fmla="*/ 1619664 h 296502"/>
              <a:gd name="T90" fmla="*/ 798435 w 236178"/>
              <a:gd name="T91" fmla="*/ 0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3562" y="247446"/>
                </a:moveTo>
                <a:lnTo>
                  <a:pt x="59673" y="277024"/>
                </a:lnTo>
                <a:cubicBezTo>
                  <a:pt x="60752" y="283517"/>
                  <a:pt x="66503" y="287845"/>
                  <a:pt x="72974" y="287845"/>
                </a:cubicBezTo>
                <a:lnTo>
                  <a:pt x="163204" y="287845"/>
                </a:lnTo>
                <a:cubicBezTo>
                  <a:pt x="169674" y="287845"/>
                  <a:pt x="175066" y="283517"/>
                  <a:pt x="176145" y="277024"/>
                </a:cubicBezTo>
                <a:lnTo>
                  <a:pt x="182615" y="247446"/>
                </a:lnTo>
                <a:cubicBezTo>
                  <a:pt x="163923" y="259710"/>
                  <a:pt x="141635" y="266924"/>
                  <a:pt x="117909" y="266924"/>
                </a:cubicBezTo>
                <a:cubicBezTo>
                  <a:pt x="94183" y="266924"/>
                  <a:pt x="72255" y="259710"/>
                  <a:pt x="53562" y="247446"/>
                </a:cubicBezTo>
                <a:close/>
                <a:moveTo>
                  <a:pt x="118696" y="225425"/>
                </a:moveTo>
                <a:cubicBezTo>
                  <a:pt x="121261" y="225425"/>
                  <a:pt x="123459" y="227266"/>
                  <a:pt x="123459" y="230211"/>
                </a:cubicBezTo>
                <a:lnTo>
                  <a:pt x="123459" y="245671"/>
                </a:lnTo>
                <a:cubicBezTo>
                  <a:pt x="123459" y="248248"/>
                  <a:pt x="121261" y="250457"/>
                  <a:pt x="118696" y="250457"/>
                </a:cubicBezTo>
                <a:cubicBezTo>
                  <a:pt x="116498" y="250457"/>
                  <a:pt x="114300" y="248248"/>
                  <a:pt x="114300" y="245671"/>
                </a:cubicBezTo>
                <a:lnTo>
                  <a:pt x="114300" y="230211"/>
                </a:lnTo>
                <a:cubicBezTo>
                  <a:pt x="114300" y="227266"/>
                  <a:pt x="116498" y="225425"/>
                  <a:pt x="118696" y="225425"/>
                </a:cubicBezTo>
                <a:close/>
                <a:moveTo>
                  <a:pt x="156781" y="214190"/>
                </a:moveTo>
                <a:cubicBezTo>
                  <a:pt x="158528" y="212725"/>
                  <a:pt x="161322" y="213458"/>
                  <a:pt x="162719" y="216022"/>
                </a:cubicBezTo>
                <a:lnTo>
                  <a:pt x="170053" y="229211"/>
                </a:lnTo>
                <a:cubicBezTo>
                  <a:pt x="171101" y="231409"/>
                  <a:pt x="170752" y="233974"/>
                  <a:pt x="168656" y="235439"/>
                </a:cubicBezTo>
                <a:cubicBezTo>
                  <a:pt x="167608" y="235805"/>
                  <a:pt x="167259" y="236172"/>
                  <a:pt x="166211" y="236172"/>
                </a:cubicBezTo>
                <a:cubicBezTo>
                  <a:pt x="164814" y="236172"/>
                  <a:pt x="163417" y="235439"/>
                  <a:pt x="162719" y="233974"/>
                </a:cubicBezTo>
                <a:lnTo>
                  <a:pt x="155035" y="220418"/>
                </a:lnTo>
                <a:cubicBezTo>
                  <a:pt x="153987" y="218220"/>
                  <a:pt x="154686" y="215290"/>
                  <a:pt x="156781" y="214190"/>
                </a:cubicBezTo>
                <a:close/>
                <a:moveTo>
                  <a:pt x="80775" y="214190"/>
                </a:moveTo>
                <a:cubicBezTo>
                  <a:pt x="83016" y="215290"/>
                  <a:pt x="83763" y="218220"/>
                  <a:pt x="82269" y="220418"/>
                </a:cubicBezTo>
                <a:lnTo>
                  <a:pt x="74425" y="233974"/>
                </a:lnTo>
                <a:cubicBezTo>
                  <a:pt x="73678" y="235439"/>
                  <a:pt x="71810" y="236172"/>
                  <a:pt x="70316" y="236172"/>
                </a:cubicBezTo>
                <a:cubicBezTo>
                  <a:pt x="69569" y="236172"/>
                  <a:pt x="68822" y="235805"/>
                  <a:pt x="68075" y="235439"/>
                </a:cubicBezTo>
                <a:cubicBezTo>
                  <a:pt x="65834" y="233974"/>
                  <a:pt x="65087" y="231409"/>
                  <a:pt x="66581" y="229211"/>
                </a:cubicBezTo>
                <a:lnTo>
                  <a:pt x="74425" y="216022"/>
                </a:lnTo>
                <a:cubicBezTo>
                  <a:pt x="75546" y="213458"/>
                  <a:pt x="78534" y="212725"/>
                  <a:pt x="80775" y="214190"/>
                </a:cubicBezTo>
                <a:close/>
                <a:moveTo>
                  <a:pt x="189778" y="185241"/>
                </a:moveTo>
                <a:lnTo>
                  <a:pt x="203128" y="193245"/>
                </a:lnTo>
                <a:cubicBezTo>
                  <a:pt x="205293" y="194337"/>
                  <a:pt x="206014" y="197247"/>
                  <a:pt x="204571" y="199430"/>
                </a:cubicBezTo>
                <a:cubicBezTo>
                  <a:pt x="203850" y="200885"/>
                  <a:pt x="202406" y="201249"/>
                  <a:pt x="200963" y="201249"/>
                </a:cubicBezTo>
                <a:cubicBezTo>
                  <a:pt x="199881" y="201249"/>
                  <a:pt x="199520" y="201249"/>
                  <a:pt x="198438" y="200885"/>
                </a:cubicBezTo>
                <a:lnTo>
                  <a:pt x="185088" y="193245"/>
                </a:lnTo>
                <a:cubicBezTo>
                  <a:pt x="182923" y="191790"/>
                  <a:pt x="182562" y="189243"/>
                  <a:pt x="183645" y="186697"/>
                </a:cubicBezTo>
                <a:cubicBezTo>
                  <a:pt x="185088" y="184878"/>
                  <a:pt x="187613" y="184150"/>
                  <a:pt x="189778" y="185241"/>
                </a:cubicBezTo>
                <a:close/>
                <a:moveTo>
                  <a:pt x="46156" y="185241"/>
                </a:moveTo>
                <a:cubicBezTo>
                  <a:pt x="48643" y="184150"/>
                  <a:pt x="51131" y="184878"/>
                  <a:pt x="52198" y="186697"/>
                </a:cubicBezTo>
                <a:cubicBezTo>
                  <a:pt x="53619" y="189243"/>
                  <a:pt x="52908" y="191790"/>
                  <a:pt x="50776" y="193245"/>
                </a:cubicBezTo>
                <a:lnTo>
                  <a:pt x="37626" y="200885"/>
                </a:lnTo>
                <a:cubicBezTo>
                  <a:pt x="36915" y="201249"/>
                  <a:pt x="36204" y="201249"/>
                  <a:pt x="35493" y="201249"/>
                </a:cubicBezTo>
                <a:cubicBezTo>
                  <a:pt x="33716" y="201249"/>
                  <a:pt x="32650" y="200885"/>
                  <a:pt x="31583" y="199430"/>
                </a:cubicBezTo>
                <a:cubicBezTo>
                  <a:pt x="30162" y="197247"/>
                  <a:pt x="31228" y="194337"/>
                  <a:pt x="33361" y="193245"/>
                </a:cubicBezTo>
                <a:lnTo>
                  <a:pt x="46156" y="185241"/>
                </a:lnTo>
                <a:close/>
                <a:moveTo>
                  <a:pt x="198461" y="144463"/>
                </a:moveTo>
                <a:lnTo>
                  <a:pt x="213922" y="144463"/>
                </a:lnTo>
                <a:cubicBezTo>
                  <a:pt x="216498" y="144463"/>
                  <a:pt x="218707" y="146295"/>
                  <a:pt x="218707" y="148859"/>
                </a:cubicBezTo>
                <a:cubicBezTo>
                  <a:pt x="218707" y="151424"/>
                  <a:pt x="216498" y="153622"/>
                  <a:pt x="213922" y="153622"/>
                </a:cubicBezTo>
                <a:lnTo>
                  <a:pt x="198461" y="153622"/>
                </a:lnTo>
                <a:cubicBezTo>
                  <a:pt x="195884" y="153622"/>
                  <a:pt x="193675" y="151424"/>
                  <a:pt x="193675" y="148859"/>
                </a:cubicBezTo>
                <a:cubicBezTo>
                  <a:pt x="193675" y="146295"/>
                  <a:pt x="195884" y="144463"/>
                  <a:pt x="198461" y="144463"/>
                </a:cubicBezTo>
                <a:close/>
                <a:moveTo>
                  <a:pt x="21664" y="144463"/>
                </a:moveTo>
                <a:lnTo>
                  <a:pt x="36722" y="144463"/>
                </a:lnTo>
                <a:cubicBezTo>
                  <a:pt x="39174" y="144463"/>
                  <a:pt x="40925" y="146295"/>
                  <a:pt x="40925" y="148859"/>
                </a:cubicBezTo>
                <a:cubicBezTo>
                  <a:pt x="40925" y="151424"/>
                  <a:pt x="39174" y="153622"/>
                  <a:pt x="36722" y="153622"/>
                </a:cubicBezTo>
                <a:lnTo>
                  <a:pt x="21664" y="153622"/>
                </a:lnTo>
                <a:cubicBezTo>
                  <a:pt x="19213" y="153622"/>
                  <a:pt x="17462" y="151424"/>
                  <a:pt x="17462" y="148859"/>
                </a:cubicBezTo>
                <a:cubicBezTo>
                  <a:pt x="17462" y="146295"/>
                  <a:pt x="19213" y="144463"/>
                  <a:pt x="21664" y="144463"/>
                </a:cubicBezTo>
                <a:close/>
                <a:moveTo>
                  <a:pt x="198438" y="96319"/>
                </a:moveTo>
                <a:cubicBezTo>
                  <a:pt x="200602" y="95250"/>
                  <a:pt x="203489" y="95963"/>
                  <a:pt x="204571" y="98101"/>
                </a:cubicBezTo>
                <a:cubicBezTo>
                  <a:pt x="206014" y="100239"/>
                  <a:pt x="205293" y="103091"/>
                  <a:pt x="203128" y="104160"/>
                </a:cubicBezTo>
                <a:lnTo>
                  <a:pt x="189778" y="111644"/>
                </a:lnTo>
                <a:cubicBezTo>
                  <a:pt x="189057" y="112000"/>
                  <a:pt x="188335" y="112357"/>
                  <a:pt x="187613" y="112357"/>
                </a:cubicBezTo>
                <a:cubicBezTo>
                  <a:pt x="186170" y="112357"/>
                  <a:pt x="184727" y="111644"/>
                  <a:pt x="183645" y="110218"/>
                </a:cubicBezTo>
                <a:cubicBezTo>
                  <a:pt x="182562" y="108080"/>
                  <a:pt x="182923" y="105229"/>
                  <a:pt x="185088" y="104160"/>
                </a:cubicBezTo>
                <a:lnTo>
                  <a:pt x="198438" y="96319"/>
                </a:lnTo>
                <a:close/>
                <a:moveTo>
                  <a:pt x="37626" y="96319"/>
                </a:moveTo>
                <a:lnTo>
                  <a:pt x="50776" y="104160"/>
                </a:lnTo>
                <a:cubicBezTo>
                  <a:pt x="52908" y="105229"/>
                  <a:pt x="53619" y="108080"/>
                  <a:pt x="52198" y="110218"/>
                </a:cubicBezTo>
                <a:cubicBezTo>
                  <a:pt x="51487" y="111644"/>
                  <a:pt x="50065" y="112357"/>
                  <a:pt x="48643" y="112357"/>
                </a:cubicBezTo>
                <a:cubicBezTo>
                  <a:pt x="47577" y="112357"/>
                  <a:pt x="47222" y="112000"/>
                  <a:pt x="46156" y="111644"/>
                </a:cubicBezTo>
                <a:lnTo>
                  <a:pt x="33361" y="104160"/>
                </a:lnTo>
                <a:cubicBezTo>
                  <a:pt x="31228" y="103091"/>
                  <a:pt x="30162" y="100239"/>
                  <a:pt x="31583" y="98101"/>
                </a:cubicBezTo>
                <a:cubicBezTo>
                  <a:pt x="33005" y="95963"/>
                  <a:pt x="35493" y="95250"/>
                  <a:pt x="37626" y="96319"/>
                </a:cubicBezTo>
                <a:close/>
                <a:moveTo>
                  <a:pt x="118637" y="87313"/>
                </a:moveTo>
                <a:cubicBezTo>
                  <a:pt x="121167" y="87313"/>
                  <a:pt x="123335" y="89115"/>
                  <a:pt x="123335" y="91638"/>
                </a:cubicBezTo>
                <a:lnTo>
                  <a:pt x="123335" y="144617"/>
                </a:lnTo>
                <a:lnTo>
                  <a:pt x="153691" y="144617"/>
                </a:lnTo>
                <a:cubicBezTo>
                  <a:pt x="156221" y="144617"/>
                  <a:pt x="158389" y="146420"/>
                  <a:pt x="158389" y="148942"/>
                </a:cubicBezTo>
                <a:cubicBezTo>
                  <a:pt x="158389" y="151465"/>
                  <a:pt x="156221" y="153628"/>
                  <a:pt x="153691" y="153628"/>
                </a:cubicBezTo>
                <a:lnTo>
                  <a:pt x="118637" y="153628"/>
                </a:lnTo>
                <a:cubicBezTo>
                  <a:pt x="116469" y="153628"/>
                  <a:pt x="114300" y="151465"/>
                  <a:pt x="114300" y="148942"/>
                </a:cubicBezTo>
                <a:lnTo>
                  <a:pt x="114300" y="91638"/>
                </a:lnTo>
                <a:cubicBezTo>
                  <a:pt x="114300" y="89115"/>
                  <a:pt x="116469" y="87313"/>
                  <a:pt x="118637" y="87313"/>
                </a:cubicBezTo>
                <a:close/>
                <a:moveTo>
                  <a:pt x="168656" y="61790"/>
                </a:moveTo>
                <a:cubicBezTo>
                  <a:pt x="170752" y="62889"/>
                  <a:pt x="171101" y="65820"/>
                  <a:pt x="170053" y="68018"/>
                </a:cubicBezTo>
                <a:lnTo>
                  <a:pt x="162719" y="81574"/>
                </a:lnTo>
                <a:cubicBezTo>
                  <a:pt x="161671" y="83039"/>
                  <a:pt x="160274" y="83772"/>
                  <a:pt x="158877" y="83772"/>
                </a:cubicBezTo>
                <a:cubicBezTo>
                  <a:pt x="158178" y="83772"/>
                  <a:pt x="157480" y="83772"/>
                  <a:pt x="156781" y="83405"/>
                </a:cubicBezTo>
                <a:cubicBezTo>
                  <a:pt x="154686" y="81940"/>
                  <a:pt x="153987" y="79375"/>
                  <a:pt x="155035" y="77177"/>
                </a:cubicBezTo>
                <a:lnTo>
                  <a:pt x="162719" y="63622"/>
                </a:lnTo>
                <a:cubicBezTo>
                  <a:pt x="163767" y="61424"/>
                  <a:pt x="166211" y="60325"/>
                  <a:pt x="168656" y="61790"/>
                </a:cubicBezTo>
                <a:close/>
                <a:moveTo>
                  <a:pt x="68075" y="61790"/>
                </a:moveTo>
                <a:cubicBezTo>
                  <a:pt x="70316" y="60325"/>
                  <a:pt x="73304" y="61424"/>
                  <a:pt x="74425" y="63622"/>
                </a:cubicBezTo>
                <a:lnTo>
                  <a:pt x="82269" y="77177"/>
                </a:lnTo>
                <a:cubicBezTo>
                  <a:pt x="83763" y="79375"/>
                  <a:pt x="83016" y="81940"/>
                  <a:pt x="80775" y="83405"/>
                </a:cubicBezTo>
                <a:cubicBezTo>
                  <a:pt x="80028" y="83772"/>
                  <a:pt x="79281" y="83772"/>
                  <a:pt x="78160" y="83772"/>
                </a:cubicBezTo>
                <a:cubicBezTo>
                  <a:pt x="76666" y="83772"/>
                  <a:pt x="75172" y="83039"/>
                  <a:pt x="74425" y="81574"/>
                </a:cubicBezTo>
                <a:lnTo>
                  <a:pt x="66581" y="68018"/>
                </a:lnTo>
                <a:cubicBezTo>
                  <a:pt x="65087" y="65820"/>
                  <a:pt x="65834" y="62889"/>
                  <a:pt x="68075" y="61790"/>
                </a:cubicBezTo>
                <a:close/>
                <a:moveTo>
                  <a:pt x="118696" y="49213"/>
                </a:moveTo>
                <a:cubicBezTo>
                  <a:pt x="121261" y="49213"/>
                  <a:pt x="123459" y="50964"/>
                  <a:pt x="123459" y="53415"/>
                </a:cubicBezTo>
                <a:lnTo>
                  <a:pt x="123459" y="68473"/>
                </a:lnTo>
                <a:cubicBezTo>
                  <a:pt x="123459" y="70924"/>
                  <a:pt x="121261" y="72675"/>
                  <a:pt x="118696" y="72675"/>
                </a:cubicBezTo>
                <a:cubicBezTo>
                  <a:pt x="116498" y="72675"/>
                  <a:pt x="114300" y="70924"/>
                  <a:pt x="114300" y="68473"/>
                </a:cubicBezTo>
                <a:lnTo>
                  <a:pt x="114300" y="53415"/>
                </a:lnTo>
                <a:cubicBezTo>
                  <a:pt x="114300" y="50964"/>
                  <a:pt x="116498" y="49213"/>
                  <a:pt x="118696" y="49213"/>
                </a:cubicBezTo>
                <a:close/>
                <a:moveTo>
                  <a:pt x="117909" y="38956"/>
                </a:moveTo>
                <a:cubicBezTo>
                  <a:pt x="57876" y="38956"/>
                  <a:pt x="8987" y="88013"/>
                  <a:pt x="8987" y="148251"/>
                </a:cubicBezTo>
                <a:cubicBezTo>
                  <a:pt x="8987" y="208850"/>
                  <a:pt x="57876" y="257907"/>
                  <a:pt x="117909" y="257907"/>
                </a:cubicBezTo>
                <a:cubicBezTo>
                  <a:pt x="177942" y="257907"/>
                  <a:pt x="226831" y="208850"/>
                  <a:pt x="226831" y="148251"/>
                </a:cubicBezTo>
                <a:cubicBezTo>
                  <a:pt x="226831" y="88013"/>
                  <a:pt x="177942" y="38956"/>
                  <a:pt x="117909" y="38956"/>
                </a:cubicBezTo>
                <a:close/>
                <a:moveTo>
                  <a:pt x="72974" y="9018"/>
                </a:moveTo>
                <a:cubicBezTo>
                  <a:pt x="66503" y="9018"/>
                  <a:pt x="60752" y="13346"/>
                  <a:pt x="59673" y="19478"/>
                </a:cubicBezTo>
                <a:lnTo>
                  <a:pt x="53562" y="49417"/>
                </a:lnTo>
                <a:cubicBezTo>
                  <a:pt x="72255" y="37153"/>
                  <a:pt x="94183" y="29939"/>
                  <a:pt x="117909" y="29939"/>
                </a:cubicBezTo>
                <a:cubicBezTo>
                  <a:pt x="141635" y="29939"/>
                  <a:pt x="163923" y="37153"/>
                  <a:pt x="182615" y="49417"/>
                </a:cubicBezTo>
                <a:lnTo>
                  <a:pt x="176145" y="19478"/>
                </a:lnTo>
                <a:cubicBezTo>
                  <a:pt x="175066" y="13346"/>
                  <a:pt x="169674" y="9018"/>
                  <a:pt x="163204" y="9018"/>
                </a:cubicBezTo>
                <a:lnTo>
                  <a:pt x="72974" y="9018"/>
                </a:lnTo>
                <a:close/>
                <a:moveTo>
                  <a:pt x="72974" y="0"/>
                </a:moveTo>
                <a:lnTo>
                  <a:pt x="163204" y="0"/>
                </a:lnTo>
                <a:cubicBezTo>
                  <a:pt x="173988" y="0"/>
                  <a:pt x="182975" y="7575"/>
                  <a:pt x="185132" y="17675"/>
                </a:cubicBezTo>
                <a:lnTo>
                  <a:pt x="193400" y="57353"/>
                </a:lnTo>
                <a:cubicBezTo>
                  <a:pt x="219282" y="78995"/>
                  <a:pt x="236178" y="111820"/>
                  <a:pt x="236178" y="148251"/>
                </a:cubicBezTo>
                <a:cubicBezTo>
                  <a:pt x="236178" y="185043"/>
                  <a:pt x="219282" y="217507"/>
                  <a:pt x="193400" y="239510"/>
                </a:cubicBezTo>
                <a:lnTo>
                  <a:pt x="185132" y="278828"/>
                </a:lnTo>
                <a:cubicBezTo>
                  <a:pt x="182975" y="289288"/>
                  <a:pt x="173988" y="296502"/>
                  <a:pt x="163204" y="296502"/>
                </a:cubicBezTo>
                <a:lnTo>
                  <a:pt x="72974" y="296502"/>
                </a:lnTo>
                <a:cubicBezTo>
                  <a:pt x="62190" y="296502"/>
                  <a:pt x="53203" y="289288"/>
                  <a:pt x="51046" y="278828"/>
                </a:cubicBezTo>
                <a:lnTo>
                  <a:pt x="42778" y="239510"/>
                </a:lnTo>
                <a:cubicBezTo>
                  <a:pt x="16536" y="217507"/>
                  <a:pt x="0" y="185043"/>
                  <a:pt x="0" y="148251"/>
                </a:cubicBezTo>
                <a:cubicBezTo>
                  <a:pt x="0" y="111820"/>
                  <a:pt x="16536" y="78995"/>
                  <a:pt x="42778" y="57353"/>
                </a:cubicBezTo>
                <a:lnTo>
                  <a:pt x="51046" y="17675"/>
                </a:lnTo>
                <a:cubicBezTo>
                  <a:pt x="53203" y="7575"/>
                  <a:pt x="62190" y="0"/>
                  <a:pt x="72974"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3" name="Freeform 928">
            <a:extLst>
              <a:ext uri="{FF2B5EF4-FFF2-40B4-BE49-F238E27FC236}">
                <a16:creationId xmlns:a16="http://schemas.microsoft.com/office/drawing/2014/main" id="{B2369696-8766-7F0E-B6A4-0C5A32C0A6BB}"/>
              </a:ext>
            </a:extLst>
          </p:cNvPr>
          <p:cNvSpPr>
            <a:spLocks noChangeArrowheads="1"/>
          </p:cNvSpPr>
          <p:nvPr/>
        </p:nvSpPr>
        <p:spPr bwMode="auto">
          <a:xfrm>
            <a:off x="8119959" y="4489140"/>
            <a:ext cx="461665" cy="461665"/>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14" name="TextBox 24">
            <a:extLst>
              <a:ext uri="{FF2B5EF4-FFF2-40B4-BE49-F238E27FC236}">
                <a16:creationId xmlns:a16="http://schemas.microsoft.com/office/drawing/2014/main" id="{82E775E0-BBA3-2F37-8F4C-FF9108A237FA}"/>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15" name="Conector recto 9">
            <a:extLst>
              <a:ext uri="{FF2B5EF4-FFF2-40B4-BE49-F238E27FC236}">
                <a16:creationId xmlns:a16="http://schemas.microsoft.com/office/drawing/2014/main" id="{763069B8-44E2-F5CD-D340-4BF5D9E60B55}"/>
              </a:ext>
            </a:extLst>
          </p:cNvPr>
          <p:cNvCxnSpPr>
            <a:cxnSpLocks/>
          </p:cNvCxnSpPr>
          <p:nvPr/>
        </p:nvCxnSpPr>
        <p:spPr>
          <a:xfrm>
            <a:off x="560438" y="1868343"/>
            <a:ext cx="112600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24">
            <a:extLst>
              <a:ext uri="{FF2B5EF4-FFF2-40B4-BE49-F238E27FC236}">
                <a16:creationId xmlns:a16="http://schemas.microsoft.com/office/drawing/2014/main" id="{5C9783DE-A020-1000-2035-315E6513DCF9}"/>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17" name="Footer Placeholder 16">
            <a:extLst>
              <a:ext uri="{FF2B5EF4-FFF2-40B4-BE49-F238E27FC236}">
                <a16:creationId xmlns:a16="http://schemas.microsoft.com/office/drawing/2014/main" id="{01FB41EC-3E92-1078-175A-58B35153E924}"/>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34462655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Objeto 21" hidden="1">
            <a:extLst>
              <a:ext uri="{FF2B5EF4-FFF2-40B4-BE49-F238E27FC236}">
                <a16:creationId xmlns:a16="http://schemas.microsoft.com/office/drawing/2014/main" id="{D29F06A8-E992-2218-FA19-10E3EC5A40F2}"/>
              </a:ext>
            </a:extLst>
          </p:cNvPr>
          <p:cNvGraphicFramePr>
            <a:graphicFrameLocks noChangeAspect="1"/>
          </p:cNvGraphicFramePr>
          <p:nvPr>
            <p:custDataLst>
              <p:tags r:id="rId1"/>
            </p:custDataLst>
            <p:extLst>
              <p:ext uri="{D42A27DB-BD31-4B8C-83A1-F6EECF244321}">
                <p14:modId xmlns:p14="http://schemas.microsoft.com/office/powerpoint/2010/main" val="411174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22" name="Objeto 21" hidden="1">
                        <a:extLst>
                          <a:ext uri="{FF2B5EF4-FFF2-40B4-BE49-F238E27FC236}">
                            <a16:creationId xmlns:a16="http://schemas.microsoft.com/office/drawing/2014/main" id="{D29F06A8-E992-2218-FA19-10E3EC5A4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6E55383-171E-B845-1599-0F9AD5E7C222}"/>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C84D2662-37E4-410E-59E4-CD509FAD7914}"/>
              </a:ext>
            </a:extLst>
          </p:cNvPr>
          <p:cNvSpPr>
            <a:spLocks noGrp="1"/>
          </p:cNvSpPr>
          <p:nvPr>
            <p:ph type="title"/>
          </p:nvPr>
        </p:nvSpPr>
        <p:spPr/>
        <p:txBody>
          <a:bodyPr vert="horz"/>
          <a:lstStyle/>
          <a:p>
            <a:r>
              <a:rPr lang="en-US" dirty="0"/>
              <a:t>Template - Evolution Chart</a:t>
            </a:r>
          </a:p>
        </p:txBody>
      </p:sp>
      <p:graphicFrame>
        <p:nvGraphicFramePr>
          <p:cNvPr id="5" name="Chart 3">
            <a:extLst>
              <a:ext uri="{FF2B5EF4-FFF2-40B4-BE49-F238E27FC236}">
                <a16:creationId xmlns:a16="http://schemas.microsoft.com/office/drawing/2014/main" id="{631324A9-84D4-AF2A-5151-F66D3697716E}"/>
              </a:ext>
            </a:extLst>
          </p:cNvPr>
          <p:cNvGraphicFramePr/>
          <p:nvPr>
            <p:extLst>
              <p:ext uri="{D42A27DB-BD31-4B8C-83A1-F6EECF244321}">
                <p14:modId xmlns:p14="http://schemas.microsoft.com/office/powerpoint/2010/main" val="3257058434"/>
              </p:ext>
            </p:extLst>
          </p:nvPr>
        </p:nvGraphicFramePr>
        <p:xfrm>
          <a:off x="371475" y="2604978"/>
          <a:ext cx="11433174" cy="3652746"/>
        </p:xfrm>
        <a:graphic>
          <a:graphicData uri="http://schemas.openxmlformats.org/drawingml/2006/chart">
            <c:chart xmlns:c="http://schemas.openxmlformats.org/drawingml/2006/chart" xmlns:r="http://schemas.openxmlformats.org/officeDocument/2006/relationships" r:id="rId5"/>
          </a:graphicData>
        </a:graphic>
      </p:graphicFrame>
      <p:sp>
        <p:nvSpPr>
          <p:cNvPr id="7" name="Shape 2526">
            <a:extLst>
              <a:ext uri="{FF2B5EF4-FFF2-40B4-BE49-F238E27FC236}">
                <a16:creationId xmlns:a16="http://schemas.microsoft.com/office/drawing/2014/main" id="{0CB8153B-6620-DDE2-5CD0-02929A870D2F}"/>
              </a:ext>
            </a:extLst>
          </p:cNvPr>
          <p:cNvSpPr>
            <a:spLocks noChangeAspect="1"/>
          </p:cNvSpPr>
          <p:nvPr/>
        </p:nvSpPr>
        <p:spPr>
          <a:xfrm>
            <a:off x="11016278" y="5000119"/>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8" name="Shape 2583">
            <a:extLst>
              <a:ext uri="{FF2B5EF4-FFF2-40B4-BE49-F238E27FC236}">
                <a16:creationId xmlns:a16="http://schemas.microsoft.com/office/drawing/2014/main" id="{1874517B-FC6F-4208-BE9C-98C155E0EF50}"/>
              </a:ext>
            </a:extLst>
          </p:cNvPr>
          <p:cNvSpPr>
            <a:spLocks noChangeAspect="1"/>
          </p:cNvSpPr>
          <p:nvPr/>
        </p:nvSpPr>
        <p:spPr>
          <a:xfrm>
            <a:off x="8818574" y="4447298"/>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9" name="Shape 2591">
            <a:extLst>
              <a:ext uri="{FF2B5EF4-FFF2-40B4-BE49-F238E27FC236}">
                <a16:creationId xmlns:a16="http://schemas.microsoft.com/office/drawing/2014/main" id="{BF7013D5-A5FC-460D-90E6-479774E92EC8}"/>
              </a:ext>
            </a:extLst>
          </p:cNvPr>
          <p:cNvSpPr>
            <a:spLocks noChangeAspect="1"/>
          </p:cNvSpPr>
          <p:nvPr/>
        </p:nvSpPr>
        <p:spPr>
          <a:xfrm>
            <a:off x="4435186" y="3997927"/>
            <a:ext cx="352600" cy="3526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0" name="Shape 2605">
            <a:extLst>
              <a:ext uri="{FF2B5EF4-FFF2-40B4-BE49-F238E27FC236}">
                <a16:creationId xmlns:a16="http://schemas.microsoft.com/office/drawing/2014/main" id="{6DD19E07-D301-D5AB-EF07-A48F7861EE52}"/>
              </a:ext>
            </a:extLst>
          </p:cNvPr>
          <p:cNvSpPr>
            <a:spLocks noChangeAspect="1"/>
          </p:cNvSpPr>
          <p:nvPr/>
        </p:nvSpPr>
        <p:spPr>
          <a:xfrm>
            <a:off x="6611557" y="5085181"/>
            <a:ext cx="352767" cy="352758"/>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1" name="Shape 2616">
            <a:extLst>
              <a:ext uri="{FF2B5EF4-FFF2-40B4-BE49-F238E27FC236}">
                <a16:creationId xmlns:a16="http://schemas.microsoft.com/office/drawing/2014/main" id="{D97D4426-80C1-1E8D-2431-3AFA8C2FB667}"/>
              </a:ext>
            </a:extLst>
          </p:cNvPr>
          <p:cNvSpPr>
            <a:spLocks noChangeAspect="1"/>
          </p:cNvSpPr>
          <p:nvPr/>
        </p:nvSpPr>
        <p:spPr>
          <a:xfrm>
            <a:off x="2353016" y="2854786"/>
            <a:ext cx="352600" cy="320624"/>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b="1" dirty="0">
              <a:latin typeface="Open Sans SemiBold" charset="0"/>
              <a:ea typeface="Open Sans SemiBold" charset="0"/>
              <a:cs typeface="Open Sans SemiBold" charset="0"/>
            </a:endParaRPr>
          </a:p>
        </p:txBody>
      </p:sp>
      <p:sp>
        <p:nvSpPr>
          <p:cNvPr id="12" name="TextBox 4">
            <a:extLst>
              <a:ext uri="{FF2B5EF4-FFF2-40B4-BE49-F238E27FC236}">
                <a16:creationId xmlns:a16="http://schemas.microsoft.com/office/drawing/2014/main" id="{27B9588F-7B9D-5CFA-7F02-4021F9BF867F}"/>
              </a:ext>
            </a:extLst>
          </p:cNvPr>
          <p:cNvSpPr txBox="1"/>
          <p:nvPr/>
        </p:nvSpPr>
        <p:spPr>
          <a:xfrm>
            <a:off x="123245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13" name="Subtitle 2">
            <a:extLst>
              <a:ext uri="{FF2B5EF4-FFF2-40B4-BE49-F238E27FC236}">
                <a16:creationId xmlns:a16="http://schemas.microsoft.com/office/drawing/2014/main" id="{E1052DF2-F963-23E2-33CC-6CC097597114}"/>
              </a:ext>
            </a:extLst>
          </p:cNvPr>
          <p:cNvSpPr txBox="1">
            <a:spLocks/>
          </p:cNvSpPr>
          <p:nvPr/>
        </p:nvSpPr>
        <p:spPr>
          <a:xfrm>
            <a:off x="1232452"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4" name="TextBox 8">
            <a:extLst>
              <a:ext uri="{FF2B5EF4-FFF2-40B4-BE49-F238E27FC236}">
                <a16:creationId xmlns:a16="http://schemas.microsoft.com/office/drawing/2014/main" id="{30E3D531-7371-46A2-6C56-F522047D544B}"/>
              </a:ext>
            </a:extLst>
          </p:cNvPr>
          <p:cNvSpPr txBox="1"/>
          <p:nvPr/>
        </p:nvSpPr>
        <p:spPr>
          <a:xfrm>
            <a:off x="336929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15" name="Subtitle 2">
            <a:extLst>
              <a:ext uri="{FF2B5EF4-FFF2-40B4-BE49-F238E27FC236}">
                <a16:creationId xmlns:a16="http://schemas.microsoft.com/office/drawing/2014/main" id="{9FC3A089-AEEA-333E-E567-C67FDF56FABE}"/>
              </a:ext>
            </a:extLst>
          </p:cNvPr>
          <p:cNvSpPr txBox="1">
            <a:spLocks/>
          </p:cNvSpPr>
          <p:nvPr/>
        </p:nvSpPr>
        <p:spPr>
          <a:xfrm>
            <a:off x="3369291"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6" name="TextBox 11">
            <a:extLst>
              <a:ext uri="{FF2B5EF4-FFF2-40B4-BE49-F238E27FC236}">
                <a16:creationId xmlns:a16="http://schemas.microsoft.com/office/drawing/2014/main" id="{D2E6E2F3-3C5E-D53C-529E-4511F795BBE7}"/>
              </a:ext>
            </a:extLst>
          </p:cNvPr>
          <p:cNvSpPr txBox="1"/>
          <p:nvPr/>
        </p:nvSpPr>
        <p:spPr>
          <a:xfrm>
            <a:off x="5506132"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17" name="Subtitle 2">
            <a:extLst>
              <a:ext uri="{FF2B5EF4-FFF2-40B4-BE49-F238E27FC236}">
                <a16:creationId xmlns:a16="http://schemas.microsoft.com/office/drawing/2014/main" id="{DBE0DB6D-01B5-59D7-C43D-7ACDF6FD491E}"/>
              </a:ext>
            </a:extLst>
          </p:cNvPr>
          <p:cNvSpPr txBox="1">
            <a:spLocks/>
          </p:cNvSpPr>
          <p:nvPr/>
        </p:nvSpPr>
        <p:spPr>
          <a:xfrm>
            <a:off x="550613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18" name="TextBox 14">
            <a:extLst>
              <a:ext uri="{FF2B5EF4-FFF2-40B4-BE49-F238E27FC236}">
                <a16:creationId xmlns:a16="http://schemas.microsoft.com/office/drawing/2014/main" id="{E1BF4F7C-DF2C-81CA-11F7-B4E226BD9C4C}"/>
              </a:ext>
            </a:extLst>
          </p:cNvPr>
          <p:cNvSpPr txBox="1"/>
          <p:nvPr/>
        </p:nvSpPr>
        <p:spPr>
          <a:xfrm>
            <a:off x="9779811"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5</a:t>
            </a:r>
          </a:p>
        </p:txBody>
      </p:sp>
      <p:sp>
        <p:nvSpPr>
          <p:cNvPr id="19" name="Subtitle 2">
            <a:extLst>
              <a:ext uri="{FF2B5EF4-FFF2-40B4-BE49-F238E27FC236}">
                <a16:creationId xmlns:a16="http://schemas.microsoft.com/office/drawing/2014/main" id="{5CF7B903-6E28-A604-ECAC-EF83E9D1F231}"/>
              </a:ext>
            </a:extLst>
          </p:cNvPr>
          <p:cNvSpPr txBox="1">
            <a:spLocks/>
          </p:cNvSpPr>
          <p:nvPr/>
        </p:nvSpPr>
        <p:spPr>
          <a:xfrm>
            <a:off x="9779810"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0" name="TextBox 17">
            <a:extLst>
              <a:ext uri="{FF2B5EF4-FFF2-40B4-BE49-F238E27FC236}">
                <a16:creationId xmlns:a16="http://schemas.microsoft.com/office/drawing/2014/main" id="{216F1793-B254-9898-5A55-E188400DEB3C}"/>
              </a:ext>
            </a:extLst>
          </p:cNvPr>
          <p:cNvSpPr txBox="1"/>
          <p:nvPr/>
        </p:nvSpPr>
        <p:spPr>
          <a:xfrm>
            <a:off x="7642970" y="1532867"/>
            <a:ext cx="1158520"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4</a:t>
            </a:r>
          </a:p>
        </p:txBody>
      </p:sp>
      <p:sp>
        <p:nvSpPr>
          <p:cNvPr id="21" name="Subtitle 2">
            <a:extLst>
              <a:ext uri="{FF2B5EF4-FFF2-40B4-BE49-F238E27FC236}">
                <a16:creationId xmlns:a16="http://schemas.microsoft.com/office/drawing/2014/main" id="{EC540C36-2838-9FC8-DFB1-152430877FE3}"/>
              </a:ext>
            </a:extLst>
          </p:cNvPr>
          <p:cNvSpPr txBox="1">
            <a:spLocks/>
          </p:cNvSpPr>
          <p:nvPr/>
        </p:nvSpPr>
        <p:spPr>
          <a:xfrm>
            <a:off x="7642969" y="1850165"/>
            <a:ext cx="1786962"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4" name="Footer Placeholder 3">
            <a:extLst>
              <a:ext uri="{FF2B5EF4-FFF2-40B4-BE49-F238E27FC236}">
                <a16:creationId xmlns:a16="http://schemas.microsoft.com/office/drawing/2014/main" id="{A6A2C907-C062-2EB8-D64E-A7CB7132902C}"/>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4308337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Objeto 17" hidden="1">
            <a:extLst>
              <a:ext uri="{FF2B5EF4-FFF2-40B4-BE49-F238E27FC236}">
                <a16:creationId xmlns:a16="http://schemas.microsoft.com/office/drawing/2014/main" id="{3A2C33CD-44C3-12EA-909A-134719BBC3A9}"/>
              </a:ext>
            </a:extLst>
          </p:cNvPr>
          <p:cNvGraphicFramePr>
            <a:graphicFrameLocks noChangeAspect="1"/>
          </p:cNvGraphicFramePr>
          <p:nvPr>
            <p:custDataLst>
              <p:tags r:id="rId1"/>
            </p:custDataLst>
            <p:extLst>
              <p:ext uri="{D42A27DB-BD31-4B8C-83A1-F6EECF244321}">
                <p14:modId xmlns:p14="http://schemas.microsoft.com/office/powerpoint/2010/main" val="33222532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Objeto 17" hidden="1">
                        <a:extLst>
                          <a:ext uri="{FF2B5EF4-FFF2-40B4-BE49-F238E27FC236}">
                            <a16:creationId xmlns:a16="http://schemas.microsoft.com/office/drawing/2014/main" id="{3A2C33CD-44C3-12EA-909A-134719BBC3A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ounded Rectangle 33">
            <a:extLst>
              <a:ext uri="{FF2B5EF4-FFF2-40B4-BE49-F238E27FC236}">
                <a16:creationId xmlns:a16="http://schemas.microsoft.com/office/drawing/2014/main" id="{7E53A376-A680-AA46-D1A8-97719A1929A3}"/>
              </a:ext>
            </a:extLst>
          </p:cNvPr>
          <p:cNvSpPr/>
          <p:nvPr/>
        </p:nvSpPr>
        <p:spPr>
          <a:xfrm>
            <a:off x="371474" y="3230426"/>
            <a:ext cx="11449051" cy="3078299"/>
          </a:xfrm>
          <a:prstGeom prst="rect">
            <a:avLst/>
          </a:prstGeom>
          <a:solidFill>
            <a:schemeClr val="bg1">
              <a:lumMod val="95000"/>
            </a:schemeClr>
          </a:solidFill>
          <a:effectLst/>
        </p:spPr>
        <p:txBody>
          <a:bodyPr lIns="108000" tIns="72000" rIns="72000" bIns="72000" anchor="ctr"/>
          <a:lstStyle/>
          <a:p>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Elipse 39">
            <a:extLst>
              <a:ext uri="{FF2B5EF4-FFF2-40B4-BE49-F238E27FC236}">
                <a16:creationId xmlns:a16="http://schemas.microsoft.com/office/drawing/2014/main" id="{7E731CAB-4D30-2A15-ECA1-E2C6F1CEA68E}"/>
              </a:ext>
            </a:extLst>
          </p:cNvPr>
          <p:cNvSpPr/>
          <p:nvPr/>
        </p:nvSpPr>
        <p:spPr>
          <a:xfrm>
            <a:off x="1599597" y="2207281"/>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1" name="Elipse 40">
            <a:extLst>
              <a:ext uri="{FF2B5EF4-FFF2-40B4-BE49-F238E27FC236}">
                <a16:creationId xmlns:a16="http://schemas.microsoft.com/office/drawing/2014/main" id="{235E7A78-8E3A-AA33-A561-776F08AE92A2}"/>
              </a:ext>
            </a:extLst>
          </p:cNvPr>
          <p:cNvSpPr/>
          <p:nvPr/>
        </p:nvSpPr>
        <p:spPr>
          <a:xfrm>
            <a:off x="5151015" y="2220140"/>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42" name="Elipse 41">
            <a:extLst>
              <a:ext uri="{FF2B5EF4-FFF2-40B4-BE49-F238E27FC236}">
                <a16:creationId xmlns:a16="http://schemas.microsoft.com/office/drawing/2014/main" id="{0AD646FA-6997-54F6-649F-E337D8673B99}"/>
              </a:ext>
            </a:extLst>
          </p:cNvPr>
          <p:cNvSpPr/>
          <p:nvPr/>
        </p:nvSpPr>
        <p:spPr>
          <a:xfrm>
            <a:off x="8724338" y="2237813"/>
            <a:ext cx="1852784" cy="18527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Marcador de texto 1">
            <a:extLst>
              <a:ext uri="{FF2B5EF4-FFF2-40B4-BE49-F238E27FC236}">
                <a16:creationId xmlns:a16="http://schemas.microsoft.com/office/drawing/2014/main" id="{FBF99C84-F0A3-705C-DEA7-2960151C27B7}"/>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191E67AB-9704-90CE-F868-B9C00AE893F1}"/>
              </a:ext>
            </a:extLst>
          </p:cNvPr>
          <p:cNvSpPr>
            <a:spLocks noGrp="1"/>
          </p:cNvSpPr>
          <p:nvPr>
            <p:ph type="title"/>
          </p:nvPr>
        </p:nvSpPr>
        <p:spPr/>
        <p:txBody>
          <a:bodyPr vert="horz"/>
          <a:lstStyle/>
          <a:p>
            <a:r>
              <a:rPr lang="en-US" dirty="0"/>
              <a:t>Template - Multiple Doughnuts</a:t>
            </a:r>
          </a:p>
        </p:txBody>
      </p:sp>
      <p:graphicFrame>
        <p:nvGraphicFramePr>
          <p:cNvPr id="4" name="Chart 4">
            <a:extLst>
              <a:ext uri="{FF2B5EF4-FFF2-40B4-BE49-F238E27FC236}">
                <a16:creationId xmlns:a16="http://schemas.microsoft.com/office/drawing/2014/main" id="{B33A05FE-8717-FF9D-51DC-F16B4DFFEC1C}"/>
              </a:ext>
            </a:extLst>
          </p:cNvPr>
          <p:cNvGraphicFramePr/>
          <p:nvPr>
            <p:extLst>
              <p:ext uri="{D42A27DB-BD31-4B8C-83A1-F6EECF244321}">
                <p14:modId xmlns:p14="http://schemas.microsoft.com/office/powerpoint/2010/main" val="2484187817"/>
              </p:ext>
            </p:extLst>
          </p:nvPr>
        </p:nvGraphicFramePr>
        <p:xfrm>
          <a:off x="1096559" y="1722299"/>
          <a:ext cx="2858862" cy="2848467"/>
        </p:xfrm>
        <a:graphic>
          <a:graphicData uri="http://schemas.openxmlformats.org/drawingml/2006/chart">
            <c:chart xmlns:c="http://schemas.openxmlformats.org/drawingml/2006/chart" xmlns:r="http://schemas.openxmlformats.org/officeDocument/2006/relationships" r:id="rId5"/>
          </a:graphicData>
        </a:graphic>
      </p:graphicFrame>
      <p:sp>
        <p:nvSpPr>
          <p:cNvPr id="5" name="Donut 5">
            <a:extLst>
              <a:ext uri="{FF2B5EF4-FFF2-40B4-BE49-F238E27FC236}">
                <a16:creationId xmlns:a16="http://schemas.microsoft.com/office/drawing/2014/main" id="{EA5A9B26-4EDE-1989-747D-B6C424BAF283}"/>
              </a:ext>
            </a:extLst>
          </p:cNvPr>
          <p:cNvSpPr/>
          <p:nvPr/>
        </p:nvSpPr>
        <p:spPr>
          <a:xfrm>
            <a:off x="1524515"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Box 12">
            <a:extLst>
              <a:ext uri="{FF2B5EF4-FFF2-40B4-BE49-F238E27FC236}">
                <a16:creationId xmlns:a16="http://schemas.microsoft.com/office/drawing/2014/main" id="{01BDF1B8-C957-CDC3-E0AE-B562E992C1D3}"/>
              </a:ext>
            </a:extLst>
          </p:cNvPr>
          <p:cNvSpPr txBox="1"/>
          <p:nvPr/>
        </p:nvSpPr>
        <p:spPr>
          <a:xfrm>
            <a:off x="2141910"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8</a:t>
            </a:r>
          </a:p>
        </p:txBody>
      </p:sp>
      <p:sp>
        <p:nvSpPr>
          <p:cNvPr id="7" name="Shape 2645">
            <a:extLst>
              <a:ext uri="{FF2B5EF4-FFF2-40B4-BE49-F238E27FC236}">
                <a16:creationId xmlns:a16="http://schemas.microsoft.com/office/drawing/2014/main" id="{43BC83B1-007F-7E61-B8F2-C7462B1AC574}"/>
              </a:ext>
            </a:extLst>
          </p:cNvPr>
          <p:cNvSpPr>
            <a:spLocks noChangeAspect="1"/>
          </p:cNvSpPr>
          <p:nvPr/>
        </p:nvSpPr>
        <p:spPr>
          <a:xfrm>
            <a:off x="5833258" y="2789795"/>
            <a:ext cx="510205" cy="371057"/>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8" name="Shape 2671">
            <a:extLst>
              <a:ext uri="{FF2B5EF4-FFF2-40B4-BE49-F238E27FC236}">
                <a16:creationId xmlns:a16="http://schemas.microsoft.com/office/drawing/2014/main" id="{70E9DB62-90C6-0B67-D926-A1360094346B}"/>
              </a:ext>
            </a:extLst>
          </p:cNvPr>
          <p:cNvSpPr>
            <a:spLocks noChangeAspect="1"/>
          </p:cNvSpPr>
          <p:nvPr/>
        </p:nvSpPr>
        <p:spPr>
          <a:xfrm>
            <a:off x="2270887" y="2720215"/>
            <a:ext cx="510205" cy="510217"/>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9" name="Shape 2689">
            <a:extLst>
              <a:ext uri="{FF2B5EF4-FFF2-40B4-BE49-F238E27FC236}">
                <a16:creationId xmlns:a16="http://schemas.microsoft.com/office/drawing/2014/main" id="{3EFF3FA2-FD33-891C-123A-B42F78D3A33D}"/>
              </a:ext>
            </a:extLst>
          </p:cNvPr>
          <p:cNvSpPr>
            <a:spLocks noChangeAspect="1"/>
          </p:cNvSpPr>
          <p:nvPr/>
        </p:nvSpPr>
        <p:spPr>
          <a:xfrm>
            <a:off x="9395630" y="2720221"/>
            <a:ext cx="510205" cy="51020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ea typeface="Open Sans SemiBold" charset="0"/>
              <a:cs typeface="Open Sans SemiBold" charset="0"/>
            </a:endParaRPr>
          </a:p>
        </p:txBody>
      </p:sp>
      <p:sp>
        <p:nvSpPr>
          <p:cNvPr id="10" name="TextBox 17">
            <a:extLst>
              <a:ext uri="{FF2B5EF4-FFF2-40B4-BE49-F238E27FC236}">
                <a16:creationId xmlns:a16="http://schemas.microsoft.com/office/drawing/2014/main" id="{123E6FA7-C70D-60DA-28AA-5F5030DCEA1D}"/>
              </a:ext>
            </a:extLst>
          </p:cNvPr>
          <p:cNvSpPr txBox="1"/>
          <p:nvPr/>
        </p:nvSpPr>
        <p:spPr>
          <a:xfrm>
            <a:off x="570428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19</a:t>
            </a:r>
          </a:p>
        </p:txBody>
      </p:sp>
      <p:sp>
        <p:nvSpPr>
          <p:cNvPr id="11" name="TextBox 18">
            <a:extLst>
              <a:ext uri="{FF2B5EF4-FFF2-40B4-BE49-F238E27FC236}">
                <a16:creationId xmlns:a16="http://schemas.microsoft.com/office/drawing/2014/main" id="{98815DA2-C8DF-1176-68E4-62441A03982B}"/>
              </a:ext>
            </a:extLst>
          </p:cNvPr>
          <p:cNvSpPr txBox="1"/>
          <p:nvPr/>
        </p:nvSpPr>
        <p:spPr>
          <a:xfrm>
            <a:off x="9266651" y="3238650"/>
            <a:ext cx="768159" cy="338554"/>
          </a:xfrm>
          <a:prstGeom prst="rect">
            <a:avLst/>
          </a:prstGeom>
          <a:noFill/>
        </p:spPr>
        <p:txBody>
          <a:bodyPr wrap="none" rtlCol="0" anchor="b" anchorCtr="0">
            <a:spAutoFit/>
          </a:bodyPr>
          <a:lstStyle/>
          <a:p>
            <a:pPr algn="ctr"/>
            <a:r>
              <a:rPr lang="en-US" sz="1600" b="1" dirty="0">
                <a:solidFill>
                  <a:schemeClr val="bg1"/>
                </a:solidFill>
                <a:ea typeface="League Spartan" charset="0"/>
                <a:cs typeface="Poppins SemiBold" pitchFamily="2" charset="77"/>
              </a:rPr>
              <a:t>2020</a:t>
            </a:r>
          </a:p>
        </p:txBody>
      </p:sp>
      <p:graphicFrame>
        <p:nvGraphicFramePr>
          <p:cNvPr id="12" name="Chart 20">
            <a:extLst>
              <a:ext uri="{FF2B5EF4-FFF2-40B4-BE49-F238E27FC236}">
                <a16:creationId xmlns:a16="http://schemas.microsoft.com/office/drawing/2014/main" id="{6265D5C3-82DB-3452-EE44-FEE33C33A472}"/>
              </a:ext>
            </a:extLst>
          </p:cNvPr>
          <p:cNvGraphicFramePr/>
          <p:nvPr>
            <p:extLst>
              <p:ext uri="{D42A27DB-BD31-4B8C-83A1-F6EECF244321}">
                <p14:modId xmlns:p14="http://schemas.microsoft.com/office/powerpoint/2010/main" val="391414664"/>
              </p:ext>
            </p:extLst>
          </p:nvPr>
        </p:nvGraphicFramePr>
        <p:xfrm>
          <a:off x="4658930" y="1722299"/>
          <a:ext cx="2858862" cy="2848467"/>
        </p:xfrm>
        <a:graphic>
          <a:graphicData uri="http://schemas.openxmlformats.org/drawingml/2006/chart">
            <c:chart xmlns:c="http://schemas.openxmlformats.org/drawingml/2006/chart" xmlns:r="http://schemas.openxmlformats.org/officeDocument/2006/relationships" r:id="rId6"/>
          </a:graphicData>
        </a:graphic>
      </p:graphicFrame>
      <p:sp>
        <p:nvSpPr>
          <p:cNvPr id="13" name="Donut 21">
            <a:extLst>
              <a:ext uri="{FF2B5EF4-FFF2-40B4-BE49-F238E27FC236}">
                <a16:creationId xmlns:a16="http://schemas.microsoft.com/office/drawing/2014/main" id="{E28586DB-FDD1-D159-C4BB-0D8D70B7AE42}"/>
              </a:ext>
            </a:extLst>
          </p:cNvPr>
          <p:cNvSpPr/>
          <p:nvPr/>
        </p:nvSpPr>
        <p:spPr>
          <a:xfrm>
            <a:off x="5086886" y="2145058"/>
            <a:ext cx="2002951" cy="2002951"/>
          </a:xfrm>
          <a:prstGeom prst="donut">
            <a:avLst>
              <a:gd name="adj" fmla="val 13197"/>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aphicFrame>
        <p:nvGraphicFramePr>
          <p:cNvPr id="14" name="Chart 23">
            <a:extLst>
              <a:ext uri="{FF2B5EF4-FFF2-40B4-BE49-F238E27FC236}">
                <a16:creationId xmlns:a16="http://schemas.microsoft.com/office/drawing/2014/main" id="{40068B88-7D85-75E8-B538-7F82C0B2B1C1}"/>
              </a:ext>
            </a:extLst>
          </p:cNvPr>
          <p:cNvGraphicFramePr/>
          <p:nvPr>
            <p:extLst>
              <p:ext uri="{D42A27DB-BD31-4B8C-83A1-F6EECF244321}">
                <p14:modId xmlns:p14="http://schemas.microsoft.com/office/powerpoint/2010/main" val="1843282794"/>
              </p:ext>
            </p:extLst>
          </p:nvPr>
        </p:nvGraphicFramePr>
        <p:xfrm>
          <a:off x="8221300" y="1722299"/>
          <a:ext cx="2858862" cy="2848467"/>
        </p:xfrm>
        <a:graphic>
          <a:graphicData uri="http://schemas.openxmlformats.org/drawingml/2006/chart">
            <c:chart xmlns:c="http://schemas.openxmlformats.org/drawingml/2006/chart" xmlns:r="http://schemas.openxmlformats.org/officeDocument/2006/relationships" r:id="rId7"/>
          </a:graphicData>
        </a:graphic>
      </p:graphicFrame>
      <p:sp>
        <p:nvSpPr>
          <p:cNvPr id="15" name="Donut 24">
            <a:extLst>
              <a:ext uri="{FF2B5EF4-FFF2-40B4-BE49-F238E27FC236}">
                <a16:creationId xmlns:a16="http://schemas.microsoft.com/office/drawing/2014/main" id="{6A698487-40EF-8541-349A-F341DE1EEBFC}"/>
              </a:ext>
            </a:extLst>
          </p:cNvPr>
          <p:cNvSpPr/>
          <p:nvPr/>
        </p:nvSpPr>
        <p:spPr>
          <a:xfrm>
            <a:off x="8649256" y="2145058"/>
            <a:ext cx="2002951" cy="2002951"/>
          </a:xfrm>
          <a:prstGeom prst="donut">
            <a:avLst>
              <a:gd name="adj" fmla="val 9048"/>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TextBox 4">
            <a:extLst>
              <a:ext uri="{FF2B5EF4-FFF2-40B4-BE49-F238E27FC236}">
                <a16:creationId xmlns:a16="http://schemas.microsoft.com/office/drawing/2014/main" id="{88D62C1A-8475-0339-F52D-327C3D202B22}"/>
              </a:ext>
            </a:extLst>
          </p:cNvPr>
          <p:cNvSpPr txBox="1"/>
          <p:nvPr/>
        </p:nvSpPr>
        <p:spPr>
          <a:xfrm>
            <a:off x="1640846"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1</a:t>
            </a:r>
          </a:p>
        </p:txBody>
      </p:sp>
      <p:sp>
        <p:nvSpPr>
          <p:cNvPr id="20" name="Subtitle 2">
            <a:extLst>
              <a:ext uri="{FF2B5EF4-FFF2-40B4-BE49-F238E27FC236}">
                <a16:creationId xmlns:a16="http://schemas.microsoft.com/office/drawing/2014/main" id="{38A6DE34-C50B-8A9B-46D9-033D5D3B2622}"/>
              </a:ext>
            </a:extLst>
          </p:cNvPr>
          <p:cNvSpPr txBox="1">
            <a:spLocks/>
          </p:cNvSpPr>
          <p:nvPr/>
        </p:nvSpPr>
        <p:spPr>
          <a:xfrm>
            <a:off x="1640846"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1" name="TextBox 8">
            <a:extLst>
              <a:ext uri="{FF2B5EF4-FFF2-40B4-BE49-F238E27FC236}">
                <a16:creationId xmlns:a16="http://schemas.microsoft.com/office/drawing/2014/main" id="{CD5CE04D-07CE-7928-63C2-8732912B6F05}"/>
              </a:ext>
            </a:extLst>
          </p:cNvPr>
          <p:cNvSpPr txBox="1"/>
          <p:nvPr/>
        </p:nvSpPr>
        <p:spPr>
          <a:xfrm>
            <a:off x="5256545"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2</a:t>
            </a:r>
          </a:p>
        </p:txBody>
      </p:sp>
      <p:sp>
        <p:nvSpPr>
          <p:cNvPr id="22" name="Subtitle 2">
            <a:extLst>
              <a:ext uri="{FF2B5EF4-FFF2-40B4-BE49-F238E27FC236}">
                <a16:creationId xmlns:a16="http://schemas.microsoft.com/office/drawing/2014/main" id="{AAC0A6AB-5080-52A6-0E55-CFEDECB12B5C}"/>
              </a:ext>
            </a:extLst>
          </p:cNvPr>
          <p:cNvSpPr txBox="1">
            <a:spLocks/>
          </p:cNvSpPr>
          <p:nvPr/>
        </p:nvSpPr>
        <p:spPr>
          <a:xfrm>
            <a:off x="5256545"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sp>
        <p:nvSpPr>
          <p:cNvPr id="23" name="TextBox 11">
            <a:extLst>
              <a:ext uri="{FF2B5EF4-FFF2-40B4-BE49-F238E27FC236}">
                <a16:creationId xmlns:a16="http://schemas.microsoft.com/office/drawing/2014/main" id="{ED1891F9-508D-28CB-1DAF-455ED1573025}"/>
              </a:ext>
            </a:extLst>
          </p:cNvPr>
          <p:cNvSpPr txBox="1"/>
          <p:nvPr/>
        </p:nvSpPr>
        <p:spPr>
          <a:xfrm>
            <a:off x="8724338" y="5028749"/>
            <a:ext cx="1269267" cy="276999"/>
          </a:xfrm>
          <a:prstGeom prst="rect">
            <a:avLst/>
          </a:prstGeom>
          <a:noFill/>
        </p:spPr>
        <p:txBody>
          <a:bodyPr wrap="square" lIns="0" rtlCol="0" anchor="b" anchorCtr="0">
            <a:spAutoFit/>
          </a:bodyPr>
          <a:lstStyle/>
          <a:p>
            <a:r>
              <a:rPr lang="en-US" sz="1200" b="1" dirty="0">
                <a:solidFill>
                  <a:schemeClr val="tx2"/>
                </a:solidFill>
                <a:ea typeface="League Spartan" charset="0"/>
                <a:cs typeface="Poppins SemiBold" pitchFamily="2" charset="77"/>
              </a:rPr>
              <a:t>Title 03</a:t>
            </a:r>
          </a:p>
        </p:txBody>
      </p:sp>
      <p:sp>
        <p:nvSpPr>
          <p:cNvPr id="24" name="Subtitle 2">
            <a:extLst>
              <a:ext uri="{FF2B5EF4-FFF2-40B4-BE49-F238E27FC236}">
                <a16:creationId xmlns:a16="http://schemas.microsoft.com/office/drawing/2014/main" id="{3A1F3033-6A98-843C-5813-8AA43143E04A}"/>
              </a:ext>
            </a:extLst>
          </p:cNvPr>
          <p:cNvSpPr txBox="1">
            <a:spLocks/>
          </p:cNvSpPr>
          <p:nvPr/>
        </p:nvSpPr>
        <p:spPr>
          <a:xfrm>
            <a:off x="8724337" y="5305748"/>
            <a:ext cx="1886620" cy="830997"/>
          </a:xfrm>
          <a:prstGeom prst="rect">
            <a:avLst/>
          </a:prstGeom>
        </p:spPr>
        <p:txBody>
          <a:bodyPr vert="horz" wrap="square" lIns="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algn="l"/>
            <a:endParaRPr lang="en-US" dirty="0"/>
          </a:p>
        </p:txBody>
      </p:sp>
      <p:grpSp>
        <p:nvGrpSpPr>
          <p:cNvPr id="25" name="Grupo 42">
            <a:extLst>
              <a:ext uri="{FF2B5EF4-FFF2-40B4-BE49-F238E27FC236}">
                <a16:creationId xmlns:a16="http://schemas.microsoft.com/office/drawing/2014/main" id="{19EAACDB-1E7C-6D11-C7AC-EAC3875B8FDE}"/>
              </a:ext>
            </a:extLst>
          </p:cNvPr>
          <p:cNvGrpSpPr/>
          <p:nvPr/>
        </p:nvGrpSpPr>
        <p:grpSpPr>
          <a:xfrm>
            <a:off x="7980844" y="4876822"/>
            <a:ext cx="478016" cy="565261"/>
            <a:chOff x="3657318" y="2960019"/>
            <a:chExt cx="428407" cy="506598"/>
          </a:xfrm>
        </p:grpSpPr>
        <p:grpSp>
          <p:nvGrpSpPr>
            <p:cNvPr id="26" name="Grupo 43">
              <a:extLst>
                <a:ext uri="{FF2B5EF4-FFF2-40B4-BE49-F238E27FC236}">
                  <a16:creationId xmlns:a16="http://schemas.microsoft.com/office/drawing/2014/main" id="{181E07EA-ABAF-A444-BE81-E80EEBFA473B}"/>
                </a:ext>
              </a:extLst>
            </p:cNvPr>
            <p:cNvGrpSpPr/>
            <p:nvPr/>
          </p:nvGrpSpPr>
          <p:grpSpPr>
            <a:xfrm>
              <a:off x="3828604" y="2960019"/>
              <a:ext cx="257121" cy="506598"/>
              <a:chOff x="2468880" y="3319199"/>
              <a:chExt cx="257121" cy="506598"/>
            </a:xfrm>
          </p:grpSpPr>
          <p:cxnSp>
            <p:nvCxnSpPr>
              <p:cNvPr id="28" name="Conector recto 45">
                <a:extLst>
                  <a:ext uri="{FF2B5EF4-FFF2-40B4-BE49-F238E27FC236}">
                    <a16:creationId xmlns:a16="http://schemas.microsoft.com/office/drawing/2014/main" id="{C3DBEFE3-FD87-35AD-3C1B-7BEFA5B7198A}"/>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Conector recto 46">
                <a:extLst>
                  <a:ext uri="{FF2B5EF4-FFF2-40B4-BE49-F238E27FC236}">
                    <a16:creationId xmlns:a16="http://schemas.microsoft.com/office/drawing/2014/main" id="{116FED80-49FA-78BA-EF00-64099E1A6384}"/>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7" name="Conector recto 44">
              <a:extLst>
                <a:ext uri="{FF2B5EF4-FFF2-40B4-BE49-F238E27FC236}">
                  <a16:creationId xmlns:a16="http://schemas.microsoft.com/office/drawing/2014/main" id="{A7A74630-0009-031E-5030-A7B4E4D3088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0" name="Grupo 42">
            <a:extLst>
              <a:ext uri="{FF2B5EF4-FFF2-40B4-BE49-F238E27FC236}">
                <a16:creationId xmlns:a16="http://schemas.microsoft.com/office/drawing/2014/main" id="{63724347-F735-11DA-F4BA-D3ED5F4AB1B5}"/>
              </a:ext>
            </a:extLst>
          </p:cNvPr>
          <p:cNvGrpSpPr/>
          <p:nvPr/>
        </p:nvGrpSpPr>
        <p:grpSpPr>
          <a:xfrm>
            <a:off x="4508699" y="4876822"/>
            <a:ext cx="478016" cy="565261"/>
            <a:chOff x="3657318" y="2960019"/>
            <a:chExt cx="428407" cy="506598"/>
          </a:xfrm>
        </p:grpSpPr>
        <p:grpSp>
          <p:nvGrpSpPr>
            <p:cNvPr id="31" name="Grupo 43">
              <a:extLst>
                <a:ext uri="{FF2B5EF4-FFF2-40B4-BE49-F238E27FC236}">
                  <a16:creationId xmlns:a16="http://schemas.microsoft.com/office/drawing/2014/main" id="{F3FB8667-BF51-465E-4ECE-E24683AF9EE2}"/>
                </a:ext>
              </a:extLst>
            </p:cNvPr>
            <p:cNvGrpSpPr/>
            <p:nvPr/>
          </p:nvGrpSpPr>
          <p:grpSpPr>
            <a:xfrm>
              <a:off x="3828604" y="2960019"/>
              <a:ext cx="257121" cy="506598"/>
              <a:chOff x="2468880" y="3319199"/>
              <a:chExt cx="257121" cy="506598"/>
            </a:xfrm>
          </p:grpSpPr>
          <p:cxnSp>
            <p:nvCxnSpPr>
              <p:cNvPr id="33" name="Conector recto 45">
                <a:extLst>
                  <a:ext uri="{FF2B5EF4-FFF2-40B4-BE49-F238E27FC236}">
                    <a16:creationId xmlns:a16="http://schemas.microsoft.com/office/drawing/2014/main" id="{34C59B16-40C3-7534-0C93-1B769CE7A687}"/>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ector recto 46">
                <a:extLst>
                  <a:ext uri="{FF2B5EF4-FFF2-40B4-BE49-F238E27FC236}">
                    <a16:creationId xmlns:a16="http://schemas.microsoft.com/office/drawing/2014/main" id="{E8E57FFC-CB4A-4A27-B6CC-23477C6C0FFB}"/>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2" name="Conector recto 44">
              <a:extLst>
                <a:ext uri="{FF2B5EF4-FFF2-40B4-BE49-F238E27FC236}">
                  <a16:creationId xmlns:a16="http://schemas.microsoft.com/office/drawing/2014/main" id="{700C19C6-7242-5659-25A8-6302F2179A3F}"/>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5" name="Grupo 42">
            <a:extLst>
              <a:ext uri="{FF2B5EF4-FFF2-40B4-BE49-F238E27FC236}">
                <a16:creationId xmlns:a16="http://schemas.microsoft.com/office/drawing/2014/main" id="{4E1DE197-5EEA-E04E-2E3F-CFE1C861F5A2}"/>
              </a:ext>
            </a:extLst>
          </p:cNvPr>
          <p:cNvGrpSpPr/>
          <p:nvPr/>
        </p:nvGrpSpPr>
        <p:grpSpPr>
          <a:xfrm>
            <a:off x="956580" y="4876822"/>
            <a:ext cx="478016" cy="565261"/>
            <a:chOff x="3657318" y="2960019"/>
            <a:chExt cx="428407" cy="506598"/>
          </a:xfrm>
        </p:grpSpPr>
        <p:grpSp>
          <p:nvGrpSpPr>
            <p:cNvPr id="36" name="Grupo 43">
              <a:extLst>
                <a:ext uri="{FF2B5EF4-FFF2-40B4-BE49-F238E27FC236}">
                  <a16:creationId xmlns:a16="http://schemas.microsoft.com/office/drawing/2014/main" id="{F0530EC4-AABC-1781-2AED-F84A4FDFCC26}"/>
                </a:ext>
              </a:extLst>
            </p:cNvPr>
            <p:cNvGrpSpPr/>
            <p:nvPr/>
          </p:nvGrpSpPr>
          <p:grpSpPr>
            <a:xfrm>
              <a:off x="3828604" y="2960019"/>
              <a:ext cx="257121" cy="506598"/>
              <a:chOff x="2468880" y="3319199"/>
              <a:chExt cx="257121" cy="506598"/>
            </a:xfrm>
          </p:grpSpPr>
          <p:cxnSp>
            <p:nvCxnSpPr>
              <p:cNvPr id="38" name="Conector recto 45">
                <a:extLst>
                  <a:ext uri="{FF2B5EF4-FFF2-40B4-BE49-F238E27FC236}">
                    <a16:creationId xmlns:a16="http://schemas.microsoft.com/office/drawing/2014/main" id="{A2C5BD0D-057D-E191-E820-A9B1B7A65D12}"/>
                  </a:ext>
                </a:extLst>
              </p:cNvPr>
              <p:cNvCxnSpPr/>
              <p:nvPr/>
            </p:nvCxnSpPr>
            <p:spPr>
              <a:xfrm>
                <a:off x="2468880" y="3319199"/>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46">
                <a:extLst>
                  <a:ext uri="{FF2B5EF4-FFF2-40B4-BE49-F238E27FC236}">
                    <a16:creationId xmlns:a16="http://schemas.microsoft.com/office/drawing/2014/main" id="{18A38FE3-0102-221D-C80E-731167B27C4E}"/>
                  </a:ext>
                </a:extLst>
              </p:cNvPr>
              <p:cNvCxnSpPr>
                <a:cxnSpLocks/>
              </p:cNvCxnSpPr>
              <p:nvPr/>
            </p:nvCxnSpPr>
            <p:spPr>
              <a:xfrm flipH="1">
                <a:off x="2468880" y="3568676"/>
                <a:ext cx="257121" cy="2571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7" name="Conector recto 44">
              <a:extLst>
                <a:ext uri="{FF2B5EF4-FFF2-40B4-BE49-F238E27FC236}">
                  <a16:creationId xmlns:a16="http://schemas.microsoft.com/office/drawing/2014/main" id="{5BD6FF27-50D7-C3F2-50E8-12911E6E2D6C}"/>
                </a:ext>
              </a:extLst>
            </p:cNvPr>
            <p:cNvCxnSpPr>
              <a:cxnSpLocks/>
            </p:cNvCxnSpPr>
            <p:nvPr/>
          </p:nvCxnSpPr>
          <p:spPr>
            <a:xfrm>
              <a:off x="3657318" y="3213306"/>
              <a:ext cx="41481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6" name="Footer Placeholder 15">
            <a:extLst>
              <a:ext uri="{FF2B5EF4-FFF2-40B4-BE49-F238E27FC236}">
                <a16:creationId xmlns:a16="http://schemas.microsoft.com/office/drawing/2014/main" id="{FA647F37-2417-2E2E-400A-4F09614C260E}"/>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16981812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C101A7E-2B50-3165-A4D9-8ABCB29DA222}"/>
              </a:ext>
            </a:extLst>
          </p:cNvPr>
          <p:cNvGraphicFramePr>
            <a:graphicFrameLocks noChangeAspect="1"/>
          </p:cNvGraphicFramePr>
          <p:nvPr>
            <p:custDataLst>
              <p:tags r:id="rId1"/>
            </p:custDataLst>
            <p:extLst>
              <p:ext uri="{D42A27DB-BD31-4B8C-83A1-F6EECF244321}">
                <p14:modId xmlns:p14="http://schemas.microsoft.com/office/powerpoint/2010/main" val="14733710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to 5" hidden="1">
                        <a:extLst>
                          <a:ext uri="{FF2B5EF4-FFF2-40B4-BE49-F238E27FC236}">
                            <a16:creationId xmlns:a16="http://schemas.microsoft.com/office/drawing/2014/main" id="{5C101A7E-2B50-3165-A4D9-8ABCB29DA2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Marcador de texto 1">
            <a:extLst>
              <a:ext uri="{FF2B5EF4-FFF2-40B4-BE49-F238E27FC236}">
                <a16:creationId xmlns:a16="http://schemas.microsoft.com/office/drawing/2014/main" id="{5E96684E-6EE5-82E1-1184-E14E26169E28}"/>
              </a:ext>
            </a:extLst>
          </p:cNvPr>
          <p:cNvSpPr>
            <a:spLocks noGrp="1"/>
          </p:cNvSpPr>
          <p:nvPr>
            <p:ph type="body" sz="quarter" idx="14"/>
          </p:nvPr>
        </p:nvSpPr>
        <p:spPr/>
        <p:txBody>
          <a:bodyPr/>
          <a:lstStyle/>
          <a:p>
            <a:r>
              <a:rPr lang="en-US" dirty="0"/>
              <a:t>Subtitle</a:t>
            </a:r>
          </a:p>
        </p:txBody>
      </p:sp>
      <p:sp>
        <p:nvSpPr>
          <p:cNvPr id="3" name="Título 2">
            <a:extLst>
              <a:ext uri="{FF2B5EF4-FFF2-40B4-BE49-F238E27FC236}">
                <a16:creationId xmlns:a16="http://schemas.microsoft.com/office/drawing/2014/main" id="{560BEC4F-7E50-ADC4-8EA5-C5690DE50F41}"/>
              </a:ext>
            </a:extLst>
          </p:cNvPr>
          <p:cNvSpPr>
            <a:spLocks noGrp="1"/>
          </p:cNvSpPr>
          <p:nvPr>
            <p:ph type="title"/>
          </p:nvPr>
        </p:nvSpPr>
        <p:spPr/>
        <p:txBody>
          <a:bodyPr vert="horz"/>
          <a:lstStyle/>
          <a:p>
            <a:r>
              <a:rPr lang="en-US" dirty="0"/>
              <a:t>Template - Multiple Doughnuts</a:t>
            </a:r>
          </a:p>
        </p:txBody>
      </p:sp>
      <p:sp>
        <p:nvSpPr>
          <p:cNvPr id="5" name="Rectangle 89">
            <a:extLst>
              <a:ext uri="{FF2B5EF4-FFF2-40B4-BE49-F238E27FC236}">
                <a16:creationId xmlns:a16="http://schemas.microsoft.com/office/drawing/2014/main" id="{AE70FA14-B904-EAFF-189A-433C6DD35EDA}"/>
              </a:ext>
            </a:extLst>
          </p:cNvPr>
          <p:cNvSpPr/>
          <p:nvPr/>
        </p:nvSpPr>
        <p:spPr>
          <a:xfrm>
            <a:off x="2531250"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 Placeholder 6">
            <a:extLst>
              <a:ext uri="{FF2B5EF4-FFF2-40B4-BE49-F238E27FC236}">
                <a16:creationId xmlns:a16="http://schemas.microsoft.com/office/drawing/2014/main" id="{653187CB-0328-0004-1FE9-3012898518E3}"/>
              </a:ext>
            </a:extLst>
          </p:cNvPr>
          <p:cNvSpPr txBox="1">
            <a:spLocks/>
          </p:cNvSpPr>
          <p:nvPr/>
        </p:nvSpPr>
        <p:spPr>
          <a:xfrm>
            <a:off x="371472"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9" name="Chart 3">
            <a:extLst>
              <a:ext uri="{FF2B5EF4-FFF2-40B4-BE49-F238E27FC236}">
                <a16:creationId xmlns:a16="http://schemas.microsoft.com/office/drawing/2014/main" id="{DD00F665-54E6-5756-C896-E068CECB7646}"/>
              </a:ext>
            </a:extLst>
          </p:cNvPr>
          <p:cNvGraphicFramePr/>
          <p:nvPr>
            <p:extLst>
              <p:ext uri="{D42A27DB-BD31-4B8C-83A1-F6EECF244321}">
                <p14:modId xmlns:p14="http://schemas.microsoft.com/office/powerpoint/2010/main" val="1873252530"/>
              </p:ext>
            </p:extLst>
          </p:nvPr>
        </p:nvGraphicFramePr>
        <p:xfrm>
          <a:off x="532134" y="1709126"/>
          <a:ext cx="1999116" cy="1991848"/>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upo 10">
            <a:extLst>
              <a:ext uri="{FF2B5EF4-FFF2-40B4-BE49-F238E27FC236}">
                <a16:creationId xmlns:a16="http://schemas.microsoft.com/office/drawing/2014/main" id="{1E0BD0C3-890B-D0DB-5D47-5A61F24B1C33}"/>
              </a:ext>
            </a:extLst>
          </p:cNvPr>
          <p:cNvGrpSpPr/>
          <p:nvPr/>
        </p:nvGrpSpPr>
        <p:grpSpPr>
          <a:xfrm>
            <a:off x="3038184" y="2109869"/>
            <a:ext cx="2679490" cy="1081439"/>
            <a:chOff x="8123597" y="1942268"/>
            <a:chExt cx="2679490" cy="1081439"/>
          </a:xfrm>
        </p:grpSpPr>
        <p:sp>
          <p:nvSpPr>
            <p:cNvPr id="12" name="TextBox 24">
              <a:extLst>
                <a:ext uri="{FF2B5EF4-FFF2-40B4-BE49-F238E27FC236}">
                  <a16:creationId xmlns:a16="http://schemas.microsoft.com/office/drawing/2014/main" id="{2D5741BB-9FBD-6F6E-94E5-4C798F46D97B}"/>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13" name="TextBox 25">
              <a:extLst>
                <a:ext uri="{FF2B5EF4-FFF2-40B4-BE49-F238E27FC236}">
                  <a16:creationId xmlns:a16="http://schemas.microsoft.com/office/drawing/2014/main" id="{BECF764B-6798-E485-9E21-1E30945E4637}"/>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14" name="Rectangle 55">
            <a:extLst>
              <a:ext uri="{FF2B5EF4-FFF2-40B4-BE49-F238E27FC236}">
                <a16:creationId xmlns:a16="http://schemas.microsoft.com/office/drawing/2014/main" id="{9FD37E32-0F73-AC5F-DDBB-CD5C10F544D3}"/>
              </a:ext>
            </a:extLst>
          </p:cNvPr>
          <p:cNvSpPr/>
          <p:nvPr/>
        </p:nvSpPr>
        <p:spPr>
          <a:xfrm>
            <a:off x="5537148" y="1520825"/>
            <a:ext cx="361050" cy="369331"/>
          </a:xfrm>
          <a:prstGeom prst="rect">
            <a:avLst/>
          </a:prstGeom>
          <a:solidFill>
            <a:schemeClr val="tx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1</a:t>
            </a:r>
          </a:p>
        </p:txBody>
      </p:sp>
      <p:sp>
        <p:nvSpPr>
          <p:cNvPr id="15" name="Rectangle 89">
            <a:extLst>
              <a:ext uri="{FF2B5EF4-FFF2-40B4-BE49-F238E27FC236}">
                <a16:creationId xmlns:a16="http://schemas.microsoft.com/office/drawing/2014/main" id="{A3CEC1B3-047F-78DA-5042-B8ABB9029258}"/>
              </a:ext>
            </a:extLst>
          </p:cNvPr>
          <p:cNvSpPr/>
          <p:nvPr/>
        </p:nvSpPr>
        <p:spPr>
          <a:xfrm>
            <a:off x="2531249" y="417045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Text Placeholder 6">
            <a:extLst>
              <a:ext uri="{FF2B5EF4-FFF2-40B4-BE49-F238E27FC236}">
                <a16:creationId xmlns:a16="http://schemas.microsoft.com/office/drawing/2014/main" id="{C0F0D7E9-4C84-218E-1592-0AD48918ECE4}"/>
              </a:ext>
            </a:extLst>
          </p:cNvPr>
          <p:cNvSpPr txBox="1">
            <a:spLocks/>
          </p:cNvSpPr>
          <p:nvPr/>
        </p:nvSpPr>
        <p:spPr>
          <a:xfrm>
            <a:off x="371471" y="398215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17" name="Chart 3">
            <a:extLst>
              <a:ext uri="{FF2B5EF4-FFF2-40B4-BE49-F238E27FC236}">
                <a16:creationId xmlns:a16="http://schemas.microsoft.com/office/drawing/2014/main" id="{D27CC962-3982-3352-0B6F-0B46B9783A39}"/>
              </a:ext>
            </a:extLst>
          </p:cNvPr>
          <p:cNvGraphicFramePr/>
          <p:nvPr>
            <p:extLst>
              <p:ext uri="{D42A27DB-BD31-4B8C-83A1-F6EECF244321}">
                <p14:modId xmlns:p14="http://schemas.microsoft.com/office/powerpoint/2010/main" val="467600789"/>
              </p:ext>
            </p:extLst>
          </p:nvPr>
        </p:nvGraphicFramePr>
        <p:xfrm>
          <a:off x="532133" y="4170456"/>
          <a:ext cx="1999116" cy="1991848"/>
        </p:xfrm>
        <a:graphic>
          <a:graphicData uri="http://schemas.openxmlformats.org/drawingml/2006/chart">
            <c:chart xmlns:c="http://schemas.openxmlformats.org/drawingml/2006/chart" xmlns:r="http://schemas.openxmlformats.org/officeDocument/2006/relationships" r:id="rId6"/>
          </a:graphicData>
        </a:graphic>
      </p:graphicFrame>
      <p:grpSp>
        <p:nvGrpSpPr>
          <p:cNvPr id="19" name="Grupo 18">
            <a:extLst>
              <a:ext uri="{FF2B5EF4-FFF2-40B4-BE49-F238E27FC236}">
                <a16:creationId xmlns:a16="http://schemas.microsoft.com/office/drawing/2014/main" id="{F49AC642-DB37-A74C-1A02-86CB2A35E6B0}"/>
              </a:ext>
            </a:extLst>
          </p:cNvPr>
          <p:cNvGrpSpPr/>
          <p:nvPr/>
        </p:nvGrpSpPr>
        <p:grpSpPr>
          <a:xfrm>
            <a:off x="3038183" y="4571199"/>
            <a:ext cx="2679490" cy="1081439"/>
            <a:chOff x="8123597" y="1942268"/>
            <a:chExt cx="2679490" cy="1081439"/>
          </a:xfrm>
        </p:grpSpPr>
        <p:sp>
          <p:nvSpPr>
            <p:cNvPr id="20" name="TextBox 24">
              <a:extLst>
                <a:ext uri="{FF2B5EF4-FFF2-40B4-BE49-F238E27FC236}">
                  <a16:creationId xmlns:a16="http://schemas.microsoft.com/office/drawing/2014/main" id="{48F3E277-BB11-86C3-FC9E-00BEDC2AC081}"/>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1" name="TextBox 25">
              <a:extLst>
                <a:ext uri="{FF2B5EF4-FFF2-40B4-BE49-F238E27FC236}">
                  <a16:creationId xmlns:a16="http://schemas.microsoft.com/office/drawing/2014/main" id="{4F9DFE7F-2B52-6A6E-8EBB-C74C95B88DB2}"/>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2" name="Rectangle 55">
            <a:extLst>
              <a:ext uri="{FF2B5EF4-FFF2-40B4-BE49-F238E27FC236}">
                <a16:creationId xmlns:a16="http://schemas.microsoft.com/office/drawing/2014/main" id="{F18F2AD3-A641-0D4E-D7FC-244A5EE516FC}"/>
              </a:ext>
            </a:extLst>
          </p:cNvPr>
          <p:cNvSpPr/>
          <p:nvPr/>
        </p:nvSpPr>
        <p:spPr>
          <a:xfrm>
            <a:off x="5537147" y="3982155"/>
            <a:ext cx="361050" cy="369331"/>
          </a:xfrm>
          <a:prstGeom prst="rect">
            <a:avLst/>
          </a:prstGeom>
          <a:solidFill>
            <a:schemeClr val="tx1"/>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2</a:t>
            </a:r>
          </a:p>
        </p:txBody>
      </p:sp>
      <p:sp>
        <p:nvSpPr>
          <p:cNvPr id="23" name="Rectangle 89">
            <a:extLst>
              <a:ext uri="{FF2B5EF4-FFF2-40B4-BE49-F238E27FC236}">
                <a16:creationId xmlns:a16="http://schemas.microsoft.com/office/drawing/2014/main" id="{46ADC455-08E6-CC6B-26BB-3219BF550865}"/>
              </a:ext>
            </a:extLst>
          </p:cNvPr>
          <p:cNvSpPr/>
          <p:nvPr/>
        </p:nvSpPr>
        <p:spPr>
          <a:xfrm>
            <a:off x="8327217" y="1709126"/>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Text Placeholder 6">
            <a:extLst>
              <a:ext uri="{FF2B5EF4-FFF2-40B4-BE49-F238E27FC236}">
                <a16:creationId xmlns:a16="http://schemas.microsoft.com/office/drawing/2014/main" id="{29B47BF8-3880-369E-30C2-6F8A75FF178F}"/>
              </a:ext>
            </a:extLst>
          </p:cNvPr>
          <p:cNvSpPr txBox="1">
            <a:spLocks/>
          </p:cNvSpPr>
          <p:nvPr/>
        </p:nvSpPr>
        <p:spPr>
          <a:xfrm>
            <a:off x="6167439" y="1520825"/>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25" name="Chart 3">
            <a:extLst>
              <a:ext uri="{FF2B5EF4-FFF2-40B4-BE49-F238E27FC236}">
                <a16:creationId xmlns:a16="http://schemas.microsoft.com/office/drawing/2014/main" id="{4D77F846-AF12-D703-A123-13069449876F}"/>
              </a:ext>
            </a:extLst>
          </p:cNvPr>
          <p:cNvGraphicFramePr/>
          <p:nvPr>
            <p:extLst>
              <p:ext uri="{D42A27DB-BD31-4B8C-83A1-F6EECF244321}">
                <p14:modId xmlns:p14="http://schemas.microsoft.com/office/powerpoint/2010/main" val="3460619460"/>
              </p:ext>
            </p:extLst>
          </p:nvPr>
        </p:nvGraphicFramePr>
        <p:xfrm>
          <a:off x="6328101" y="1709126"/>
          <a:ext cx="1999116" cy="1991848"/>
        </p:xfrm>
        <a:graphic>
          <a:graphicData uri="http://schemas.openxmlformats.org/drawingml/2006/chart">
            <c:chart xmlns:c="http://schemas.openxmlformats.org/drawingml/2006/chart" xmlns:r="http://schemas.openxmlformats.org/officeDocument/2006/relationships" r:id="rId7"/>
          </a:graphicData>
        </a:graphic>
      </p:graphicFrame>
      <p:grpSp>
        <p:nvGrpSpPr>
          <p:cNvPr id="26" name="Grupo 25">
            <a:extLst>
              <a:ext uri="{FF2B5EF4-FFF2-40B4-BE49-F238E27FC236}">
                <a16:creationId xmlns:a16="http://schemas.microsoft.com/office/drawing/2014/main" id="{D96014D9-C2EA-17D9-35FF-95DCD3EEECE6}"/>
              </a:ext>
            </a:extLst>
          </p:cNvPr>
          <p:cNvGrpSpPr/>
          <p:nvPr/>
        </p:nvGrpSpPr>
        <p:grpSpPr>
          <a:xfrm>
            <a:off x="8834151" y="2109869"/>
            <a:ext cx="2679490" cy="1081439"/>
            <a:chOff x="8123597" y="1942268"/>
            <a:chExt cx="2679490" cy="1081439"/>
          </a:xfrm>
        </p:grpSpPr>
        <p:sp>
          <p:nvSpPr>
            <p:cNvPr id="27" name="TextBox 24">
              <a:extLst>
                <a:ext uri="{FF2B5EF4-FFF2-40B4-BE49-F238E27FC236}">
                  <a16:creationId xmlns:a16="http://schemas.microsoft.com/office/drawing/2014/main" id="{9E596AC2-F66F-648D-10A4-3A5F9B5BA469}"/>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28" name="TextBox 25">
              <a:extLst>
                <a:ext uri="{FF2B5EF4-FFF2-40B4-BE49-F238E27FC236}">
                  <a16:creationId xmlns:a16="http://schemas.microsoft.com/office/drawing/2014/main" id="{BC10E4AD-6DF4-F7B3-5672-3AEED14A0B03}"/>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29" name="Rectangle 55">
            <a:extLst>
              <a:ext uri="{FF2B5EF4-FFF2-40B4-BE49-F238E27FC236}">
                <a16:creationId xmlns:a16="http://schemas.microsoft.com/office/drawing/2014/main" id="{5F20555C-C585-B9EC-52A4-B4AEA1006E22}"/>
              </a:ext>
            </a:extLst>
          </p:cNvPr>
          <p:cNvSpPr/>
          <p:nvPr/>
        </p:nvSpPr>
        <p:spPr>
          <a:xfrm>
            <a:off x="11333115" y="1520825"/>
            <a:ext cx="361050" cy="369331"/>
          </a:xfrm>
          <a:prstGeom prst="rect">
            <a:avLst/>
          </a:prstGeom>
          <a:solidFill>
            <a:schemeClr val="accent2"/>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3</a:t>
            </a:r>
          </a:p>
        </p:txBody>
      </p:sp>
      <p:sp>
        <p:nvSpPr>
          <p:cNvPr id="30" name="Rectangle 89">
            <a:extLst>
              <a:ext uri="{FF2B5EF4-FFF2-40B4-BE49-F238E27FC236}">
                <a16:creationId xmlns:a16="http://schemas.microsoft.com/office/drawing/2014/main" id="{92F8F1FB-495B-9AB4-C2EF-B6717E58F418}"/>
              </a:ext>
            </a:extLst>
          </p:cNvPr>
          <p:cNvSpPr/>
          <p:nvPr/>
        </p:nvSpPr>
        <p:spPr>
          <a:xfrm>
            <a:off x="8339774" y="4168918"/>
            <a:ext cx="3493313" cy="191657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dirty="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Text Placeholder 6">
            <a:extLst>
              <a:ext uri="{FF2B5EF4-FFF2-40B4-BE49-F238E27FC236}">
                <a16:creationId xmlns:a16="http://schemas.microsoft.com/office/drawing/2014/main" id="{0D79CAF3-7DF2-D245-FBF5-C5E090767180}"/>
              </a:ext>
            </a:extLst>
          </p:cNvPr>
          <p:cNvSpPr txBox="1">
            <a:spLocks/>
          </p:cNvSpPr>
          <p:nvPr/>
        </p:nvSpPr>
        <p:spPr>
          <a:xfrm>
            <a:off x="6179996" y="3980617"/>
            <a:ext cx="2359824" cy="2317528"/>
          </a:xfrm>
          <a:prstGeom prst="rect">
            <a:avLst/>
          </a:prstGeom>
          <a:solidFill>
            <a:schemeClr val="bg1">
              <a:lumMod val="95000"/>
            </a:schemeClr>
          </a:solidFill>
          <a:effectLst/>
        </p:spPr>
        <p:txBody>
          <a:bodyPr lIns="216000" rIns="89988" bIns="180000" anchor="b"/>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228554"/>
            <a:endParaRPr lang="en-US"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2" name="Chart 3">
            <a:extLst>
              <a:ext uri="{FF2B5EF4-FFF2-40B4-BE49-F238E27FC236}">
                <a16:creationId xmlns:a16="http://schemas.microsoft.com/office/drawing/2014/main" id="{741B98B2-C71F-D33B-F3B5-33A88D40FA92}"/>
              </a:ext>
            </a:extLst>
          </p:cNvPr>
          <p:cNvGraphicFramePr/>
          <p:nvPr>
            <p:extLst>
              <p:ext uri="{D42A27DB-BD31-4B8C-83A1-F6EECF244321}">
                <p14:modId xmlns:p14="http://schemas.microsoft.com/office/powerpoint/2010/main" val="814916954"/>
              </p:ext>
            </p:extLst>
          </p:nvPr>
        </p:nvGraphicFramePr>
        <p:xfrm>
          <a:off x="6340658" y="4168918"/>
          <a:ext cx="1999116" cy="1991848"/>
        </p:xfrm>
        <a:graphic>
          <a:graphicData uri="http://schemas.openxmlformats.org/drawingml/2006/chart">
            <c:chart xmlns:c="http://schemas.openxmlformats.org/drawingml/2006/chart" xmlns:r="http://schemas.openxmlformats.org/officeDocument/2006/relationships" r:id="rId8"/>
          </a:graphicData>
        </a:graphic>
      </p:graphicFrame>
      <p:grpSp>
        <p:nvGrpSpPr>
          <p:cNvPr id="33" name="Grupo 32">
            <a:extLst>
              <a:ext uri="{FF2B5EF4-FFF2-40B4-BE49-F238E27FC236}">
                <a16:creationId xmlns:a16="http://schemas.microsoft.com/office/drawing/2014/main" id="{7B5D3810-3F64-6DCE-5595-E923BB294C42}"/>
              </a:ext>
            </a:extLst>
          </p:cNvPr>
          <p:cNvGrpSpPr/>
          <p:nvPr/>
        </p:nvGrpSpPr>
        <p:grpSpPr>
          <a:xfrm>
            <a:off x="8846708" y="4569661"/>
            <a:ext cx="2679490" cy="1081439"/>
            <a:chOff x="8123597" y="1942268"/>
            <a:chExt cx="2679490" cy="1081439"/>
          </a:xfrm>
        </p:grpSpPr>
        <p:sp>
          <p:nvSpPr>
            <p:cNvPr id="34" name="TextBox 24">
              <a:extLst>
                <a:ext uri="{FF2B5EF4-FFF2-40B4-BE49-F238E27FC236}">
                  <a16:creationId xmlns:a16="http://schemas.microsoft.com/office/drawing/2014/main" id="{8082EEDB-C1B1-233A-466A-F54BB569DD44}"/>
                </a:ext>
              </a:extLst>
            </p:cNvPr>
            <p:cNvSpPr txBox="1"/>
            <p:nvPr/>
          </p:nvSpPr>
          <p:spPr>
            <a:xfrm>
              <a:off x="8123597" y="1942268"/>
              <a:ext cx="2679489" cy="369332"/>
            </a:xfrm>
            <a:prstGeom prst="rect">
              <a:avLst/>
            </a:prstGeom>
            <a:noFill/>
          </p:spPr>
          <p:txBody>
            <a:bodyPr wrap="square" lIns="0" tIns="0" rIns="0" bIns="0" rtlCol="0">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sp>
          <p:nvSpPr>
            <p:cNvPr id="35" name="TextBox 25">
              <a:extLst>
                <a:ext uri="{FF2B5EF4-FFF2-40B4-BE49-F238E27FC236}">
                  <a16:creationId xmlns:a16="http://schemas.microsoft.com/office/drawing/2014/main" id="{23F715FF-DCC8-A873-7A0B-21F9195A40EA}"/>
                </a:ext>
              </a:extLst>
            </p:cNvPr>
            <p:cNvSpPr txBox="1"/>
            <p:nvPr/>
          </p:nvSpPr>
          <p:spPr>
            <a:xfrm>
              <a:off x="8123597" y="2377376"/>
              <a:ext cx="2679490" cy="646331"/>
            </a:xfrm>
            <a:prstGeom prst="rect">
              <a:avLst/>
            </a:prstGeom>
            <a:noFill/>
          </p:spPr>
          <p:txBody>
            <a:bodyPr wrap="square" lIns="0" tIns="0" rIns="0" bIns="0" rtlCol="0">
              <a:spAutoFit/>
            </a:bodyPr>
            <a:lstStyle/>
            <a:p>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orem ipsum dolor si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m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sectetur</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dipiscing</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li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Sed </a:t>
              </a:r>
              <a:r>
                <a:rPr lang="en-US" sz="1400" dirty="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get</a:t>
              </a:r>
              <a:r>
                <a:rPr lang="en-US" sz="14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grpSp>
      <p:sp>
        <p:nvSpPr>
          <p:cNvPr id="36" name="Rectangle 55">
            <a:extLst>
              <a:ext uri="{FF2B5EF4-FFF2-40B4-BE49-F238E27FC236}">
                <a16:creationId xmlns:a16="http://schemas.microsoft.com/office/drawing/2014/main" id="{3B445DC9-195D-FAB6-A3BA-C7A381018905}"/>
              </a:ext>
            </a:extLst>
          </p:cNvPr>
          <p:cNvSpPr/>
          <p:nvPr/>
        </p:nvSpPr>
        <p:spPr>
          <a:xfrm>
            <a:off x="11345672" y="3980617"/>
            <a:ext cx="361050" cy="369331"/>
          </a:xfrm>
          <a:prstGeom prst="rect">
            <a:avLst/>
          </a:prstGeom>
          <a:solidFill>
            <a:schemeClr val="accent3"/>
          </a:solidFill>
          <a:ln>
            <a:noFill/>
          </a:ln>
          <a:effectLst>
            <a:outerShdw blurRad="381000" dist="50800" dir="2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04</a:t>
            </a:r>
          </a:p>
        </p:txBody>
      </p:sp>
      <p:sp>
        <p:nvSpPr>
          <p:cNvPr id="40" name="Freeform 926">
            <a:extLst>
              <a:ext uri="{FF2B5EF4-FFF2-40B4-BE49-F238E27FC236}">
                <a16:creationId xmlns:a16="http://schemas.microsoft.com/office/drawing/2014/main" id="{9A6129D5-18C5-4F52-73CF-2D0D4E68712F}"/>
              </a:ext>
            </a:extLst>
          </p:cNvPr>
          <p:cNvSpPr>
            <a:spLocks noChangeArrowheads="1"/>
          </p:cNvSpPr>
          <p:nvPr/>
        </p:nvSpPr>
        <p:spPr bwMode="auto">
          <a:xfrm>
            <a:off x="7001005" y="4797998"/>
            <a:ext cx="715783" cy="715783"/>
          </a:xfrm>
          <a:custGeom>
            <a:avLst/>
            <a:gdLst>
              <a:gd name="T0" fmla="*/ 2003694 w 296503"/>
              <a:gd name="T1" fmla="*/ 1832388 h 296502"/>
              <a:gd name="T2" fmla="*/ 716340 w 296503"/>
              <a:gd name="T3" fmla="*/ 1832388 h 296502"/>
              <a:gd name="T4" fmla="*/ 1792869 w 296503"/>
              <a:gd name="T5" fmla="*/ 2632308 h 296502"/>
              <a:gd name="T6" fmla="*/ 1761647 w 296503"/>
              <a:gd name="T7" fmla="*/ 1934355 h 296502"/>
              <a:gd name="T8" fmla="*/ 1309759 w 296503"/>
              <a:gd name="T9" fmla="*/ 1765729 h 296502"/>
              <a:gd name="T10" fmla="*/ 1454202 w 296503"/>
              <a:gd name="T11" fmla="*/ 2632308 h 296502"/>
              <a:gd name="T12" fmla="*/ 1831921 w 296503"/>
              <a:gd name="T13" fmla="*/ 712916 h 296502"/>
              <a:gd name="T14" fmla="*/ 1407353 w 296503"/>
              <a:gd name="T15" fmla="*/ 712916 h 296502"/>
              <a:gd name="T16" fmla="*/ 1792869 w 296503"/>
              <a:gd name="T17" fmla="*/ 607044 h 296502"/>
              <a:gd name="T18" fmla="*/ 1929508 w 296503"/>
              <a:gd name="T19" fmla="*/ 1477536 h 296502"/>
              <a:gd name="T20" fmla="*/ 1792869 w 296503"/>
              <a:gd name="T21" fmla="*/ 607044 h 296502"/>
              <a:gd name="T22" fmla="*/ 1477622 w 296503"/>
              <a:gd name="T23" fmla="*/ 1308917 h 296502"/>
              <a:gd name="T24" fmla="*/ 610925 w 296503"/>
              <a:gd name="T25" fmla="*/ 1446161 h 296502"/>
              <a:gd name="T26" fmla="*/ 1432671 w 296503"/>
              <a:gd name="T27" fmla="*/ 386184 h 296502"/>
              <a:gd name="T28" fmla="*/ 964299 w 296503"/>
              <a:gd name="T29" fmla="*/ 240396 h 296502"/>
              <a:gd name="T30" fmla="*/ 842289 w 296503"/>
              <a:gd name="T31" fmla="*/ 646275 h 296502"/>
              <a:gd name="T32" fmla="*/ 362084 w 296503"/>
              <a:gd name="T33" fmla="*/ 756638 h 296502"/>
              <a:gd name="T34" fmla="*/ 460473 w 296503"/>
              <a:gd name="T35" fmla="*/ 1166470 h 296502"/>
              <a:gd name="T36" fmla="*/ 98402 w 296503"/>
              <a:gd name="T37" fmla="*/ 1737883 h 296502"/>
              <a:gd name="T38" fmla="*/ 436901 w 296503"/>
              <a:gd name="T39" fmla="*/ 2135906 h 296502"/>
              <a:gd name="T40" fmla="*/ 401470 w 296503"/>
              <a:gd name="T41" fmla="*/ 2494508 h 296502"/>
              <a:gd name="T42" fmla="*/ 747814 w 296503"/>
              <a:gd name="T43" fmla="*/ 2841306 h 296502"/>
              <a:gd name="T44" fmla="*/ 1109935 w 296503"/>
              <a:gd name="T45" fmla="*/ 2801901 h 296502"/>
              <a:gd name="T46" fmla="*/ 1475957 w 296503"/>
              <a:gd name="T47" fmla="*/ 3113225 h 296502"/>
              <a:gd name="T48" fmla="*/ 1810507 w 296503"/>
              <a:gd name="T49" fmla="*/ 2857075 h 296502"/>
              <a:gd name="T50" fmla="*/ 2278887 w 296503"/>
              <a:gd name="T51" fmla="*/ 2998932 h 296502"/>
              <a:gd name="T52" fmla="*/ 2593757 w 296503"/>
              <a:gd name="T53" fmla="*/ 2399927 h 296502"/>
              <a:gd name="T54" fmla="*/ 2999144 w 296503"/>
              <a:gd name="T55" fmla="*/ 2281719 h 296502"/>
              <a:gd name="T56" fmla="*/ 2900755 w 296503"/>
              <a:gd name="T57" fmla="*/ 1765466 h 296502"/>
              <a:gd name="T58" fmla="*/ 2900755 w 296503"/>
              <a:gd name="T59" fmla="*/ 1473853 h 296502"/>
              <a:gd name="T60" fmla="*/ 2999144 w 296503"/>
              <a:gd name="T61" fmla="*/ 961550 h 296502"/>
              <a:gd name="T62" fmla="*/ 2593757 w 296503"/>
              <a:gd name="T63" fmla="*/ 839402 h 296502"/>
              <a:gd name="T64" fmla="*/ 2278887 w 296503"/>
              <a:gd name="T65" fmla="*/ 240396 h 296502"/>
              <a:gd name="T66" fmla="*/ 1810507 w 296503"/>
              <a:gd name="T67" fmla="*/ 386184 h 296502"/>
              <a:gd name="T68" fmla="*/ 1503519 w 296503"/>
              <a:gd name="T69" fmla="*/ 0 h 296502"/>
              <a:gd name="T70" fmla="*/ 2152928 w 296503"/>
              <a:gd name="T71" fmla="*/ 204932 h 296502"/>
              <a:gd name="T72" fmla="*/ 2491427 w 296503"/>
              <a:gd name="T73" fmla="*/ 599009 h 296502"/>
              <a:gd name="T74" fmla="*/ 3081802 w 296503"/>
              <a:gd name="T75" fmla="*/ 914254 h 296502"/>
              <a:gd name="T76" fmla="*/ 3239232 w 296503"/>
              <a:gd name="T77" fmla="*/ 1501447 h 296502"/>
              <a:gd name="T78" fmla="*/ 3038512 w 296503"/>
              <a:gd name="T79" fmla="*/ 2151673 h 296502"/>
              <a:gd name="T80" fmla="*/ 2644910 w 296503"/>
              <a:gd name="T81" fmla="*/ 2494508 h 296502"/>
              <a:gd name="T82" fmla="*/ 2231649 w 296503"/>
              <a:gd name="T83" fmla="*/ 3097458 h 296502"/>
              <a:gd name="T84" fmla="*/ 1735730 w 296503"/>
              <a:gd name="T85" fmla="*/ 3239316 h 296502"/>
              <a:gd name="T86" fmla="*/ 1086305 w 296503"/>
              <a:gd name="T87" fmla="*/ 3038344 h 296502"/>
              <a:gd name="T88" fmla="*/ 661243 w 296503"/>
              <a:gd name="T89" fmla="*/ 2790074 h 296502"/>
              <a:gd name="T90" fmla="*/ 157452 w 296503"/>
              <a:gd name="T91" fmla="*/ 2329022 h 296502"/>
              <a:gd name="T92" fmla="*/ 129869 w 296503"/>
              <a:gd name="T93" fmla="*/ 1867927 h 296502"/>
              <a:gd name="T94" fmla="*/ 354220 w 296503"/>
              <a:gd name="T95" fmla="*/ 1170410 h 296502"/>
              <a:gd name="T96" fmla="*/ 354220 w 296503"/>
              <a:gd name="T97" fmla="*/ 650241 h 296502"/>
              <a:gd name="T98" fmla="*/ 649412 w 296503"/>
              <a:gd name="T99" fmla="*/ 350721 h 296502"/>
              <a:gd name="T100" fmla="*/ 1168961 w 296503"/>
              <a:gd name="T101" fmla="*/ 350721 h 2965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503" h="296502">
                <a:moveTo>
                  <a:pt x="183408" y="167723"/>
                </a:moveTo>
                <a:cubicBezTo>
                  <a:pt x="179834" y="174542"/>
                  <a:pt x="174117" y="179926"/>
                  <a:pt x="167684" y="183515"/>
                </a:cubicBezTo>
                <a:lnTo>
                  <a:pt x="167684" y="231250"/>
                </a:lnTo>
                <a:cubicBezTo>
                  <a:pt x="198774" y="223713"/>
                  <a:pt x="223432" y="199307"/>
                  <a:pt x="230579" y="167723"/>
                </a:cubicBezTo>
                <a:lnTo>
                  <a:pt x="183408" y="167723"/>
                </a:lnTo>
                <a:close/>
                <a:moveTo>
                  <a:pt x="65569" y="167723"/>
                </a:moveTo>
                <a:cubicBezTo>
                  <a:pt x="73074" y="199307"/>
                  <a:pt x="97374" y="223713"/>
                  <a:pt x="128822" y="231250"/>
                </a:cubicBezTo>
                <a:lnTo>
                  <a:pt x="128822" y="183515"/>
                </a:lnTo>
                <a:cubicBezTo>
                  <a:pt x="122032" y="179926"/>
                  <a:pt x="116672" y="174542"/>
                  <a:pt x="112741" y="167723"/>
                </a:cubicBezTo>
                <a:lnTo>
                  <a:pt x="65569" y="167723"/>
                </a:lnTo>
                <a:close/>
                <a:moveTo>
                  <a:pt x="180549" y="158750"/>
                </a:moveTo>
                <a:lnTo>
                  <a:pt x="236297" y="158750"/>
                </a:lnTo>
                <a:cubicBezTo>
                  <a:pt x="237369" y="158750"/>
                  <a:pt x="238441" y="159468"/>
                  <a:pt x="239513" y="160545"/>
                </a:cubicBezTo>
                <a:cubicBezTo>
                  <a:pt x="240228" y="161621"/>
                  <a:pt x="240943" y="162698"/>
                  <a:pt x="240586" y="164134"/>
                </a:cubicBezTo>
                <a:cubicBezTo>
                  <a:pt x="233796" y="203614"/>
                  <a:pt x="203063" y="234122"/>
                  <a:pt x="164111" y="240941"/>
                </a:cubicBezTo>
                <a:cubicBezTo>
                  <a:pt x="163753" y="240941"/>
                  <a:pt x="163396" y="240941"/>
                  <a:pt x="163039" y="240941"/>
                </a:cubicBezTo>
                <a:cubicBezTo>
                  <a:pt x="161966" y="240941"/>
                  <a:pt x="160894" y="240582"/>
                  <a:pt x="160537" y="239864"/>
                </a:cubicBezTo>
                <a:cubicBezTo>
                  <a:pt x="159465" y="239147"/>
                  <a:pt x="158750" y="237711"/>
                  <a:pt x="158750" y="236634"/>
                </a:cubicBezTo>
                <a:lnTo>
                  <a:pt x="158750" y="181003"/>
                </a:lnTo>
                <a:cubicBezTo>
                  <a:pt x="158750" y="179208"/>
                  <a:pt x="159822" y="177414"/>
                  <a:pt x="161252" y="177055"/>
                </a:cubicBezTo>
                <a:cubicBezTo>
                  <a:pt x="168042" y="173824"/>
                  <a:pt x="173402" y="168082"/>
                  <a:pt x="176618" y="161621"/>
                </a:cubicBezTo>
                <a:cubicBezTo>
                  <a:pt x="177333" y="159827"/>
                  <a:pt x="178762" y="158750"/>
                  <a:pt x="180549" y="158750"/>
                </a:cubicBezTo>
                <a:close/>
                <a:moveTo>
                  <a:pt x="60209" y="158750"/>
                </a:moveTo>
                <a:lnTo>
                  <a:pt x="115600" y="158750"/>
                </a:lnTo>
                <a:cubicBezTo>
                  <a:pt x="117386" y="158750"/>
                  <a:pt x="118816" y="159827"/>
                  <a:pt x="119888" y="161621"/>
                </a:cubicBezTo>
                <a:cubicBezTo>
                  <a:pt x="122747" y="168082"/>
                  <a:pt x="128107" y="173824"/>
                  <a:pt x="135254" y="177055"/>
                </a:cubicBezTo>
                <a:cubicBezTo>
                  <a:pt x="136684" y="177414"/>
                  <a:pt x="137756" y="179208"/>
                  <a:pt x="137756" y="181003"/>
                </a:cubicBezTo>
                <a:lnTo>
                  <a:pt x="137756" y="236634"/>
                </a:lnTo>
                <a:cubicBezTo>
                  <a:pt x="137756" y="237711"/>
                  <a:pt x="137041" y="239147"/>
                  <a:pt x="135969" y="239864"/>
                </a:cubicBezTo>
                <a:cubicBezTo>
                  <a:pt x="135254" y="240582"/>
                  <a:pt x="134182" y="240941"/>
                  <a:pt x="133110" y="240941"/>
                </a:cubicBezTo>
                <a:cubicBezTo>
                  <a:pt x="133110" y="240941"/>
                  <a:pt x="132753" y="240941"/>
                  <a:pt x="132395" y="240941"/>
                </a:cubicBezTo>
                <a:cubicBezTo>
                  <a:pt x="93086" y="234122"/>
                  <a:pt x="62710" y="203614"/>
                  <a:pt x="55921" y="164134"/>
                </a:cubicBezTo>
                <a:cubicBezTo>
                  <a:pt x="55563" y="162698"/>
                  <a:pt x="55921" y="161621"/>
                  <a:pt x="56635" y="160545"/>
                </a:cubicBezTo>
                <a:cubicBezTo>
                  <a:pt x="57707" y="159468"/>
                  <a:pt x="59137" y="158750"/>
                  <a:pt x="60209" y="158750"/>
                </a:cubicBezTo>
                <a:close/>
                <a:moveTo>
                  <a:pt x="167684" y="65254"/>
                </a:moveTo>
                <a:lnTo>
                  <a:pt x="167684" y="112989"/>
                </a:lnTo>
                <a:cubicBezTo>
                  <a:pt x="174117" y="116578"/>
                  <a:pt x="179834" y="122321"/>
                  <a:pt x="183408" y="128781"/>
                </a:cubicBezTo>
                <a:lnTo>
                  <a:pt x="230579" y="128781"/>
                </a:lnTo>
                <a:cubicBezTo>
                  <a:pt x="223432" y="97556"/>
                  <a:pt x="198774" y="72791"/>
                  <a:pt x="167684" y="65254"/>
                </a:cubicBezTo>
                <a:close/>
                <a:moveTo>
                  <a:pt x="128822" y="65254"/>
                </a:moveTo>
                <a:cubicBezTo>
                  <a:pt x="97374" y="72791"/>
                  <a:pt x="73074" y="97556"/>
                  <a:pt x="65569" y="128781"/>
                </a:cubicBezTo>
                <a:lnTo>
                  <a:pt x="112741" y="128781"/>
                </a:lnTo>
                <a:cubicBezTo>
                  <a:pt x="116672" y="122321"/>
                  <a:pt x="122032" y="116578"/>
                  <a:pt x="128822" y="112989"/>
                </a:cubicBezTo>
                <a:lnTo>
                  <a:pt x="128822" y="65254"/>
                </a:lnTo>
                <a:close/>
                <a:moveTo>
                  <a:pt x="164111" y="55563"/>
                </a:moveTo>
                <a:cubicBezTo>
                  <a:pt x="203063" y="62382"/>
                  <a:pt x="233796" y="93249"/>
                  <a:pt x="240586" y="132370"/>
                </a:cubicBezTo>
                <a:cubicBezTo>
                  <a:pt x="240943" y="133806"/>
                  <a:pt x="240228" y="135242"/>
                  <a:pt x="239513" y="136318"/>
                </a:cubicBezTo>
                <a:cubicBezTo>
                  <a:pt x="238441" y="137036"/>
                  <a:pt x="237369" y="137754"/>
                  <a:pt x="236297" y="137754"/>
                </a:cubicBezTo>
                <a:lnTo>
                  <a:pt x="180549" y="137754"/>
                </a:lnTo>
                <a:cubicBezTo>
                  <a:pt x="178762" y="137754"/>
                  <a:pt x="177333" y="136677"/>
                  <a:pt x="176618" y="135242"/>
                </a:cubicBezTo>
                <a:cubicBezTo>
                  <a:pt x="173402" y="128422"/>
                  <a:pt x="168042" y="123039"/>
                  <a:pt x="161252" y="119808"/>
                </a:cubicBezTo>
                <a:cubicBezTo>
                  <a:pt x="159822" y="119091"/>
                  <a:pt x="158750" y="117296"/>
                  <a:pt x="158750" y="115501"/>
                </a:cubicBezTo>
                <a:lnTo>
                  <a:pt x="158750" y="60229"/>
                </a:lnTo>
                <a:cubicBezTo>
                  <a:pt x="158750" y="58793"/>
                  <a:pt x="159465" y="57358"/>
                  <a:pt x="160537" y="56640"/>
                </a:cubicBezTo>
                <a:cubicBezTo>
                  <a:pt x="161252" y="55563"/>
                  <a:pt x="162681" y="55563"/>
                  <a:pt x="164111" y="55563"/>
                </a:cubicBezTo>
                <a:close/>
                <a:moveTo>
                  <a:pt x="132395" y="55563"/>
                </a:moveTo>
                <a:cubicBezTo>
                  <a:pt x="133468" y="55563"/>
                  <a:pt x="135254" y="55563"/>
                  <a:pt x="135969" y="56640"/>
                </a:cubicBezTo>
                <a:cubicBezTo>
                  <a:pt x="137041" y="57358"/>
                  <a:pt x="137756" y="58793"/>
                  <a:pt x="137756" y="60229"/>
                </a:cubicBezTo>
                <a:lnTo>
                  <a:pt x="137756" y="115501"/>
                </a:lnTo>
                <a:cubicBezTo>
                  <a:pt x="137756" y="117296"/>
                  <a:pt x="136684" y="119091"/>
                  <a:pt x="135254" y="119808"/>
                </a:cubicBezTo>
                <a:cubicBezTo>
                  <a:pt x="128107" y="123039"/>
                  <a:pt x="122747" y="128422"/>
                  <a:pt x="119888" y="135242"/>
                </a:cubicBezTo>
                <a:cubicBezTo>
                  <a:pt x="118816" y="136677"/>
                  <a:pt x="117386" y="137754"/>
                  <a:pt x="115600" y="137754"/>
                </a:cubicBezTo>
                <a:lnTo>
                  <a:pt x="60209" y="137754"/>
                </a:lnTo>
                <a:cubicBezTo>
                  <a:pt x="59137" y="137754"/>
                  <a:pt x="57707" y="137036"/>
                  <a:pt x="56635" y="136318"/>
                </a:cubicBezTo>
                <a:cubicBezTo>
                  <a:pt x="55921" y="135242"/>
                  <a:pt x="55563" y="133806"/>
                  <a:pt x="55921" y="132370"/>
                </a:cubicBezTo>
                <a:cubicBezTo>
                  <a:pt x="62710" y="93249"/>
                  <a:pt x="93086" y="62382"/>
                  <a:pt x="132395" y="55563"/>
                </a:cubicBezTo>
                <a:close/>
                <a:moveTo>
                  <a:pt x="137624" y="9018"/>
                </a:moveTo>
                <a:cubicBezTo>
                  <a:pt x="136183" y="9018"/>
                  <a:pt x="135102" y="10100"/>
                  <a:pt x="135102" y="11543"/>
                </a:cubicBezTo>
                <a:lnTo>
                  <a:pt x="135102" y="31021"/>
                </a:lnTo>
                <a:cubicBezTo>
                  <a:pt x="135102" y="33185"/>
                  <a:pt x="133300" y="34989"/>
                  <a:pt x="131139" y="35349"/>
                </a:cubicBezTo>
                <a:cubicBezTo>
                  <a:pt x="122853" y="36792"/>
                  <a:pt x="114927" y="38956"/>
                  <a:pt x="107001" y="41842"/>
                </a:cubicBezTo>
                <a:cubicBezTo>
                  <a:pt x="104839" y="42564"/>
                  <a:pt x="102677" y="41842"/>
                  <a:pt x="101597" y="40039"/>
                </a:cubicBezTo>
                <a:lnTo>
                  <a:pt x="91869" y="23085"/>
                </a:lnTo>
                <a:cubicBezTo>
                  <a:pt x="91509" y="22364"/>
                  <a:pt x="90788" y="22003"/>
                  <a:pt x="90068" y="22003"/>
                </a:cubicBezTo>
                <a:cubicBezTo>
                  <a:pt x="89347" y="21642"/>
                  <a:pt x="88627" y="22003"/>
                  <a:pt x="88267" y="22003"/>
                </a:cubicBezTo>
                <a:lnTo>
                  <a:pt x="69532" y="32824"/>
                </a:lnTo>
                <a:cubicBezTo>
                  <a:pt x="68812" y="33185"/>
                  <a:pt x="68091" y="33907"/>
                  <a:pt x="68091" y="34628"/>
                </a:cubicBezTo>
                <a:cubicBezTo>
                  <a:pt x="68091" y="35349"/>
                  <a:pt x="68091" y="36071"/>
                  <a:pt x="68452" y="36792"/>
                </a:cubicBezTo>
                <a:lnTo>
                  <a:pt x="77819" y="53385"/>
                </a:lnTo>
                <a:cubicBezTo>
                  <a:pt x="79260" y="55188"/>
                  <a:pt x="78900" y="57713"/>
                  <a:pt x="77098" y="59156"/>
                </a:cubicBezTo>
                <a:cubicBezTo>
                  <a:pt x="70613" y="64567"/>
                  <a:pt x="64489" y="70338"/>
                  <a:pt x="59445" y="76831"/>
                </a:cubicBezTo>
                <a:cubicBezTo>
                  <a:pt x="58004" y="78634"/>
                  <a:pt x="55481" y="78995"/>
                  <a:pt x="53680" y="77913"/>
                </a:cubicBezTo>
                <a:lnTo>
                  <a:pt x="36747" y="68174"/>
                </a:lnTo>
                <a:cubicBezTo>
                  <a:pt x="36387" y="67813"/>
                  <a:pt x="35306" y="67813"/>
                  <a:pt x="34946" y="68174"/>
                </a:cubicBezTo>
                <a:cubicBezTo>
                  <a:pt x="33865" y="68174"/>
                  <a:pt x="33505" y="68535"/>
                  <a:pt x="33145" y="69256"/>
                </a:cubicBezTo>
                <a:lnTo>
                  <a:pt x="22337" y="88013"/>
                </a:lnTo>
                <a:cubicBezTo>
                  <a:pt x="21976" y="88734"/>
                  <a:pt x="21976" y="89456"/>
                  <a:pt x="22337" y="89816"/>
                </a:cubicBezTo>
                <a:cubicBezTo>
                  <a:pt x="22337" y="90899"/>
                  <a:pt x="22697" y="91259"/>
                  <a:pt x="23417" y="91620"/>
                </a:cubicBezTo>
                <a:lnTo>
                  <a:pt x="39990" y="101359"/>
                </a:lnTo>
                <a:cubicBezTo>
                  <a:pt x="42151" y="102441"/>
                  <a:pt x="42872" y="104605"/>
                  <a:pt x="42151" y="106770"/>
                </a:cubicBezTo>
                <a:cubicBezTo>
                  <a:pt x="38909" y="114705"/>
                  <a:pt x="36747" y="122641"/>
                  <a:pt x="35306" y="130937"/>
                </a:cubicBezTo>
                <a:cubicBezTo>
                  <a:pt x="35306" y="133101"/>
                  <a:pt x="33505" y="134905"/>
                  <a:pt x="30983" y="134905"/>
                </a:cubicBezTo>
                <a:lnTo>
                  <a:pt x="11889" y="134905"/>
                </a:lnTo>
                <a:cubicBezTo>
                  <a:pt x="10448" y="134905"/>
                  <a:pt x="9007" y="135987"/>
                  <a:pt x="9007" y="137430"/>
                </a:cubicBezTo>
                <a:lnTo>
                  <a:pt x="9007" y="159072"/>
                </a:lnTo>
                <a:cubicBezTo>
                  <a:pt x="9007" y="160515"/>
                  <a:pt x="10448" y="161597"/>
                  <a:pt x="11889" y="161597"/>
                </a:cubicBezTo>
                <a:lnTo>
                  <a:pt x="30983" y="161597"/>
                </a:lnTo>
                <a:cubicBezTo>
                  <a:pt x="33505" y="161597"/>
                  <a:pt x="35306" y="163401"/>
                  <a:pt x="35306" y="165565"/>
                </a:cubicBezTo>
                <a:cubicBezTo>
                  <a:pt x="36747" y="173861"/>
                  <a:pt x="38909" y="181797"/>
                  <a:pt x="42151" y="189733"/>
                </a:cubicBezTo>
                <a:cubicBezTo>
                  <a:pt x="42872" y="191897"/>
                  <a:pt x="42151" y="194061"/>
                  <a:pt x="39990" y="195504"/>
                </a:cubicBezTo>
                <a:lnTo>
                  <a:pt x="23417" y="204882"/>
                </a:lnTo>
                <a:cubicBezTo>
                  <a:pt x="22697" y="205243"/>
                  <a:pt x="22337" y="205965"/>
                  <a:pt x="22337" y="206686"/>
                </a:cubicBezTo>
                <a:cubicBezTo>
                  <a:pt x="21976" y="207407"/>
                  <a:pt x="21976" y="208129"/>
                  <a:pt x="22337" y="208850"/>
                </a:cubicBezTo>
                <a:lnTo>
                  <a:pt x="33145" y="227246"/>
                </a:lnTo>
                <a:cubicBezTo>
                  <a:pt x="33865" y="228689"/>
                  <a:pt x="35306" y="229050"/>
                  <a:pt x="36747" y="228328"/>
                </a:cubicBezTo>
                <a:lnTo>
                  <a:pt x="53680" y="218589"/>
                </a:lnTo>
                <a:cubicBezTo>
                  <a:pt x="55481" y="217507"/>
                  <a:pt x="58004" y="218229"/>
                  <a:pt x="59445" y="219671"/>
                </a:cubicBezTo>
                <a:cubicBezTo>
                  <a:pt x="64489" y="226164"/>
                  <a:pt x="70613" y="232296"/>
                  <a:pt x="77098" y="237346"/>
                </a:cubicBezTo>
                <a:cubicBezTo>
                  <a:pt x="78900" y="238789"/>
                  <a:pt x="79260" y="240953"/>
                  <a:pt x="77819" y="243478"/>
                </a:cubicBezTo>
                <a:lnTo>
                  <a:pt x="68452" y="260071"/>
                </a:lnTo>
                <a:cubicBezTo>
                  <a:pt x="68091" y="260792"/>
                  <a:pt x="68091" y="261514"/>
                  <a:pt x="68091" y="261874"/>
                </a:cubicBezTo>
                <a:cubicBezTo>
                  <a:pt x="68091" y="262596"/>
                  <a:pt x="68812" y="263317"/>
                  <a:pt x="69532" y="263678"/>
                </a:cubicBezTo>
                <a:lnTo>
                  <a:pt x="88267" y="274499"/>
                </a:lnTo>
                <a:cubicBezTo>
                  <a:pt x="89347" y="275221"/>
                  <a:pt x="90788" y="274860"/>
                  <a:pt x="91869" y="273417"/>
                </a:cubicBezTo>
                <a:lnTo>
                  <a:pt x="101597" y="256464"/>
                </a:lnTo>
                <a:cubicBezTo>
                  <a:pt x="102317" y="255382"/>
                  <a:pt x="103758" y="254660"/>
                  <a:pt x="105199" y="254660"/>
                </a:cubicBezTo>
                <a:cubicBezTo>
                  <a:pt x="105920" y="254660"/>
                  <a:pt x="106280" y="254660"/>
                  <a:pt x="107001" y="254660"/>
                </a:cubicBezTo>
                <a:cubicBezTo>
                  <a:pt x="114927" y="257907"/>
                  <a:pt x="122853" y="260071"/>
                  <a:pt x="131139" y="261514"/>
                </a:cubicBezTo>
                <a:cubicBezTo>
                  <a:pt x="133300" y="261514"/>
                  <a:pt x="135102" y="263317"/>
                  <a:pt x="135102" y="265842"/>
                </a:cubicBezTo>
                <a:lnTo>
                  <a:pt x="135102" y="284960"/>
                </a:lnTo>
                <a:cubicBezTo>
                  <a:pt x="135102" y="286403"/>
                  <a:pt x="136183" y="287845"/>
                  <a:pt x="137624" y="287845"/>
                </a:cubicBezTo>
                <a:lnTo>
                  <a:pt x="158880" y="287845"/>
                </a:lnTo>
                <a:cubicBezTo>
                  <a:pt x="160681" y="287845"/>
                  <a:pt x="161762" y="286403"/>
                  <a:pt x="161762" y="284960"/>
                </a:cubicBezTo>
                <a:lnTo>
                  <a:pt x="161762" y="265842"/>
                </a:lnTo>
                <a:cubicBezTo>
                  <a:pt x="161762" y="263317"/>
                  <a:pt x="163563" y="261514"/>
                  <a:pt x="165725" y="261514"/>
                </a:cubicBezTo>
                <a:cubicBezTo>
                  <a:pt x="173651" y="260071"/>
                  <a:pt x="181937" y="257907"/>
                  <a:pt x="189863" y="254660"/>
                </a:cubicBezTo>
                <a:cubicBezTo>
                  <a:pt x="191664" y="253939"/>
                  <a:pt x="194186" y="254660"/>
                  <a:pt x="195267" y="256464"/>
                </a:cubicBezTo>
                <a:lnTo>
                  <a:pt x="204994" y="273417"/>
                </a:lnTo>
                <a:cubicBezTo>
                  <a:pt x="205355" y="274138"/>
                  <a:pt x="205715" y="274499"/>
                  <a:pt x="206435" y="274499"/>
                </a:cubicBezTo>
                <a:cubicBezTo>
                  <a:pt x="207156" y="274860"/>
                  <a:pt x="207876" y="274860"/>
                  <a:pt x="208597" y="274499"/>
                </a:cubicBezTo>
                <a:lnTo>
                  <a:pt x="227331" y="263678"/>
                </a:lnTo>
                <a:cubicBezTo>
                  <a:pt x="228772" y="262956"/>
                  <a:pt x="229132" y="261514"/>
                  <a:pt x="228052" y="260071"/>
                </a:cubicBezTo>
                <a:lnTo>
                  <a:pt x="218685" y="243478"/>
                </a:lnTo>
                <a:cubicBezTo>
                  <a:pt x="217243" y="240953"/>
                  <a:pt x="217964" y="238789"/>
                  <a:pt x="219765" y="237346"/>
                </a:cubicBezTo>
                <a:cubicBezTo>
                  <a:pt x="226250" y="232296"/>
                  <a:pt x="232015" y="226164"/>
                  <a:pt x="237419" y="219671"/>
                </a:cubicBezTo>
                <a:cubicBezTo>
                  <a:pt x="238860" y="218229"/>
                  <a:pt x="241021" y="217507"/>
                  <a:pt x="242823" y="218589"/>
                </a:cubicBezTo>
                <a:lnTo>
                  <a:pt x="260116" y="228328"/>
                </a:lnTo>
                <a:cubicBezTo>
                  <a:pt x="260476" y="228689"/>
                  <a:pt x="261196" y="229050"/>
                  <a:pt x="261917" y="228689"/>
                </a:cubicBezTo>
                <a:cubicBezTo>
                  <a:pt x="262638" y="228328"/>
                  <a:pt x="262998" y="227968"/>
                  <a:pt x="263718" y="227246"/>
                </a:cubicBezTo>
                <a:lnTo>
                  <a:pt x="274526" y="208850"/>
                </a:lnTo>
                <a:cubicBezTo>
                  <a:pt x="274887" y="207407"/>
                  <a:pt x="274526" y="205965"/>
                  <a:pt x="273446" y="204882"/>
                </a:cubicBezTo>
                <a:lnTo>
                  <a:pt x="256513" y="195504"/>
                </a:lnTo>
                <a:cubicBezTo>
                  <a:pt x="254712" y="194061"/>
                  <a:pt x="253631" y="191897"/>
                  <a:pt x="254712" y="189733"/>
                </a:cubicBezTo>
                <a:cubicBezTo>
                  <a:pt x="257594" y="181797"/>
                  <a:pt x="260116" y="173861"/>
                  <a:pt x="261196" y="165565"/>
                </a:cubicBezTo>
                <a:cubicBezTo>
                  <a:pt x="261557" y="163401"/>
                  <a:pt x="263358" y="161597"/>
                  <a:pt x="265520" y="161597"/>
                </a:cubicBezTo>
                <a:lnTo>
                  <a:pt x="284974" y="161597"/>
                </a:lnTo>
                <a:cubicBezTo>
                  <a:pt x="286415" y="161597"/>
                  <a:pt x="287856" y="160515"/>
                  <a:pt x="287856" y="159072"/>
                </a:cubicBezTo>
                <a:lnTo>
                  <a:pt x="287856" y="137430"/>
                </a:lnTo>
                <a:cubicBezTo>
                  <a:pt x="287856" y="135987"/>
                  <a:pt x="286415" y="134905"/>
                  <a:pt x="284974" y="134905"/>
                </a:cubicBezTo>
                <a:lnTo>
                  <a:pt x="265520" y="134905"/>
                </a:lnTo>
                <a:cubicBezTo>
                  <a:pt x="263358" y="134905"/>
                  <a:pt x="261557" y="133101"/>
                  <a:pt x="261196" y="130937"/>
                </a:cubicBezTo>
                <a:cubicBezTo>
                  <a:pt x="260116" y="122641"/>
                  <a:pt x="257594" y="114705"/>
                  <a:pt x="254712" y="106770"/>
                </a:cubicBezTo>
                <a:cubicBezTo>
                  <a:pt x="253631" y="104605"/>
                  <a:pt x="254712" y="102441"/>
                  <a:pt x="256513" y="101359"/>
                </a:cubicBezTo>
                <a:lnTo>
                  <a:pt x="273446" y="91620"/>
                </a:lnTo>
                <a:cubicBezTo>
                  <a:pt x="274526" y="90899"/>
                  <a:pt x="274887" y="89456"/>
                  <a:pt x="274526" y="88013"/>
                </a:cubicBezTo>
                <a:lnTo>
                  <a:pt x="263718" y="69256"/>
                </a:lnTo>
                <a:cubicBezTo>
                  <a:pt x="262998" y="68535"/>
                  <a:pt x="262638" y="68174"/>
                  <a:pt x="261917" y="68174"/>
                </a:cubicBezTo>
                <a:cubicBezTo>
                  <a:pt x="261196" y="67813"/>
                  <a:pt x="260476" y="67813"/>
                  <a:pt x="260116" y="68174"/>
                </a:cubicBezTo>
                <a:lnTo>
                  <a:pt x="242823" y="77913"/>
                </a:lnTo>
                <a:cubicBezTo>
                  <a:pt x="241021" y="78995"/>
                  <a:pt x="238860" y="78634"/>
                  <a:pt x="237419" y="76831"/>
                </a:cubicBezTo>
                <a:cubicBezTo>
                  <a:pt x="232015" y="70338"/>
                  <a:pt x="226250" y="64567"/>
                  <a:pt x="219765" y="59156"/>
                </a:cubicBezTo>
                <a:cubicBezTo>
                  <a:pt x="217964" y="57713"/>
                  <a:pt x="217243" y="55188"/>
                  <a:pt x="218685" y="53385"/>
                </a:cubicBezTo>
                <a:lnTo>
                  <a:pt x="228052" y="36792"/>
                </a:lnTo>
                <a:cubicBezTo>
                  <a:pt x="229132" y="35349"/>
                  <a:pt x="228772" y="33907"/>
                  <a:pt x="227331" y="32824"/>
                </a:cubicBezTo>
                <a:lnTo>
                  <a:pt x="208597" y="22003"/>
                </a:lnTo>
                <a:cubicBezTo>
                  <a:pt x="207876" y="22003"/>
                  <a:pt x="207156" y="21642"/>
                  <a:pt x="206435" y="22003"/>
                </a:cubicBezTo>
                <a:cubicBezTo>
                  <a:pt x="205715" y="22003"/>
                  <a:pt x="205355" y="22364"/>
                  <a:pt x="204994" y="23085"/>
                </a:cubicBezTo>
                <a:lnTo>
                  <a:pt x="195267" y="40039"/>
                </a:lnTo>
                <a:cubicBezTo>
                  <a:pt x="194186" y="41842"/>
                  <a:pt x="191664" y="42564"/>
                  <a:pt x="189863" y="41842"/>
                </a:cubicBezTo>
                <a:cubicBezTo>
                  <a:pt x="181937" y="38956"/>
                  <a:pt x="173651" y="36792"/>
                  <a:pt x="165725" y="35349"/>
                </a:cubicBezTo>
                <a:cubicBezTo>
                  <a:pt x="163563" y="34989"/>
                  <a:pt x="161762" y="33185"/>
                  <a:pt x="161762" y="31021"/>
                </a:cubicBezTo>
                <a:lnTo>
                  <a:pt x="161762" y="11543"/>
                </a:lnTo>
                <a:cubicBezTo>
                  <a:pt x="161762" y="10100"/>
                  <a:pt x="160681" y="9018"/>
                  <a:pt x="158880" y="9018"/>
                </a:cubicBezTo>
                <a:lnTo>
                  <a:pt x="137624" y="9018"/>
                </a:lnTo>
                <a:close/>
                <a:moveTo>
                  <a:pt x="137624" y="0"/>
                </a:moveTo>
                <a:lnTo>
                  <a:pt x="158880" y="0"/>
                </a:lnTo>
                <a:cubicBezTo>
                  <a:pt x="165725" y="0"/>
                  <a:pt x="170769" y="5050"/>
                  <a:pt x="170769" y="11543"/>
                </a:cubicBezTo>
                <a:lnTo>
                  <a:pt x="170769" y="27053"/>
                </a:lnTo>
                <a:cubicBezTo>
                  <a:pt x="176893" y="28135"/>
                  <a:pt x="183378" y="29939"/>
                  <a:pt x="189503" y="32103"/>
                </a:cubicBezTo>
                <a:lnTo>
                  <a:pt x="197068" y="18757"/>
                </a:lnTo>
                <a:cubicBezTo>
                  <a:pt x="198870" y="15871"/>
                  <a:pt x="201392" y="14068"/>
                  <a:pt x="204274" y="13346"/>
                </a:cubicBezTo>
                <a:cubicBezTo>
                  <a:pt x="207156" y="12264"/>
                  <a:pt x="210398" y="12985"/>
                  <a:pt x="213280" y="14428"/>
                </a:cubicBezTo>
                <a:lnTo>
                  <a:pt x="231654" y="25250"/>
                </a:lnTo>
                <a:cubicBezTo>
                  <a:pt x="237419" y="28496"/>
                  <a:pt x="239220" y="35710"/>
                  <a:pt x="235978" y="41121"/>
                </a:cubicBezTo>
                <a:lnTo>
                  <a:pt x="228052" y="54828"/>
                </a:lnTo>
                <a:cubicBezTo>
                  <a:pt x="233095" y="58795"/>
                  <a:pt x="237779" y="63485"/>
                  <a:pt x="242102" y="68174"/>
                </a:cubicBezTo>
                <a:lnTo>
                  <a:pt x="255432" y="60599"/>
                </a:lnTo>
                <a:cubicBezTo>
                  <a:pt x="257954" y="58795"/>
                  <a:pt x="261196" y="58435"/>
                  <a:pt x="264079" y="59517"/>
                </a:cubicBezTo>
                <a:cubicBezTo>
                  <a:pt x="267321" y="59878"/>
                  <a:pt x="269843" y="62042"/>
                  <a:pt x="271284" y="64567"/>
                </a:cubicBezTo>
                <a:lnTo>
                  <a:pt x="282092" y="83684"/>
                </a:lnTo>
                <a:cubicBezTo>
                  <a:pt x="285335" y="89095"/>
                  <a:pt x="283533" y="96309"/>
                  <a:pt x="278129" y="99556"/>
                </a:cubicBezTo>
                <a:lnTo>
                  <a:pt x="264439" y="107130"/>
                </a:lnTo>
                <a:cubicBezTo>
                  <a:pt x="266601" y="113262"/>
                  <a:pt x="268042" y="119394"/>
                  <a:pt x="269483" y="125887"/>
                </a:cubicBezTo>
                <a:lnTo>
                  <a:pt x="284974" y="125887"/>
                </a:lnTo>
                <a:cubicBezTo>
                  <a:pt x="291459" y="125887"/>
                  <a:pt x="296503" y="130937"/>
                  <a:pt x="296503" y="137430"/>
                </a:cubicBezTo>
                <a:lnTo>
                  <a:pt x="296503" y="159072"/>
                </a:lnTo>
                <a:cubicBezTo>
                  <a:pt x="296503" y="165565"/>
                  <a:pt x="291459" y="170976"/>
                  <a:pt x="284974" y="170976"/>
                </a:cubicBezTo>
                <a:lnTo>
                  <a:pt x="269483" y="170976"/>
                </a:lnTo>
                <a:cubicBezTo>
                  <a:pt x="268042" y="177108"/>
                  <a:pt x="266601" y="183240"/>
                  <a:pt x="264439" y="189372"/>
                </a:cubicBezTo>
                <a:lnTo>
                  <a:pt x="278129" y="196947"/>
                </a:lnTo>
                <a:cubicBezTo>
                  <a:pt x="283533" y="200554"/>
                  <a:pt x="285335" y="207768"/>
                  <a:pt x="282092" y="213179"/>
                </a:cubicBezTo>
                <a:lnTo>
                  <a:pt x="271284" y="231936"/>
                </a:lnTo>
                <a:cubicBezTo>
                  <a:pt x="269843" y="234460"/>
                  <a:pt x="267321" y="236625"/>
                  <a:pt x="264079" y="237346"/>
                </a:cubicBezTo>
                <a:cubicBezTo>
                  <a:pt x="261196" y="238068"/>
                  <a:pt x="257954" y="237707"/>
                  <a:pt x="255432" y="236264"/>
                </a:cubicBezTo>
                <a:lnTo>
                  <a:pt x="242102" y="228328"/>
                </a:lnTo>
                <a:cubicBezTo>
                  <a:pt x="237779" y="233378"/>
                  <a:pt x="233095" y="237707"/>
                  <a:pt x="228052" y="242035"/>
                </a:cubicBezTo>
                <a:lnTo>
                  <a:pt x="235978" y="255382"/>
                </a:lnTo>
                <a:cubicBezTo>
                  <a:pt x="239220" y="261153"/>
                  <a:pt x="237419" y="268367"/>
                  <a:pt x="231654" y="271613"/>
                </a:cubicBezTo>
                <a:lnTo>
                  <a:pt x="213280" y="282074"/>
                </a:lnTo>
                <a:cubicBezTo>
                  <a:pt x="210398" y="283878"/>
                  <a:pt x="207156" y="284238"/>
                  <a:pt x="204274" y="283517"/>
                </a:cubicBezTo>
                <a:cubicBezTo>
                  <a:pt x="201392" y="282795"/>
                  <a:pt x="198870" y="280631"/>
                  <a:pt x="197068" y="278106"/>
                </a:cubicBezTo>
                <a:lnTo>
                  <a:pt x="189503" y="264399"/>
                </a:lnTo>
                <a:cubicBezTo>
                  <a:pt x="183378" y="266564"/>
                  <a:pt x="176893" y="268367"/>
                  <a:pt x="170769" y="269449"/>
                </a:cubicBezTo>
                <a:lnTo>
                  <a:pt x="170769" y="284960"/>
                </a:lnTo>
                <a:cubicBezTo>
                  <a:pt x="170769" y="291452"/>
                  <a:pt x="165725" y="296502"/>
                  <a:pt x="158880" y="296502"/>
                </a:cubicBezTo>
                <a:lnTo>
                  <a:pt x="137624" y="296502"/>
                </a:lnTo>
                <a:cubicBezTo>
                  <a:pt x="131139" y="296502"/>
                  <a:pt x="125735" y="291452"/>
                  <a:pt x="125735" y="284960"/>
                </a:cubicBezTo>
                <a:lnTo>
                  <a:pt x="125735" y="269449"/>
                </a:lnTo>
                <a:cubicBezTo>
                  <a:pt x="119610" y="268367"/>
                  <a:pt x="113485" y="266564"/>
                  <a:pt x="107001" y="264399"/>
                </a:cubicBezTo>
                <a:lnTo>
                  <a:pt x="99435" y="278106"/>
                </a:lnTo>
                <a:cubicBezTo>
                  <a:pt x="97994" y="280631"/>
                  <a:pt x="95472" y="282795"/>
                  <a:pt x="92230" y="283517"/>
                </a:cubicBezTo>
                <a:cubicBezTo>
                  <a:pt x="89347" y="284238"/>
                  <a:pt x="86105" y="283878"/>
                  <a:pt x="83583" y="282074"/>
                </a:cubicBezTo>
                <a:lnTo>
                  <a:pt x="64849" y="271613"/>
                </a:lnTo>
                <a:cubicBezTo>
                  <a:pt x="62327" y="269810"/>
                  <a:pt x="60165" y="267285"/>
                  <a:pt x="59445" y="264399"/>
                </a:cubicBezTo>
                <a:cubicBezTo>
                  <a:pt x="58724" y="261514"/>
                  <a:pt x="59085" y="258267"/>
                  <a:pt x="60526" y="255382"/>
                </a:cubicBezTo>
                <a:lnTo>
                  <a:pt x="68452" y="242035"/>
                </a:lnTo>
                <a:cubicBezTo>
                  <a:pt x="63408" y="237707"/>
                  <a:pt x="59085" y="233378"/>
                  <a:pt x="54761" y="228328"/>
                </a:cubicBezTo>
                <a:lnTo>
                  <a:pt x="41431" y="236264"/>
                </a:lnTo>
                <a:cubicBezTo>
                  <a:pt x="35667" y="239510"/>
                  <a:pt x="28821" y="237346"/>
                  <a:pt x="25219" y="231936"/>
                </a:cubicBezTo>
                <a:lnTo>
                  <a:pt x="14411" y="213179"/>
                </a:lnTo>
                <a:cubicBezTo>
                  <a:pt x="12969" y="210654"/>
                  <a:pt x="12609" y="207407"/>
                  <a:pt x="13330" y="204161"/>
                </a:cubicBezTo>
                <a:cubicBezTo>
                  <a:pt x="14411" y="201275"/>
                  <a:pt x="16212" y="198750"/>
                  <a:pt x="19094" y="196947"/>
                </a:cubicBezTo>
                <a:lnTo>
                  <a:pt x="32424" y="189372"/>
                </a:lnTo>
                <a:cubicBezTo>
                  <a:pt x="30262" y="183240"/>
                  <a:pt x="28461" y="177108"/>
                  <a:pt x="27380" y="170976"/>
                </a:cubicBezTo>
                <a:lnTo>
                  <a:pt x="11889" y="170976"/>
                </a:lnTo>
                <a:cubicBezTo>
                  <a:pt x="5404" y="170976"/>
                  <a:pt x="0" y="165565"/>
                  <a:pt x="0" y="159072"/>
                </a:cubicBezTo>
                <a:lnTo>
                  <a:pt x="0" y="137430"/>
                </a:lnTo>
                <a:cubicBezTo>
                  <a:pt x="0" y="130937"/>
                  <a:pt x="5404" y="125887"/>
                  <a:pt x="11889" y="125887"/>
                </a:cubicBezTo>
                <a:lnTo>
                  <a:pt x="27380" y="125887"/>
                </a:lnTo>
                <a:cubicBezTo>
                  <a:pt x="28461" y="119394"/>
                  <a:pt x="30262" y="113262"/>
                  <a:pt x="32424" y="107130"/>
                </a:cubicBezTo>
                <a:lnTo>
                  <a:pt x="19094" y="99556"/>
                </a:lnTo>
                <a:cubicBezTo>
                  <a:pt x="16212" y="98113"/>
                  <a:pt x="14411" y="95227"/>
                  <a:pt x="13330" y="92341"/>
                </a:cubicBezTo>
                <a:cubicBezTo>
                  <a:pt x="12609" y="89456"/>
                  <a:pt x="12969" y="86209"/>
                  <a:pt x="14411" y="83684"/>
                </a:cubicBezTo>
                <a:lnTo>
                  <a:pt x="25219" y="64567"/>
                </a:lnTo>
                <a:cubicBezTo>
                  <a:pt x="27020" y="62042"/>
                  <a:pt x="29542" y="59878"/>
                  <a:pt x="32424" y="59517"/>
                </a:cubicBezTo>
                <a:cubicBezTo>
                  <a:pt x="35306" y="58435"/>
                  <a:pt x="38549" y="58795"/>
                  <a:pt x="41431" y="60599"/>
                </a:cubicBezTo>
                <a:lnTo>
                  <a:pt x="54761" y="68174"/>
                </a:lnTo>
                <a:cubicBezTo>
                  <a:pt x="59085" y="63485"/>
                  <a:pt x="63408" y="58795"/>
                  <a:pt x="68452" y="54828"/>
                </a:cubicBezTo>
                <a:lnTo>
                  <a:pt x="60526" y="41121"/>
                </a:lnTo>
                <a:cubicBezTo>
                  <a:pt x="59085" y="38596"/>
                  <a:pt x="58724" y="35349"/>
                  <a:pt x="59445" y="32103"/>
                </a:cubicBezTo>
                <a:cubicBezTo>
                  <a:pt x="60165" y="29217"/>
                  <a:pt x="62327" y="26692"/>
                  <a:pt x="64849" y="25250"/>
                </a:cubicBezTo>
                <a:lnTo>
                  <a:pt x="83583" y="14428"/>
                </a:lnTo>
                <a:cubicBezTo>
                  <a:pt x="86105" y="12985"/>
                  <a:pt x="89347" y="12264"/>
                  <a:pt x="92230" y="13346"/>
                </a:cubicBezTo>
                <a:cubicBezTo>
                  <a:pt x="95472" y="14068"/>
                  <a:pt x="97994" y="15871"/>
                  <a:pt x="99435" y="18757"/>
                </a:cubicBezTo>
                <a:lnTo>
                  <a:pt x="107001" y="32103"/>
                </a:lnTo>
                <a:cubicBezTo>
                  <a:pt x="113485" y="29939"/>
                  <a:pt x="119610" y="28135"/>
                  <a:pt x="125735" y="27053"/>
                </a:cubicBezTo>
                <a:lnTo>
                  <a:pt x="125735" y="11543"/>
                </a:lnTo>
                <a:cubicBezTo>
                  <a:pt x="125735" y="5050"/>
                  <a:pt x="131139" y="0"/>
                  <a:pt x="137624" y="0"/>
                </a:cubicBezTo>
                <a:close/>
              </a:path>
            </a:pathLst>
          </a:custGeom>
          <a:solidFill>
            <a:schemeClr val="accent3"/>
          </a:solidFill>
          <a:ln>
            <a:noFill/>
          </a:ln>
          <a:effectLst/>
        </p:spPr>
        <p:txBody>
          <a:bodyPr anchor="ctr"/>
          <a:lstStyle/>
          <a:p>
            <a:endParaRPr lang="en-US" dirty="0">
              <a:latin typeface="Lato Light" panose="020F0502020204030203" pitchFamily="34" charset="0"/>
            </a:endParaRPr>
          </a:p>
        </p:txBody>
      </p:sp>
      <p:sp>
        <p:nvSpPr>
          <p:cNvPr id="41" name="Freeform 928">
            <a:extLst>
              <a:ext uri="{FF2B5EF4-FFF2-40B4-BE49-F238E27FC236}">
                <a16:creationId xmlns:a16="http://schemas.microsoft.com/office/drawing/2014/main" id="{6627A87A-6F11-0D0C-0477-574F1241D141}"/>
              </a:ext>
            </a:extLst>
          </p:cNvPr>
          <p:cNvSpPr>
            <a:spLocks noChangeArrowheads="1"/>
          </p:cNvSpPr>
          <p:nvPr/>
        </p:nvSpPr>
        <p:spPr bwMode="auto">
          <a:xfrm>
            <a:off x="6973317" y="2407665"/>
            <a:ext cx="715783" cy="715783"/>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accent2"/>
          </a:solidFill>
          <a:ln>
            <a:noFill/>
          </a:ln>
          <a:effectLst/>
        </p:spPr>
        <p:txBody>
          <a:bodyPr anchor="ctr"/>
          <a:lstStyle/>
          <a:p>
            <a:endParaRPr lang="en-US" dirty="0">
              <a:latin typeface="Lato Light" panose="020F0502020204030203" pitchFamily="34" charset="0"/>
            </a:endParaRPr>
          </a:p>
        </p:txBody>
      </p:sp>
      <p:sp>
        <p:nvSpPr>
          <p:cNvPr id="42" name="Freeform 935">
            <a:extLst>
              <a:ext uri="{FF2B5EF4-FFF2-40B4-BE49-F238E27FC236}">
                <a16:creationId xmlns:a16="http://schemas.microsoft.com/office/drawing/2014/main" id="{9C4566B8-6808-5CCD-75B8-6A7E447FA630}"/>
              </a:ext>
            </a:extLst>
          </p:cNvPr>
          <p:cNvSpPr>
            <a:spLocks noChangeArrowheads="1"/>
          </p:cNvSpPr>
          <p:nvPr/>
        </p:nvSpPr>
        <p:spPr bwMode="auto">
          <a:xfrm>
            <a:off x="1171844" y="4810446"/>
            <a:ext cx="715783" cy="715785"/>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accent1"/>
          </a:solidFill>
          <a:ln>
            <a:noFill/>
          </a:ln>
          <a:effectLst/>
        </p:spPr>
        <p:txBody>
          <a:bodyPr anchor="ctr"/>
          <a:lstStyle/>
          <a:p>
            <a:endParaRPr lang="en-US" dirty="0">
              <a:latin typeface="Lato Light" panose="020F0502020204030203" pitchFamily="34" charset="0"/>
            </a:endParaRPr>
          </a:p>
        </p:txBody>
      </p:sp>
      <p:sp>
        <p:nvSpPr>
          <p:cNvPr id="43" name="Freeform 936">
            <a:extLst>
              <a:ext uri="{FF2B5EF4-FFF2-40B4-BE49-F238E27FC236}">
                <a16:creationId xmlns:a16="http://schemas.microsoft.com/office/drawing/2014/main" id="{443DA0B3-EED3-32E7-7DDE-E3F3B244D8B1}"/>
              </a:ext>
            </a:extLst>
          </p:cNvPr>
          <p:cNvSpPr>
            <a:spLocks noChangeArrowheads="1"/>
          </p:cNvSpPr>
          <p:nvPr/>
        </p:nvSpPr>
        <p:spPr bwMode="auto">
          <a:xfrm>
            <a:off x="1157951" y="2332069"/>
            <a:ext cx="715783" cy="715785"/>
          </a:xfrm>
          <a:custGeom>
            <a:avLst/>
            <a:gdLst>
              <a:gd name="T0" fmla="*/ 1806716 w 296503"/>
              <a:gd name="T1" fmla="*/ 2521042 h 296053"/>
              <a:gd name="T2" fmla="*/ 1728165 w 296503"/>
              <a:gd name="T3" fmla="*/ 2548969 h 296053"/>
              <a:gd name="T4" fmla="*/ 1476798 w 296503"/>
              <a:gd name="T5" fmla="*/ 2660632 h 296053"/>
              <a:gd name="T6" fmla="*/ 1500362 w 296503"/>
              <a:gd name="T7" fmla="*/ 2780290 h 296053"/>
              <a:gd name="T8" fmla="*/ 1315761 w 296503"/>
              <a:gd name="T9" fmla="*/ 2991678 h 296053"/>
              <a:gd name="T10" fmla="*/ 2525481 w 296503"/>
              <a:gd name="T11" fmla="*/ 3179152 h 296053"/>
              <a:gd name="T12" fmla="*/ 2470489 w 296503"/>
              <a:gd name="T13" fmla="*/ 2672592 h 296053"/>
              <a:gd name="T14" fmla="*/ 2415490 w 296503"/>
              <a:gd name="T15" fmla="*/ 2616767 h 296053"/>
              <a:gd name="T16" fmla="*/ 2113062 w 296503"/>
              <a:gd name="T17" fmla="*/ 2245832 h 296053"/>
              <a:gd name="T18" fmla="*/ 620564 w 296503"/>
              <a:gd name="T19" fmla="*/ 1950682 h 296053"/>
              <a:gd name="T20" fmla="*/ 616653 w 296503"/>
              <a:gd name="T21" fmla="*/ 2082305 h 296053"/>
              <a:gd name="T22" fmla="*/ 490982 w 296503"/>
              <a:gd name="T23" fmla="*/ 2086293 h 296053"/>
              <a:gd name="T24" fmla="*/ 490982 w 296503"/>
              <a:gd name="T25" fmla="*/ 2883965 h 296053"/>
              <a:gd name="T26" fmla="*/ 1390395 w 296503"/>
              <a:gd name="T27" fmla="*/ 2728441 h 296053"/>
              <a:gd name="T28" fmla="*/ 1626051 w 296503"/>
              <a:gd name="T29" fmla="*/ 2409355 h 296053"/>
              <a:gd name="T30" fmla="*/ 2050226 w 296503"/>
              <a:gd name="T31" fmla="*/ 2154103 h 296053"/>
              <a:gd name="T32" fmla="*/ 1810640 w 296503"/>
              <a:gd name="T33" fmla="*/ 1854948 h 296053"/>
              <a:gd name="T34" fmla="*/ 1598554 w 296503"/>
              <a:gd name="T35" fmla="*/ 1926755 h 296053"/>
              <a:gd name="T36" fmla="*/ 1095805 w 296503"/>
              <a:gd name="T37" fmla="*/ 1464107 h 296053"/>
              <a:gd name="T38" fmla="*/ 1225427 w 296503"/>
              <a:gd name="T39" fmla="*/ 1380337 h 296053"/>
              <a:gd name="T40" fmla="*/ 1810640 w 296503"/>
              <a:gd name="T41" fmla="*/ 1755248 h 296053"/>
              <a:gd name="T42" fmla="*/ 2446917 w 296503"/>
              <a:gd name="T43" fmla="*/ 1416233 h 296053"/>
              <a:gd name="T44" fmla="*/ 1834210 w 296503"/>
              <a:gd name="T45" fmla="*/ 698292 h 296053"/>
              <a:gd name="T46" fmla="*/ 2148417 w 296503"/>
              <a:gd name="T47" fmla="*/ 2058369 h 296053"/>
              <a:gd name="T48" fmla="*/ 2148417 w 296503"/>
              <a:gd name="T49" fmla="*/ 2150122 h 296053"/>
              <a:gd name="T50" fmla="*/ 2517618 w 296503"/>
              <a:gd name="T51" fmla="*/ 2568903 h 296053"/>
              <a:gd name="T52" fmla="*/ 2525481 w 296503"/>
              <a:gd name="T53" fmla="*/ 3278851 h 296053"/>
              <a:gd name="T54" fmla="*/ 1217570 w 296503"/>
              <a:gd name="T55" fmla="*/ 2991678 h 296053"/>
              <a:gd name="T56" fmla="*/ 490982 w 296503"/>
              <a:gd name="T57" fmla="*/ 2983689 h 296053"/>
              <a:gd name="T58" fmla="*/ 526313 w 296503"/>
              <a:gd name="T59" fmla="*/ 1990572 h 296053"/>
              <a:gd name="T60" fmla="*/ 1095805 w 296503"/>
              <a:gd name="T61" fmla="*/ 1368373 h 296053"/>
              <a:gd name="T62" fmla="*/ 1834210 w 296503"/>
              <a:gd name="T63" fmla="*/ 698292 h 296053"/>
              <a:gd name="T64" fmla="*/ 1873792 w 296503"/>
              <a:gd name="T65" fmla="*/ 14933 h 296053"/>
              <a:gd name="T66" fmla="*/ 2794579 w 296503"/>
              <a:gd name="T67" fmla="*/ 400998 h 296053"/>
              <a:gd name="T68" fmla="*/ 2841802 w 296503"/>
              <a:gd name="T69" fmla="*/ 994075 h 296053"/>
              <a:gd name="T70" fmla="*/ 3239232 w 296503"/>
              <a:gd name="T71" fmla="*/ 1415991 h 296053"/>
              <a:gd name="T72" fmla="*/ 2841802 w 296503"/>
              <a:gd name="T73" fmla="*/ 1837894 h 296053"/>
              <a:gd name="T74" fmla="*/ 2794579 w 296503"/>
              <a:gd name="T75" fmla="*/ 2434932 h 296053"/>
              <a:gd name="T76" fmla="*/ 2578164 w 296503"/>
              <a:gd name="T77" fmla="*/ 2383192 h 296053"/>
              <a:gd name="T78" fmla="*/ 2743420 w 296503"/>
              <a:gd name="T79" fmla="*/ 2335427 h 296053"/>
              <a:gd name="T80" fmla="*/ 2759168 w 296503"/>
              <a:gd name="T81" fmla="*/ 1782153 h 296053"/>
              <a:gd name="T82" fmla="*/ 2759168 w 296503"/>
              <a:gd name="T83" fmla="*/ 1049779 h 296053"/>
              <a:gd name="T84" fmla="*/ 2743420 w 296503"/>
              <a:gd name="T85" fmla="*/ 500517 h 296053"/>
              <a:gd name="T86" fmla="*/ 2200401 w 296503"/>
              <a:gd name="T87" fmla="*/ 484585 h 296053"/>
              <a:gd name="T88" fmla="*/ 1476353 w 296503"/>
              <a:gd name="T89" fmla="*/ 484585 h 296053"/>
              <a:gd name="T90" fmla="*/ 933332 w 296503"/>
              <a:gd name="T91" fmla="*/ 500517 h 296053"/>
              <a:gd name="T92" fmla="*/ 917581 w 296503"/>
              <a:gd name="T93" fmla="*/ 1049779 h 296053"/>
              <a:gd name="T94" fmla="*/ 590998 w 296503"/>
              <a:gd name="T95" fmla="*/ 1451815 h 296053"/>
              <a:gd name="T96" fmla="*/ 524086 w 296503"/>
              <a:gd name="T97" fmla="*/ 1519446 h 296053"/>
              <a:gd name="T98" fmla="*/ 453259 w 296503"/>
              <a:gd name="T99" fmla="*/ 1380163 h 296053"/>
              <a:gd name="T100" fmla="*/ 834959 w 296503"/>
              <a:gd name="T101" fmla="*/ 448764 h 296053"/>
              <a:gd name="T102" fmla="*/ 1425206 w 296503"/>
              <a:gd name="T103" fmla="*/ 400998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tx2"/>
          </a:solidFill>
          <a:ln>
            <a:noFill/>
          </a:ln>
          <a:effectLst/>
        </p:spPr>
        <p:txBody>
          <a:bodyPr anchor="ctr"/>
          <a:lstStyle/>
          <a:p>
            <a:endParaRPr lang="en-US" dirty="0">
              <a:latin typeface="Lato Light" panose="020F0502020204030203" pitchFamily="34" charset="0"/>
            </a:endParaRPr>
          </a:p>
        </p:txBody>
      </p:sp>
      <p:sp>
        <p:nvSpPr>
          <p:cNvPr id="7" name="Footer Placeholder 6">
            <a:extLst>
              <a:ext uri="{FF2B5EF4-FFF2-40B4-BE49-F238E27FC236}">
                <a16:creationId xmlns:a16="http://schemas.microsoft.com/office/drawing/2014/main" id="{F715E53F-64FB-77A2-B408-070C0CF5E2B7}"/>
              </a:ext>
            </a:extLst>
          </p:cNvPr>
          <p:cNvSpPr>
            <a:spLocks noGrp="1"/>
          </p:cNvSpPr>
          <p:nvPr>
            <p:ph type="ftr" sz="quarter" idx="3"/>
          </p:nvPr>
        </p:nvSpPr>
        <p:spPr/>
        <p:txBody>
          <a:bodyPr/>
          <a:lstStyle/>
          <a:p>
            <a:r>
              <a:rPr lang="en-US"/>
              <a:t>Source:_______</a:t>
            </a:r>
            <a:endParaRPr lang="en-US" dirty="0"/>
          </a:p>
        </p:txBody>
      </p:sp>
    </p:spTree>
    <p:extLst>
      <p:ext uri="{BB962C8B-B14F-4D97-AF65-F5344CB8AC3E}">
        <p14:creationId xmlns:p14="http://schemas.microsoft.com/office/powerpoint/2010/main" val="8160353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1EB5D31-955A-2AB1-B140-036C84246F5C}"/>
              </a:ext>
            </a:extLst>
          </p:cNvPr>
          <p:cNvGraphicFramePr>
            <a:graphicFrameLocks noChangeAspect="1"/>
          </p:cNvGraphicFramePr>
          <p:nvPr>
            <p:custDataLst>
              <p:tags r:id="rId1"/>
            </p:custDataLst>
            <p:extLst>
              <p:ext uri="{D42A27DB-BD31-4B8C-83A1-F6EECF244321}">
                <p14:modId xmlns:p14="http://schemas.microsoft.com/office/powerpoint/2010/main" val="25488941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to 4" hidden="1">
                        <a:extLst>
                          <a:ext uri="{FF2B5EF4-FFF2-40B4-BE49-F238E27FC236}">
                            <a16:creationId xmlns:a16="http://schemas.microsoft.com/office/drawing/2014/main" id="{21EB5D31-955A-2AB1-B140-036C84246F5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Marcador de texto 8">
            <a:extLst>
              <a:ext uri="{FF2B5EF4-FFF2-40B4-BE49-F238E27FC236}">
                <a16:creationId xmlns:a16="http://schemas.microsoft.com/office/drawing/2014/main" id="{E2CB7401-A38A-0D7D-B05C-E0371B96DE89}"/>
              </a:ext>
            </a:extLst>
          </p:cNvPr>
          <p:cNvSpPr>
            <a:spLocks noGrp="1"/>
          </p:cNvSpPr>
          <p:nvPr>
            <p:ph type="body" sz="quarter" idx="14"/>
          </p:nvPr>
        </p:nvSpPr>
        <p:spPr/>
        <p:txBody>
          <a:bodyPr/>
          <a:lstStyle/>
          <a:p>
            <a:r>
              <a:rPr lang="en-US" dirty="0"/>
              <a:t>Subtitle</a:t>
            </a:r>
          </a:p>
        </p:txBody>
      </p:sp>
      <p:graphicFrame>
        <p:nvGraphicFramePr>
          <p:cNvPr id="11" name="Chart 3">
            <a:extLst>
              <a:ext uri="{FF2B5EF4-FFF2-40B4-BE49-F238E27FC236}">
                <a16:creationId xmlns:a16="http://schemas.microsoft.com/office/drawing/2014/main" id="{D46C6B15-AF8E-9D83-3052-41F3C5577DAC}"/>
              </a:ext>
            </a:extLst>
          </p:cNvPr>
          <p:cNvGraphicFramePr/>
          <p:nvPr>
            <p:extLst>
              <p:ext uri="{D42A27DB-BD31-4B8C-83A1-F6EECF244321}">
                <p14:modId xmlns:p14="http://schemas.microsoft.com/office/powerpoint/2010/main" val="2558723124"/>
              </p:ext>
            </p:extLst>
          </p:nvPr>
        </p:nvGraphicFramePr>
        <p:xfrm>
          <a:off x="384632" y="2438603"/>
          <a:ext cx="10668000" cy="383008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4">
            <a:extLst>
              <a:ext uri="{FF2B5EF4-FFF2-40B4-BE49-F238E27FC236}">
                <a16:creationId xmlns:a16="http://schemas.microsoft.com/office/drawing/2014/main" id="{FD0A990C-36DD-C698-A615-4FF5FC31956A}"/>
              </a:ext>
            </a:extLst>
          </p:cNvPr>
          <p:cNvSpPr txBox="1"/>
          <p:nvPr/>
        </p:nvSpPr>
        <p:spPr>
          <a:xfrm>
            <a:off x="107481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3" name="TextBox 5">
            <a:extLst>
              <a:ext uri="{FF2B5EF4-FFF2-40B4-BE49-F238E27FC236}">
                <a16:creationId xmlns:a16="http://schemas.microsoft.com/office/drawing/2014/main" id="{DDD8A5B2-6453-CDFB-50F4-78917B47C916}"/>
              </a:ext>
            </a:extLst>
          </p:cNvPr>
          <p:cNvSpPr txBox="1"/>
          <p:nvPr/>
        </p:nvSpPr>
        <p:spPr>
          <a:xfrm>
            <a:off x="3558873"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4" name="TextBox 6">
            <a:extLst>
              <a:ext uri="{FF2B5EF4-FFF2-40B4-BE49-F238E27FC236}">
                <a16:creationId xmlns:a16="http://schemas.microsoft.com/office/drawing/2014/main" id="{078D4F3C-5C0B-F14A-2DB3-ADD94CC871DA}"/>
              </a:ext>
            </a:extLst>
          </p:cNvPr>
          <p:cNvSpPr txBox="1"/>
          <p:nvPr/>
        </p:nvSpPr>
        <p:spPr>
          <a:xfrm>
            <a:off x="6048958" y="2218548"/>
            <a:ext cx="1838712"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a:t>
            </a:r>
            <a:endParaRPr lang="en-US" sz="1200" b="1" dirty="0">
              <a:solidFill>
                <a:schemeClr val="tx2"/>
              </a:solidFill>
              <a:ea typeface="League Spartan" charset="0"/>
              <a:cs typeface="Poppins" pitchFamily="2" charset="77"/>
            </a:endParaRPr>
          </a:p>
        </p:txBody>
      </p:sp>
      <p:sp>
        <p:nvSpPr>
          <p:cNvPr id="15" name="TextBox 7">
            <a:extLst>
              <a:ext uri="{FF2B5EF4-FFF2-40B4-BE49-F238E27FC236}">
                <a16:creationId xmlns:a16="http://schemas.microsoft.com/office/drawing/2014/main" id="{06A1CA25-E5BF-C8FA-01A3-3B00176984EB}"/>
              </a:ext>
            </a:extLst>
          </p:cNvPr>
          <p:cNvSpPr txBox="1"/>
          <p:nvPr/>
        </p:nvSpPr>
        <p:spPr>
          <a:xfrm>
            <a:off x="8392286" y="2218548"/>
            <a:ext cx="2155730" cy="184666"/>
          </a:xfrm>
          <a:prstGeom prst="rect">
            <a:avLst/>
          </a:prstGeom>
          <a:noFill/>
        </p:spPr>
        <p:txBody>
          <a:bodyPr wrap="square" lIns="0" tIns="0" rIns="0" bIns="0" rtlCol="0" anchor="ctr" anchorCtr="0">
            <a:spAutoFit/>
          </a:bodyPr>
          <a:lstStyle/>
          <a:p>
            <a:pPr algn="ctr"/>
            <a:r>
              <a:rPr lang="en-US" sz="1200" b="1" dirty="0" err="1">
                <a:solidFill>
                  <a:schemeClr val="tx2"/>
                </a:solidFill>
                <a:ea typeface="League Spartan" charset="0"/>
                <a:cs typeface="Poppins" pitchFamily="2" charset="77"/>
              </a:rPr>
              <a:t>xxxxx</a:t>
            </a:r>
            <a:endParaRPr lang="en-US" sz="1200" b="1" dirty="0">
              <a:solidFill>
                <a:schemeClr val="tx2"/>
              </a:solidFill>
              <a:ea typeface="League Spartan" charset="0"/>
              <a:cs typeface="Poppins" pitchFamily="2" charset="77"/>
            </a:endParaRPr>
          </a:p>
        </p:txBody>
      </p:sp>
      <p:sp>
        <p:nvSpPr>
          <p:cNvPr id="2" name="TextBox 24">
            <a:extLst>
              <a:ext uri="{FF2B5EF4-FFF2-40B4-BE49-F238E27FC236}">
                <a16:creationId xmlns:a16="http://schemas.microsoft.com/office/drawing/2014/main" id="{E8DF15CE-2AC0-43CC-AD4F-D58E1F658186}"/>
              </a:ext>
            </a:extLst>
          </p:cNvPr>
          <p:cNvSpPr txBox="1"/>
          <p:nvPr/>
        </p:nvSpPr>
        <p:spPr>
          <a:xfrm>
            <a:off x="570271" y="1515817"/>
            <a:ext cx="2679489" cy="307777"/>
          </a:xfrm>
          <a:prstGeom prst="rect">
            <a:avLst/>
          </a:prstGeom>
          <a:noFill/>
        </p:spPr>
        <p:txBody>
          <a:bodyPr wrap="square" lIns="0" tIns="0" rIns="0" bIns="0" rtlCol="0" anchor="b">
            <a:noAutofit/>
          </a:bodyPr>
          <a:lstStyle/>
          <a:p>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xxx</a:t>
            </a:r>
          </a:p>
        </p:txBody>
      </p:sp>
      <p:cxnSp>
        <p:nvCxnSpPr>
          <p:cNvPr id="4" name="Conector recto 9">
            <a:extLst>
              <a:ext uri="{FF2B5EF4-FFF2-40B4-BE49-F238E27FC236}">
                <a16:creationId xmlns:a16="http://schemas.microsoft.com/office/drawing/2014/main" id="{A2238BBB-6C55-08EB-7E6D-8657998AA19A}"/>
              </a:ext>
            </a:extLst>
          </p:cNvPr>
          <p:cNvCxnSpPr>
            <a:cxnSpLocks/>
          </p:cNvCxnSpPr>
          <p:nvPr/>
        </p:nvCxnSpPr>
        <p:spPr>
          <a:xfrm>
            <a:off x="560438" y="1868343"/>
            <a:ext cx="1124421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C6FC57CA-C04B-C58B-47F9-12A185CB77F1}"/>
              </a:ext>
            </a:extLst>
          </p:cNvPr>
          <p:cNvSpPr txBox="1"/>
          <p:nvPr/>
        </p:nvSpPr>
        <p:spPr>
          <a:xfrm>
            <a:off x="570272" y="1919552"/>
            <a:ext cx="1204100" cy="307777"/>
          </a:xfrm>
          <a:prstGeom prst="rect">
            <a:avLst/>
          </a:prstGeom>
          <a:noFill/>
        </p:spPr>
        <p:txBody>
          <a:bodyPr wrap="square" lIns="0" tIns="0" rIns="0" bIns="0" rtlCol="0" anchor="t">
            <a:noAutofit/>
          </a:bodyPr>
          <a:lstStyle/>
          <a:p>
            <a:r>
              <a:rPr lang="en-US" sz="1400" b="1" dirty="0">
                <a:solidFill>
                  <a:schemeClr val="accent6"/>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t>
            </a:r>
          </a:p>
        </p:txBody>
      </p:sp>
      <p:sp>
        <p:nvSpPr>
          <p:cNvPr id="7" name="Footer Placeholder 6">
            <a:extLst>
              <a:ext uri="{FF2B5EF4-FFF2-40B4-BE49-F238E27FC236}">
                <a16:creationId xmlns:a16="http://schemas.microsoft.com/office/drawing/2014/main" id="{195A4875-CF0C-9399-6C36-40D2FFC332CF}"/>
              </a:ext>
            </a:extLst>
          </p:cNvPr>
          <p:cNvSpPr>
            <a:spLocks noGrp="1"/>
          </p:cNvSpPr>
          <p:nvPr>
            <p:ph type="ftr" sz="quarter" idx="3"/>
          </p:nvPr>
        </p:nvSpPr>
        <p:spPr/>
        <p:txBody>
          <a:bodyPr/>
          <a:lstStyle/>
          <a:p>
            <a:r>
              <a:rPr lang="en-US"/>
              <a:t>Source:_______</a:t>
            </a:r>
            <a:endParaRPr lang="en-US" dirty="0"/>
          </a:p>
        </p:txBody>
      </p:sp>
      <p:sp>
        <p:nvSpPr>
          <p:cNvPr id="10" name="Título 9">
            <a:extLst>
              <a:ext uri="{FF2B5EF4-FFF2-40B4-BE49-F238E27FC236}">
                <a16:creationId xmlns:a16="http://schemas.microsoft.com/office/drawing/2014/main" id="{59F9B949-E3F3-F0F9-2FAA-3E337EC2DA4B}"/>
              </a:ext>
            </a:extLst>
          </p:cNvPr>
          <p:cNvSpPr>
            <a:spLocks noGrp="1"/>
          </p:cNvSpPr>
          <p:nvPr>
            <p:ph type="title"/>
          </p:nvPr>
        </p:nvSpPr>
        <p:spPr/>
        <p:txBody>
          <a:bodyPr vert="horz"/>
          <a:lstStyle/>
          <a:p>
            <a:r>
              <a:rPr lang="en-US" dirty="0"/>
              <a:t>Template - Skills And Self-id Top Factors</a:t>
            </a:r>
          </a:p>
        </p:txBody>
      </p:sp>
      <p:sp>
        <p:nvSpPr>
          <p:cNvPr id="16" name="TextBox 4">
            <a:extLst>
              <a:ext uri="{FF2B5EF4-FFF2-40B4-BE49-F238E27FC236}">
                <a16:creationId xmlns:a16="http://schemas.microsoft.com/office/drawing/2014/main" id="{46C8FF0B-4454-16AC-850B-BFC62F440588}"/>
              </a:ext>
            </a:extLst>
          </p:cNvPr>
          <p:cNvSpPr txBox="1"/>
          <p:nvPr/>
        </p:nvSpPr>
        <p:spPr>
          <a:xfrm>
            <a:off x="10848122" y="2694435"/>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7" name="TextBox 4">
            <a:extLst>
              <a:ext uri="{FF2B5EF4-FFF2-40B4-BE49-F238E27FC236}">
                <a16:creationId xmlns:a16="http://schemas.microsoft.com/office/drawing/2014/main" id="{23B66A1F-56F6-9725-E537-143F19737B85}"/>
              </a:ext>
            </a:extLst>
          </p:cNvPr>
          <p:cNvSpPr txBox="1"/>
          <p:nvPr/>
        </p:nvSpPr>
        <p:spPr>
          <a:xfrm>
            <a:off x="10848122" y="3130511"/>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8" name="TextBox 4">
            <a:extLst>
              <a:ext uri="{FF2B5EF4-FFF2-40B4-BE49-F238E27FC236}">
                <a16:creationId xmlns:a16="http://schemas.microsoft.com/office/drawing/2014/main" id="{5C467C76-E2AB-676E-E0DF-F82729E19877}"/>
              </a:ext>
            </a:extLst>
          </p:cNvPr>
          <p:cNvSpPr txBox="1"/>
          <p:nvPr/>
        </p:nvSpPr>
        <p:spPr>
          <a:xfrm>
            <a:off x="10848122" y="3681728"/>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19" name="TextBox 4">
            <a:extLst>
              <a:ext uri="{FF2B5EF4-FFF2-40B4-BE49-F238E27FC236}">
                <a16:creationId xmlns:a16="http://schemas.microsoft.com/office/drawing/2014/main" id="{AE1C8C99-08AB-9779-D18C-1070CD9AC560}"/>
              </a:ext>
            </a:extLst>
          </p:cNvPr>
          <p:cNvSpPr txBox="1"/>
          <p:nvPr/>
        </p:nvSpPr>
        <p:spPr>
          <a:xfrm>
            <a:off x="10848122" y="4048363"/>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
        <p:nvSpPr>
          <p:cNvPr id="20" name="TextBox 4">
            <a:extLst>
              <a:ext uri="{FF2B5EF4-FFF2-40B4-BE49-F238E27FC236}">
                <a16:creationId xmlns:a16="http://schemas.microsoft.com/office/drawing/2014/main" id="{098DE41C-2431-8F97-1FA0-589032C1A2AC}"/>
              </a:ext>
            </a:extLst>
          </p:cNvPr>
          <p:cNvSpPr txBox="1"/>
          <p:nvPr/>
        </p:nvSpPr>
        <p:spPr>
          <a:xfrm>
            <a:off x="10848122" y="4966754"/>
            <a:ext cx="972403" cy="184666"/>
          </a:xfrm>
          <a:prstGeom prst="rect">
            <a:avLst/>
          </a:prstGeom>
          <a:noFill/>
        </p:spPr>
        <p:txBody>
          <a:bodyPr wrap="square" lIns="0" tIns="0" rIns="0" bIns="0" rtlCol="0" anchor="ctr" anchorCtr="0">
            <a:spAutoFit/>
          </a:bodyPr>
          <a:lstStyle/>
          <a:p>
            <a:r>
              <a:rPr lang="en-US" sz="1200" dirty="0" err="1">
                <a:solidFill>
                  <a:schemeClr val="tx2"/>
                </a:solidFill>
                <a:ea typeface="League Spartan" charset="0"/>
                <a:cs typeface="Poppins" pitchFamily="2" charset="77"/>
              </a:rPr>
              <a:t>xxxx</a:t>
            </a:r>
            <a:endParaRPr lang="en-US" sz="1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2557585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7C6C0B81616847BA0BEF6AF9FD8D5E" ma:contentTypeVersion="14" ma:contentTypeDescription="Create a new document." ma:contentTypeScope="" ma:versionID="8f477840bf1b15ebcd7dea7e26e8de05">
  <xsd:schema xmlns:xsd="http://www.w3.org/2001/XMLSchema" xmlns:xs="http://www.w3.org/2001/XMLSchema" xmlns:p="http://schemas.microsoft.com/office/2006/metadata/properties" xmlns:ns3="2d175f5e-96b3-4161-9498-4ed8bb1684ef" xmlns:ns4="8cc5281a-0e22-4a5d-9b94-71566d8ffb39" targetNamespace="http://schemas.microsoft.com/office/2006/metadata/properties" ma:root="true" ma:fieldsID="626ffd4b232ece131a0e6b8ce18d05e9" ns3:_="" ns4:_="">
    <xsd:import namespace="2d175f5e-96b3-4161-9498-4ed8bb1684ef"/>
    <xsd:import namespace="8cc5281a-0e22-4a5d-9b94-71566d8ffb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75f5e-96b3-4161-9498-4ed8bb1684e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c5281a-0e22-4a5d-9b94-71566d8ffb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DBD43-137A-4241-BB3D-DE2C80A7631B}">
  <ds:schemaRefs>
    <ds:schemaRef ds:uri="8cc5281a-0e22-4a5d-9b94-71566d8ffb39"/>
    <ds:schemaRef ds:uri="2d175f5e-96b3-4161-9498-4ed8bb1684ef"/>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021C9605-34E7-4B36-9570-2016EA898C8E}">
  <ds:schemaRefs>
    <ds:schemaRef ds:uri="http://schemas.microsoft.com/sharepoint/v3/contenttype/forms"/>
  </ds:schemaRefs>
</ds:datastoreItem>
</file>

<file path=customXml/itemProps3.xml><?xml version="1.0" encoding="utf-8"?>
<ds:datastoreItem xmlns:ds="http://schemas.openxmlformats.org/officeDocument/2006/customXml" ds:itemID="{6FD9BADE-FB3C-4DFF-ABE8-CDDBBB754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75f5e-96b3-4161-9498-4ed8bb1684ef"/>
    <ds:schemaRef ds:uri="8cc5281a-0e22-4a5d-9b94-71566d8ffb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292</TotalTime>
  <Words>8977</Words>
  <Application>Microsoft Office PowerPoint</Application>
  <PresentationFormat>Widescreen</PresentationFormat>
  <Paragraphs>1396</Paragraphs>
  <Slides>117</Slides>
  <Notes>43</Notes>
  <HiddenSlides>96</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117</vt:i4>
      </vt:variant>
    </vt:vector>
  </HeadingPairs>
  <TitlesOfParts>
    <vt:vector size="136" baseType="lpstr">
      <vt:lpstr>AdvP6965</vt:lpstr>
      <vt:lpstr>Arial</vt:lpstr>
      <vt:lpstr>Calibri</vt:lpstr>
      <vt:lpstr>CMR10</vt:lpstr>
      <vt:lpstr>Franklin Gothic Medium</vt:lpstr>
      <vt:lpstr>Georgia</vt:lpstr>
      <vt:lpstr>Gill Sans</vt:lpstr>
      <vt:lpstr>Graphik</vt:lpstr>
      <vt:lpstr>Helvetica</vt:lpstr>
      <vt:lpstr>Josefin Sans</vt:lpstr>
      <vt:lpstr>Lato Light</vt:lpstr>
      <vt:lpstr>Open Sans SemiBold</vt:lpstr>
      <vt:lpstr>Poppins</vt:lpstr>
      <vt:lpstr>Roboto Bold</vt:lpstr>
      <vt:lpstr>Roboto Light</vt:lpstr>
      <vt:lpstr>Verdana</vt:lpstr>
      <vt:lpstr>Wingdings</vt:lpstr>
      <vt:lpstr>BIC TEMPLATE OK</vt:lpstr>
      <vt:lpstr>think-cell Slide</vt:lpstr>
      <vt:lpstr>Control system for in-vivo micro scale surgical robot</vt:lpstr>
      <vt:lpstr>Outline Assumed Inputs for localization and navigation Proposed methodology for   (a) Localization   (b) Path Planning   (c) Trajectory Generation   (d) Control System Design Criteria and Key Risks Appendix </vt:lpstr>
      <vt:lpstr>PowerPoint Presentation</vt:lpstr>
      <vt:lpstr>Assuming access to an intraoperative MRI feed / fluoroscopy </vt:lpstr>
      <vt:lpstr>PowerPoint Presentation</vt:lpstr>
      <vt:lpstr>Designing an occupancy grid schema to keep track of obstacles in the workspace (in-vivo)</vt:lpstr>
      <vt:lpstr>We can populate the occupancy grid using image filtering techniques &amp; localize the robot using Bayesian estimators</vt:lpstr>
      <vt:lpstr>Illustrative Model of robot, magnetic field controller, X-ray</vt:lpstr>
      <vt:lpstr>PowerPoint Presentation</vt:lpstr>
      <vt:lpstr>Potential field and gradient descent approach to path planning</vt:lpstr>
      <vt:lpstr>Interpolate between the waypoints generated by gradient descent using quintic polynomial trajectories</vt:lpstr>
      <vt:lpstr>Using PID loops to ensure robot follows the quintic polynomial-based approach discussed earlier</vt:lpstr>
      <vt:lpstr>PowerPoint Presentation</vt:lpstr>
      <vt:lpstr>Pros / Cons of medical vision modes which can be used for localization</vt:lpstr>
      <vt:lpstr>Pros / Cons of potential field approach to path planning</vt:lpstr>
      <vt:lpstr>Pros / Cons of closed loop PID control vs adaptive control methods</vt:lpstr>
      <vt:lpstr>Broader surgical robotics issues which might require special consideration when designing our system</vt:lpstr>
      <vt:lpstr>PowerPoint Presentation</vt:lpstr>
      <vt:lpstr>SLAM using onboard sensor data [if possible to have onboard odometry]</vt:lpstr>
      <vt:lpstr>Alternatives to 5th degree polynomial-based trajectory generation (Cubic polynomial, Minimum-time trajectory)</vt:lpstr>
      <vt:lpstr>Deeper Dive into PID control and potential stability considerations </vt:lpstr>
      <vt:lpstr>Template – Section Divider</vt:lpstr>
      <vt:lpstr>About Umbrex</vt:lpstr>
      <vt:lpstr>Just one request</vt:lpstr>
      <vt:lpstr>Text-based slides Structural slides Bar charts Column charts Line charts Pie charts Area charts Scatter charts Workplan / process charts Organization / relationships Additional charts   </vt:lpstr>
      <vt:lpstr>Template - Executive Summary 1</vt:lpstr>
      <vt:lpstr>Template - Executive Summary 2</vt:lpstr>
      <vt:lpstr>Template - Table of words</vt:lpstr>
      <vt:lpstr>Text-based slides Structural slides Bar charts Column charts Line charts Pie charts Area charts Scatter charts Workplan / process charts Organization / relationships Additional charts   </vt:lpstr>
      <vt:lpstr>Template – Section Divider</vt:lpstr>
      <vt:lpstr>Template – Table of Contents</vt:lpstr>
      <vt:lpstr>Template - Content slide</vt:lpstr>
      <vt:lpstr>Text-based slides Structural slides Bar charts Column charts Line charts Pie charts Area charts Scatter charts Workplan / process charts Organization / relationships Additional charts   </vt:lpstr>
      <vt:lpstr>Template - Simple bar chart</vt:lpstr>
      <vt:lpstr>Template - Stacked bar chart</vt:lpstr>
      <vt:lpstr>Template - 100% Stacked bar chart</vt:lpstr>
      <vt:lpstr>Template – Clustered bar chart</vt:lpstr>
      <vt:lpstr>Template - Waterfall bar chart</vt:lpstr>
      <vt:lpstr>Text-based slides Structural slides Bar charts Column charts Line charts Pie charts Area charts Scatter charts Workplan / process charts Organization / relationships Additional charts   </vt:lpstr>
      <vt:lpstr>Template - Simple column chart</vt:lpstr>
      <vt:lpstr>Template - Stacked column chart</vt:lpstr>
      <vt:lpstr>Template - 100% stacked column chart</vt:lpstr>
      <vt:lpstr>Template - Clustered column chart</vt:lpstr>
      <vt:lpstr>Template - Waterfall column chart</vt:lpstr>
      <vt:lpstr>Template - Vertical dot chart</vt:lpstr>
      <vt:lpstr>Text-based slides Structural slides Bar charts Column charts Line charts Pie charts Area charts Scatter charts Workplan / process charts Organization / relationships Additional charts   </vt:lpstr>
      <vt:lpstr>Template - Vertical line chart</vt:lpstr>
      <vt:lpstr>Template - Data over time line chart</vt:lpstr>
      <vt:lpstr>Template - Growth curve line chart</vt:lpstr>
      <vt:lpstr>Template - Peak line chart</vt:lpstr>
      <vt:lpstr>Template - Arrow line chart</vt:lpstr>
      <vt:lpstr>Text-based slides Structural slides Bar charts Column charts Line charts Pie charts Area charts Scatter charts Workplan / process charts Organization / relationships Additional charts   </vt:lpstr>
      <vt:lpstr>Template - Pie chart</vt:lpstr>
      <vt:lpstr>Template - Doughnut chart</vt:lpstr>
      <vt:lpstr>Text-based slides Structural slides Bar charts Column charts Line charts Pie charts Area charts Scatter charts Workplan / process charts Organization / relationships Additional charts   </vt:lpstr>
      <vt:lpstr>Template - Simple area chart</vt:lpstr>
      <vt:lpstr>Template - Proportional area chart</vt:lpstr>
      <vt:lpstr>Template - Rectangle area chart</vt:lpstr>
      <vt:lpstr>Text-based slides Structural slides Bar charts Column charts Line charts Pie charts Area charts Scatter charts Workplan / process charts Organization / relationships Additional charts   </vt:lpstr>
      <vt:lpstr>Template - Scatter chart</vt:lpstr>
      <vt:lpstr>Template - Scatter chart with four quadrants</vt:lpstr>
      <vt:lpstr>Template - Scatter chart with segmentation</vt:lpstr>
      <vt:lpstr>Template - XY Bubble chart</vt:lpstr>
      <vt:lpstr>Text-based slides Structural slides Bar charts Column charts Line charts Pie charts Area charts Scatter charts Workplan / process charts Organization / relationships Additional charts   </vt:lpstr>
      <vt:lpstr>Template - Flow chart </vt:lpstr>
      <vt:lpstr>Template - Repeating process</vt:lpstr>
      <vt:lpstr>Template - Timeline</vt:lpstr>
      <vt:lpstr>Template - Boat chart</vt:lpstr>
      <vt:lpstr>Template - From-to chart</vt:lpstr>
      <vt:lpstr>Text-based slides Structural slides Bar charts Column charts Line charts Pie charts Area charts Scatter charts Workplan / process charts Organization / relationships Additional charts   </vt:lpstr>
      <vt:lpstr>Template - Organizational chart</vt:lpstr>
      <vt:lpstr>Text-based slides Structural slides Bar charts Column charts Line charts Pie charts Area charts Scatter charts Workplan / process charts Organization / relationships Additional charts   </vt:lpstr>
      <vt:lpstr>Template - Grouped column bar chart</vt:lpstr>
      <vt:lpstr>Template - Circular process</vt:lpstr>
      <vt:lpstr>Template - Circular process</vt:lpstr>
      <vt:lpstr>Template - Description slide</vt:lpstr>
      <vt:lpstr>Template - Description slide</vt:lpstr>
      <vt:lpstr>Template - Wheel chart</vt:lpstr>
      <vt:lpstr>Template - Statements</vt:lpstr>
      <vt:lpstr>Template - Honeycomb chart</vt:lpstr>
      <vt:lpstr>Template - Journey Slide</vt:lpstr>
      <vt:lpstr>Template - Linear Process</vt:lpstr>
      <vt:lpstr>Template - Linear Process</vt:lpstr>
      <vt:lpstr>Template - Snake process</vt:lpstr>
      <vt:lpstr>Template - Go-To-Market Slide</vt:lpstr>
      <vt:lpstr>Template - Description Slides</vt:lpstr>
      <vt:lpstr>Template - Business Plan</vt:lpstr>
      <vt:lpstr>Template - Business Infographic</vt:lpstr>
      <vt:lpstr>Template - Infographic pyramid chart</vt:lpstr>
      <vt:lpstr>Template - Descriptive infographic</vt:lpstr>
      <vt:lpstr>Template - Challenges Slide</vt:lpstr>
      <vt:lpstr>Template - Challenges and solutions</vt:lpstr>
      <vt:lpstr>Template - Multiple Bars</vt:lpstr>
      <vt:lpstr>Template - Multiple line chart</vt:lpstr>
      <vt:lpstr>Template - Line chart</vt:lpstr>
      <vt:lpstr>Template - Evolution Chart</vt:lpstr>
      <vt:lpstr>Template - Multiple Doughnuts</vt:lpstr>
      <vt:lpstr>Template - Multiple Doughnuts</vt:lpstr>
      <vt:lpstr>Template - Skills And Self-id Top Factors</vt:lpstr>
      <vt:lpstr>Template - SWOT Analysis Slide</vt:lpstr>
      <vt:lpstr>Template - SWOT Analysis Slide</vt:lpstr>
      <vt:lpstr>Template - Circle Infographic</vt:lpstr>
      <vt:lpstr>Template - Road Infographic</vt:lpstr>
      <vt:lpstr>Template - Customer Touchpoints</vt:lpstr>
      <vt:lpstr>Template - Customer Phases</vt:lpstr>
      <vt:lpstr>Template - Decision Slide</vt:lpstr>
      <vt:lpstr>Template - Decision Slide</vt:lpstr>
      <vt:lpstr>Template - Decision Tree Diagram</vt:lpstr>
      <vt:lpstr>Template - Decision Tree Diagram</vt:lpstr>
      <vt:lpstr>Template - Harvey Ball Slide</vt:lpstr>
      <vt:lpstr>Template - Harvey Ball Slide</vt:lpstr>
      <vt:lpstr>Template - Harvey Ball Map Slide</vt:lpstr>
      <vt:lpstr>Template - Harvey Ball Slide</vt:lpstr>
      <vt:lpstr>Template - Hierarchy Infographic</vt:lpstr>
      <vt:lpstr>Template - Hierarchy Infographic</vt:lpstr>
      <vt:lpstr>Template - Elements</vt:lpstr>
      <vt:lpstr>Template - Radial chart</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sheil</cp:lastModifiedBy>
  <cp:revision>161</cp:revision>
  <dcterms:created xsi:type="dcterms:W3CDTF">2020-07-31T20:30:33Z</dcterms:created>
  <dcterms:modified xsi:type="dcterms:W3CDTF">2023-01-24T08:21: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C6C0B81616847BA0BEF6AF9FD8D5E</vt:lpwstr>
  </property>
  <property fmtid="{D5CDD505-2E9C-101B-9397-08002B2CF9AE}" pid="3" name="MediaServiceImageTags">
    <vt:lpwstr/>
  </property>
</Properties>
</file>